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4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5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107.xml" ContentType="application/vnd.openxmlformats-officedocument.presentationml.slideLayout+xml"/>
  <Override PartName="/ppt/theme/theme6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7.xml" ContentType="application/vnd.openxmlformats-officedocument.theme+xml"/>
  <Override PartName="/ppt/tags/tag95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60" r:id="rId2"/>
    <p:sldMasterId id="2147483669" r:id="rId3"/>
    <p:sldMasterId id="2147483706" r:id="rId4"/>
    <p:sldMasterId id="2147483743" r:id="rId5"/>
    <p:sldMasterId id="2147483759" r:id="rId6"/>
    <p:sldMasterId id="2147483761" r:id="rId7"/>
  </p:sldMasterIdLst>
  <p:notesMasterIdLst>
    <p:notesMasterId r:id="rId36"/>
  </p:notesMasterIdLst>
  <p:sldIdLst>
    <p:sldId id="259" r:id="rId8"/>
    <p:sldId id="2145707505" r:id="rId9"/>
    <p:sldId id="537" r:id="rId10"/>
    <p:sldId id="2145707435" r:id="rId11"/>
    <p:sldId id="2145707450" r:id="rId12"/>
    <p:sldId id="2145707422" r:id="rId13"/>
    <p:sldId id="2145707493" r:id="rId14"/>
    <p:sldId id="2141411968" r:id="rId15"/>
    <p:sldId id="2145707429" r:id="rId16"/>
    <p:sldId id="299" r:id="rId17"/>
    <p:sldId id="2141411961" r:id="rId18"/>
    <p:sldId id="361" r:id="rId19"/>
    <p:sldId id="363" r:id="rId20"/>
    <p:sldId id="2141411970" r:id="rId21"/>
    <p:sldId id="2141411971" r:id="rId22"/>
    <p:sldId id="2141411972" r:id="rId23"/>
    <p:sldId id="2141411973" r:id="rId24"/>
    <p:sldId id="2145707494" r:id="rId25"/>
    <p:sldId id="2145707495" r:id="rId26"/>
    <p:sldId id="2145707496" r:id="rId27"/>
    <p:sldId id="2145707497" r:id="rId28"/>
    <p:sldId id="2145707498" r:id="rId29"/>
    <p:sldId id="2145707499" r:id="rId30"/>
    <p:sldId id="2145707501" r:id="rId31"/>
    <p:sldId id="2145707500" r:id="rId32"/>
    <p:sldId id="2145707502" r:id="rId33"/>
    <p:sldId id="2145707503" r:id="rId34"/>
    <p:sldId id="2141411975" r:id="rId35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75182" autoAdjust="0"/>
  </p:normalViewPr>
  <p:slideViewPr>
    <p:cSldViewPr snapToGrid="0">
      <p:cViewPr varScale="1">
        <p:scale>
          <a:sx n="83" d="100"/>
          <a:sy n="83" d="100"/>
        </p:scale>
        <p:origin x="16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theme" Target="theme/theme1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7.9712679534882216E-2"/>
          <c:w val="0.92701328746089717"/>
          <c:h val="0.92028732046511774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effectLst>
              <a:outerShdw blurRad="50800" dist="38100" dir="10800000" algn="r" rotWithShape="0">
                <a:schemeClr val="tx1">
                  <a:lumMod val="75000"/>
                  <a:alpha val="40000"/>
                </a:schemeClr>
              </a:outerShdw>
            </a:effectLst>
            <a:scene3d>
              <a:camera prst="orthographicFront"/>
              <a:lightRig rig="threePt" dir="t"/>
            </a:scene3d>
            <a:sp3d>
              <a:bevelT w="95250" h="107950"/>
              <a:bevelB/>
              <a:contourClr>
                <a:srgbClr val="000000"/>
              </a:contourClr>
            </a:sp3d>
          </c:spPr>
          <c:dPt>
            <c:idx val="0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>
                <a:outerShdw blurRad="50800" dist="38100" dir="10800000" algn="r" rotWithShape="0">
                  <a:schemeClr val="tx1">
                    <a:lumMod val="75000"/>
                    <a:alpha val="40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25400">
                <a:bevelT w="95250" h="107950"/>
                <a:bevelB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C808-4C5E-8278-A728D4AD2AF8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>
                <a:outerShdw blurRad="50800" dist="38100" dir="10800000" algn="r" rotWithShape="0">
                  <a:schemeClr val="tx1">
                    <a:lumMod val="75000"/>
                    <a:alpha val="40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25400">
                <a:bevelT w="95250" h="107950"/>
                <a:bevelB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C808-4C5E-8278-A728D4AD2AF8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>
                <a:outerShdw blurRad="50800" dist="38100" dir="10800000" algn="r" rotWithShape="0">
                  <a:schemeClr val="tx1">
                    <a:lumMod val="75000"/>
                    <a:alpha val="40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25400">
                <a:bevelT w="95250" h="107950"/>
                <a:bevelB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C808-4C5E-8278-A728D4AD2AF8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>
                <a:outerShdw blurRad="50800" dist="38100" dir="10800000" algn="r" rotWithShape="0">
                  <a:schemeClr val="tx1">
                    <a:lumMod val="75000"/>
                    <a:alpha val="40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25400">
                <a:bevelT w="95250" h="107950"/>
                <a:bevelB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C808-4C5E-8278-A728D4AD2AF8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25400">
                <a:solidFill>
                  <a:schemeClr val="lt1"/>
                </a:solidFill>
              </a:ln>
              <a:effectLst>
                <a:outerShdw blurRad="50800" dist="38100" dir="10800000" algn="r" rotWithShape="0">
                  <a:schemeClr val="tx1">
                    <a:lumMod val="75000"/>
                    <a:alpha val="40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25400">
                <a:bevelT w="95250" h="107950"/>
                <a:bevelB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C808-4C5E-8278-A728D4AD2AF8}"/>
              </c:ext>
            </c:extLst>
          </c:dPt>
          <c:dPt>
            <c:idx val="5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25400">
                <a:solidFill>
                  <a:schemeClr val="lt1"/>
                </a:solidFill>
              </a:ln>
              <a:effectLst>
                <a:outerShdw blurRad="50800" dist="38100" dir="10800000" algn="r" rotWithShape="0">
                  <a:schemeClr val="tx1">
                    <a:lumMod val="75000"/>
                    <a:alpha val="40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25400">
                <a:bevelT w="95250" h="107950"/>
                <a:bevelB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C808-4C5E-8278-A728D4AD2AF8}"/>
              </c:ext>
            </c:extLst>
          </c:dPt>
          <c:dPt>
            <c:idx val="6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>
                <a:outerShdw blurRad="50800" dist="38100" dir="10800000" algn="r" rotWithShape="0">
                  <a:schemeClr val="tx1">
                    <a:lumMod val="75000"/>
                    <a:alpha val="40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25400">
                <a:bevelT w="95250" h="107950"/>
                <a:bevelB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C808-4C5E-8278-A728D4AD2AF8}"/>
              </c:ext>
            </c:extLst>
          </c:dPt>
          <c:dPt>
            <c:idx val="7"/>
            <c:bubble3D val="0"/>
            <c:spPr>
              <a:solidFill>
                <a:schemeClr val="bg2"/>
              </a:solidFill>
              <a:ln w="25400">
                <a:solidFill>
                  <a:schemeClr val="lt1"/>
                </a:solidFill>
              </a:ln>
              <a:effectLst>
                <a:outerShdw blurRad="50800" dist="38100" dir="10800000" algn="r" rotWithShape="0">
                  <a:schemeClr val="tx1">
                    <a:lumMod val="75000"/>
                    <a:alpha val="40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25400">
                <a:bevelT w="95250" h="107950"/>
                <a:bevelB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C808-4C5E-8278-A728D4AD2AF8}"/>
              </c:ext>
            </c:extLst>
          </c:dPt>
          <c:dPt>
            <c:idx val="8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25400">
                <a:solidFill>
                  <a:schemeClr val="lt1"/>
                </a:solidFill>
              </a:ln>
              <a:effectLst>
                <a:outerShdw blurRad="50800" dist="38100" dir="10800000" algn="r" rotWithShape="0">
                  <a:schemeClr val="tx1">
                    <a:lumMod val="75000"/>
                    <a:alpha val="40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25400">
                <a:bevelT w="95250" h="107950"/>
                <a:bevelB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C808-4C5E-8278-A728D4AD2AF8}"/>
              </c:ext>
            </c:extLst>
          </c:dPt>
          <c:dPt>
            <c:idx val="9"/>
            <c:bubble3D val="0"/>
            <c:spPr>
              <a:solidFill>
                <a:schemeClr val="accent5">
                  <a:lumMod val="50000"/>
                </a:schemeClr>
              </a:solidFill>
              <a:ln w="25400">
                <a:solidFill>
                  <a:schemeClr val="lt1"/>
                </a:solidFill>
              </a:ln>
              <a:effectLst>
                <a:outerShdw blurRad="50800" dist="38100" dir="10800000" algn="r" rotWithShape="0">
                  <a:schemeClr val="tx1">
                    <a:lumMod val="75000"/>
                    <a:alpha val="40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25400">
                <a:bevelT w="95250" h="107950"/>
                <a:bevelB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C808-4C5E-8278-A728D4AD2AF8}"/>
              </c:ext>
            </c:extLst>
          </c:dPt>
          <c:dPt>
            <c:idx val="1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>
                <a:outerShdw blurRad="50800" dist="38100" dir="10800000" algn="r" rotWithShape="0">
                  <a:schemeClr val="tx1">
                    <a:lumMod val="75000"/>
                    <a:alpha val="40000"/>
                  </a:schemeClr>
                </a:outerShdw>
              </a:effectLst>
              <a:scene3d>
                <a:camera prst="orthographicFront"/>
                <a:lightRig rig="threePt" dir="t"/>
              </a:scene3d>
              <a:sp3d contourW="25400">
                <a:bevelT w="95250" h="107950"/>
                <a:bevelB/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C808-4C5E-8278-A728D4AD2AF8}"/>
              </c:ext>
            </c:extLst>
          </c:dPt>
          <c:cat>
            <c:strRef>
              <c:f>Sheet1!$A$2:$A$12</c:f>
              <c:strCache>
                <c:ptCount val="11"/>
                <c:pt idx="0">
                  <c:v>PIK3CA/PTEN mutation</c:v>
                </c:pt>
                <c:pt idx="1">
                  <c:v>Wild type</c:v>
                </c:pt>
                <c:pt idx="2">
                  <c:v>BRAF V600E</c:v>
                </c:pt>
                <c:pt idx="3">
                  <c:v>BRAF non-V600</c:v>
                </c:pt>
                <c:pt idx="4">
                  <c:v>MSI</c:v>
                </c:pt>
                <c:pt idx="5">
                  <c:v>MSI + other</c:v>
                </c:pt>
                <c:pt idx="6">
                  <c:v>POLE mutation</c:v>
                </c:pt>
                <c:pt idx="7">
                  <c:v>HER2 amp</c:v>
                </c:pt>
                <c:pt idx="8">
                  <c:v>MET amp</c:v>
                </c:pt>
                <c:pt idx="9">
                  <c:v>Gene fusion</c:v>
                </c:pt>
                <c:pt idx="10">
                  <c:v>RAS mutation + PIK3CA/PTEN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08</c:v>
                </c:pt>
                <c:pt idx="1">
                  <c:v>0.26</c:v>
                </c:pt>
                <c:pt idx="2">
                  <c:v>0.08</c:v>
                </c:pt>
                <c:pt idx="3">
                  <c:v>0.02</c:v>
                </c:pt>
                <c:pt idx="4">
                  <c:v>0.02</c:v>
                </c:pt>
                <c:pt idx="5">
                  <c:v>0.02</c:v>
                </c:pt>
                <c:pt idx="6">
                  <c:v>0.01</c:v>
                </c:pt>
                <c:pt idx="7">
                  <c:v>2.4E-2</c:v>
                </c:pt>
                <c:pt idx="8">
                  <c:v>0.02</c:v>
                </c:pt>
                <c:pt idx="9">
                  <c:v>0.01</c:v>
                </c:pt>
                <c:pt idx="10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C808-4C5E-8278-A728D4AD2A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latin typeface="Calibri" panose="020F050202020403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83A4F1-989C-480D-A55F-28EF0B430AFB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77843D-B15B-4C12-93F7-58935A7D30A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9079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i="1" dirty="0"/>
              <a:t>CRC, colorectal cancer; MMR, mismatch repair; Tx, treatm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3199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28D73A-59F6-41D1-974E-0DAFB06E332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34730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28D73A-59F6-41D1-974E-0DAFB06E332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276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28D73A-59F6-41D1-974E-0DAFB06E332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8002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28D73A-59F6-41D1-974E-0DAFB06E332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0059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1" dirty="0"/>
              <a:t>CRC, colorectal cancer; WT, wild-typ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B72F01-6714-4A31-8C22-8E0F1B091B5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44338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77843D-B15B-4C12-93F7-58935A7D30A9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2398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NULL"/><Relationship Id="rId4" Type="http://schemas.openxmlformats.org/officeDocument/2006/relationships/oleObject" Target="../embeddings/oleObject7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4.xml"/><Relationship Id="rId4" Type="http://schemas.openxmlformats.org/officeDocument/2006/relationships/image" Target="NUL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4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9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9.emf"/><Relationship Id="rId4" Type="http://schemas.openxmlformats.org/officeDocument/2006/relationships/image" Target="../media/image3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5" Type="http://schemas.openxmlformats.org/officeDocument/2006/relationships/image" Target="../media/image10.emf"/><Relationship Id="rId4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11.emf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5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5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5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5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5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5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5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5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5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5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4" Type="http://schemas.openxmlformats.org/officeDocument/2006/relationships/image" Target="../media/image5.emf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Relationship Id="rId4" Type="http://schemas.openxmlformats.org/officeDocument/2006/relationships/image" Target="../media/image5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Relationship Id="rId4" Type="http://schemas.openxmlformats.org/officeDocument/2006/relationships/image" Target="../media/image5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Relationship Id="rId5" Type="http://schemas.openxmlformats.org/officeDocument/2006/relationships/image" Target="../media/image6.emf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Relationship Id="rId5" Type="http://schemas.openxmlformats.org/officeDocument/2006/relationships/image" Target="../media/image7.emf"/><Relationship Id="rId4" Type="http://schemas.openxmlformats.org/officeDocument/2006/relationships/image" Target="../media/image3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5" Type="http://schemas.openxmlformats.org/officeDocument/2006/relationships/image" Target="../media/image8.emf"/><Relationship Id="rId4" Type="http://schemas.openxmlformats.org/officeDocument/2006/relationships/image" Target="../media/image3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Relationship Id="rId5" Type="http://schemas.openxmlformats.org/officeDocument/2006/relationships/image" Target="../media/image9.emf"/><Relationship Id="rId4" Type="http://schemas.openxmlformats.org/officeDocument/2006/relationships/image" Target="../media/image3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5" Type="http://schemas.openxmlformats.org/officeDocument/2006/relationships/image" Target="../media/image10.emf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Relationship Id="rId4" Type="http://schemas.openxmlformats.org/officeDocument/2006/relationships/image" Target="../media/image3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4" Type="http://schemas.openxmlformats.org/officeDocument/2006/relationships/image" Target="../media/image3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Relationship Id="rId4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Relationship Id="rId5" Type="http://schemas.openxmlformats.org/officeDocument/2006/relationships/image" Target="../media/image11.emf"/><Relationship Id="rId4" Type="http://schemas.openxmlformats.org/officeDocument/2006/relationships/image" Target="../media/image3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4" Type="http://schemas.openxmlformats.org/officeDocument/2006/relationships/image" Target="../media/image3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Relationship Id="rId4" Type="http://schemas.openxmlformats.org/officeDocument/2006/relationships/image" Target="../media/image5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4" Type="http://schemas.openxmlformats.org/officeDocument/2006/relationships/image" Target="../media/image5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4" Type="http://schemas.openxmlformats.org/officeDocument/2006/relationships/image" Target="../media/image5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Relationship Id="rId4" Type="http://schemas.openxmlformats.org/officeDocument/2006/relationships/image" Target="../media/image5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4" Type="http://schemas.openxmlformats.org/officeDocument/2006/relationships/image" Target="../media/image5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4" Type="http://schemas.openxmlformats.org/officeDocument/2006/relationships/image" Target="../media/image5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4" Type="http://schemas.openxmlformats.org/officeDocument/2006/relationships/image" Target="../media/image5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4" Type="http://schemas.openxmlformats.org/officeDocument/2006/relationships/image" Target="../media/image5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4" Type="http://schemas.openxmlformats.org/officeDocument/2006/relationships/image" Target="../media/image5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Relationship Id="rId4" Type="http://schemas.openxmlformats.org/officeDocument/2006/relationships/image" Target="../media/image5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Relationship Id="rId4" Type="http://schemas.openxmlformats.org/officeDocument/2006/relationships/image" Target="../media/image5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Relationship Id="rId4" Type="http://schemas.openxmlformats.org/officeDocument/2006/relationships/image" Target="../media/image5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Relationship Id="rId4" Type="http://schemas.openxmlformats.org/officeDocument/2006/relationships/image" Target="../media/image5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4" Type="http://schemas.openxmlformats.org/officeDocument/2006/relationships/image" Target="../media/image5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4" Type="http://schemas.openxmlformats.org/officeDocument/2006/relationships/image" Target="../media/image5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4" Type="http://schemas.openxmlformats.org/officeDocument/2006/relationships/image" Target="../media/image5.emf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8.xml"/><Relationship Id="rId4" Type="http://schemas.openxmlformats.org/officeDocument/2006/relationships/image" Target="NUL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9.xml"/><Relationship Id="rId4" Type="http://schemas.openxmlformats.org/officeDocument/2006/relationships/image" Target="NUL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7388D5-88D5-B727-D318-E810D94EC9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84FE01DC-EEE6-4294-6050-82CB9127C1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108791A-E801-09FA-76AB-309DE9BE45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64E03-B8D9-4FA7-89DA-B24DAF0BE8A7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E7EDC83-79AB-91EE-A845-3D0513333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8E1A718-ED72-F4AB-4344-124E34F93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8E09-8AC3-409D-9A37-A314A19285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6491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32211C7-6BF5-95B0-7A24-08D8275D41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EFB26F67-A056-19C8-4C61-5F02DBE3A0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642A794-12C8-6CA0-B20B-AE0BFDB80D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64E03-B8D9-4FA7-89DA-B24DAF0BE8A7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958A4CE-BBCA-0BDD-870B-1EED61FA1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5DF084F-1202-4C42-663E-3132C5B88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8E09-8AC3-409D-9A37-A314A19285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0710399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99349254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382963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hteck 60">
            <a:extLst>
              <a:ext uri="{FF2B5EF4-FFF2-40B4-BE49-F238E27FC236}">
                <a16:creationId xmlns:a16="http://schemas.microsoft.com/office/drawing/2014/main" id="{C8C382FB-356F-4895-8B83-DD109048C1C8}"/>
              </a:ext>
            </a:extLst>
          </p:cNvPr>
          <p:cNvSpPr/>
          <p:nvPr userDrawn="1"/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6" name="Freihandform: Form 55">
            <a:extLst>
              <a:ext uri="{FF2B5EF4-FFF2-40B4-BE49-F238E27FC236}">
                <a16:creationId xmlns:a16="http://schemas.microsoft.com/office/drawing/2014/main" id="{70ACF905-D63A-4240-BCDE-11174A42408C}"/>
              </a:ext>
            </a:extLst>
          </p:cNvPr>
          <p:cNvSpPr/>
          <p:nvPr userDrawn="1"/>
        </p:nvSpPr>
        <p:spPr>
          <a:xfrm>
            <a:off x="10885236" y="-2977"/>
            <a:ext cx="1306763" cy="861512"/>
          </a:xfrm>
          <a:custGeom>
            <a:avLst/>
            <a:gdLst>
              <a:gd name="connsiteX0" fmla="*/ 18700 w 1306763"/>
              <a:gd name="connsiteY0" fmla="*/ 0 h 861512"/>
              <a:gd name="connsiteX1" fmla="*/ 1306763 w 1306763"/>
              <a:gd name="connsiteY1" fmla="*/ 0 h 861512"/>
              <a:gd name="connsiteX2" fmla="*/ 1306763 w 1306763"/>
              <a:gd name="connsiteY2" fmla="*/ 861512 h 861512"/>
              <a:gd name="connsiteX3" fmla="*/ 492547 w 1306763"/>
              <a:gd name="connsiteY3" fmla="*/ 755603 h 861512"/>
              <a:gd name="connsiteX4" fmla="*/ 3127 w 1306763"/>
              <a:gd name="connsiteY4" fmla="*/ 119671 h 86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6763" h="861512">
                <a:moveTo>
                  <a:pt x="18700" y="0"/>
                </a:moveTo>
                <a:lnTo>
                  <a:pt x="1306763" y="0"/>
                </a:lnTo>
                <a:lnTo>
                  <a:pt x="1306763" y="861512"/>
                </a:lnTo>
                <a:lnTo>
                  <a:pt x="492547" y="755603"/>
                </a:lnTo>
                <a:cubicBezTo>
                  <a:pt x="-70132" y="682343"/>
                  <a:pt x="3127" y="119671"/>
                  <a:pt x="3127" y="119671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3" name="Freihandform: Form 52">
            <a:extLst>
              <a:ext uri="{FF2B5EF4-FFF2-40B4-BE49-F238E27FC236}">
                <a16:creationId xmlns:a16="http://schemas.microsoft.com/office/drawing/2014/main" id="{E8E46B28-57CF-4070-AC7B-5028D3C639CB}"/>
              </a:ext>
            </a:extLst>
          </p:cNvPr>
          <p:cNvSpPr/>
          <p:nvPr/>
        </p:nvSpPr>
        <p:spPr>
          <a:xfrm>
            <a:off x="3300754" y="-2977"/>
            <a:ext cx="8548675" cy="6860978"/>
          </a:xfrm>
          <a:custGeom>
            <a:avLst/>
            <a:gdLst>
              <a:gd name="connsiteX0" fmla="*/ 1815049 w 8548675"/>
              <a:gd name="connsiteY0" fmla="*/ 0 h 6860978"/>
              <a:gd name="connsiteX1" fmla="*/ 5475557 w 8548675"/>
              <a:gd name="connsiteY1" fmla="*/ 0 h 6860978"/>
              <a:gd name="connsiteX2" fmla="*/ 8089597 w 8548675"/>
              <a:gd name="connsiteY2" fmla="*/ 1384874 h 6860978"/>
              <a:gd name="connsiteX3" fmla="*/ 8443212 w 8548675"/>
              <a:gd name="connsiteY3" fmla="*/ 2535560 h 6860978"/>
              <a:gd name="connsiteX4" fmla="*/ 6329942 w 8548675"/>
              <a:gd name="connsiteY4" fmla="*/ 6524297 h 6860978"/>
              <a:gd name="connsiteX5" fmla="*/ 6075791 w 8548675"/>
              <a:gd name="connsiteY5" fmla="*/ 6836204 h 6860978"/>
              <a:gd name="connsiteX6" fmla="*/ 6037484 w 8548675"/>
              <a:gd name="connsiteY6" fmla="*/ 6860978 h 6860978"/>
              <a:gd name="connsiteX7" fmla="*/ 5147284 w 8548675"/>
              <a:gd name="connsiteY7" fmla="*/ 6860978 h 6860978"/>
              <a:gd name="connsiteX8" fmla="*/ 459081 w 8548675"/>
              <a:gd name="connsiteY8" fmla="*/ 4377241 h 6860978"/>
              <a:gd name="connsiteX9" fmla="*/ 105461 w 8548675"/>
              <a:gd name="connsiteY9" fmla="*/ 3226555 h 6860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548675" h="6860978">
                <a:moveTo>
                  <a:pt x="1815049" y="0"/>
                </a:moveTo>
                <a:lnTo>
                  <a:pt x="5475557" y="0"/>
                </a:lnTo>
                <a:lnTo>
                  <a:pt x="8089597" y="1384874"/>
                </a:lnTo>
                <a:cubicBezTo>
                  <a:pt x="8841664" y="1783492"/>
                  <a:pt x="8443212" y="2535560"/>
                  <a:pt x="8443212" y="2535560"/>
                </a:cubicBezTo>
                <a:lnTo>
                  <a:pt x="6329942" y="6524297"/>
                </a:lnTo>
                <a:cubicBezTo>
                  <a:pt x="6255232" y="6665310"/>
                  <a:pt x="6168085" y="6765876"/>
                  <a:pt x="6075791" y="6836204"/>
                </a:cubicBezTo>
                <a:lnTo>
                  <a:pt x="6037484" y="6860978"/>
                </a:lnTo>
                <a:lnTo>
                  <a:pt x="5147284" y="6860978"/>
                </a:lnTo>
                <a:lnTo>
                  <a:pt x="459081" y="4377241"/>
                </a:lnTo>
                <a:cubicBezTo>
                  <a:pt x="-292986" y="3978789"/>
                  <a:pt x="105461" y="3226555"/>
                  <a:pt x="105461" y="3226555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9" name="Freihandform: Form 58">
            <a:extLst>
              <a:ext uri="{FF2B5EF4-FFF2-40B4-BE49-F238E27FC236}">
                <a16:creationId xmlns:a16="http://schemas.microsoft.com/office/drawing/2014/main" id="{AFF26CBE-D8CA-40C1-AF75-98E3F13E451B}"/>
              </a:ext>
            </a:extLst>
          </p:cNvPr>
          <p:cNvSpPr/>
          <p:nvPr/>
        </p:nvSpPr>
        <p:spPr>
          <a:xfrm rot="1238158">
            <a:off x="10486910" y="4018761"/>
            <a:ext cx="2079421" cy="3311913"/>
          </a:xfrm>
          <a:custGeom>
            <a:avLst/>
            <a:gdLst>
              <a:gd name="connsiteX0" fmla="*/ 652994 w 2079421"/>
              <a:gd name="connsiteY0" fmla="*/ 40934 h 3311913"/>
              <a:gd name="connsiteX1" fmla="*/ 942900 w 2079421"/>
              <a:gd name="connsiteY1" fmla="*/ 2133 h 3311913"/>
              <a:gd name="connsiteX2" fmla="*/ 1136078 w 2079421"/>
              <a:gd name="connsiteY2" fmla="*/ 23873 h 3311913"/>
              <a:gd name="connsiteX3" fmla="*/ 2079421 w 2079421"/>
              <a:gd name="connsiteY3" fmla="*/ 2528820 h 3311913"/>
              <a:gd name="connsiteX4" fmla="*/ 0 w 2079421"/>
              <a:gd name="connsiteY4" fmla="*/ 3311913 h 3311913"/>
              <a:gd name="connsiteX5" fmla="*/ 315575 w 2079421"/>
              <a:gd name="connsiteY5" fmla="*/ 502593 h 3311913"/>
              <a:gd name="connsiteX6" fmla="*/ 652994 w 2079421"/>
              <a:gd name="connsiteY6" fmla="*/ 40934 h 3311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9421" h="3311913">
                <a:moveTo>
                  <a:pt x="652994" y="40934"/>
                </a:moveTo>
                <a:cubicBezTo>
                  <a:pt x="801906" y="-13704"/>
                  <a:pt x="942900" y="2133"/>
                  <a:pt x="942900" y="2133"/>
                </a:cubicBezTo>
                <a:lnTo>
                  <a:pt x="1136078" y="23873"/>
                </a:lnTo>
                <a:lnTo>
                  <a:pt x="2079421" y="2528820"/>
                </a:lnTo>
                <a:lnTo>
                  <a:pt x="0" y="3311913"/>
                </a:lnTo>
                <a:lnTo>
                  <a:pt x="315575" y="502593"/>
                </a:lnTo>
                <a:cubicBezTo>
                  <a:pt x="347249" y="220688"/>
                  <a:pt x="504081" y="95573"/>
                  <a:pt x="652994" y="40934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48" name="Freihandform: Form 47">
            <a:extLst>
              <a:ext uri="{FF2B5EF4-FFF2-40B4-BE49-F238E27FC236}">
                <a16:creationId xmlns:a16="http://schemas.microsoft.com/office/drawing/2014/main" id="{7D085731-918A-4DCF-958E-BA8DA112D27C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 h 6858000"/>
              <a:gd name="connsiteX3" fmla="*/ 5707323 w 12192000"/>
              <a:gd name="connsiteY3" fmla="*/ 1 h 6858000"/>
              <a:gd name="connsiteX4" fmla="*/ 4938860 w 12192000"/>
              <a:gd name="connsiteY4" fmla="*/ 2177110 h 6858000"/>
              <a:gd name="connsiteX5" fmla="*/ 5655305 w 12192000"/>
              <a:gd name="connsiteY5" fmla="*/ 3675195 h 6858000"/>
              <a:gd name="connsiteX6" fmla="*/ 12192000 w 12192000"/>
              <a:gd name="connsiteY6" fmla="*/ 5982274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"/>
                </a:lnTo>
                <a:lnTo>
                  <a:pt x="5707323" y="1"/>
                </a:lnTo>
                <a:lnTo>
                  <a:pt x="4938860" y="2177110"/>
                </a:lnTo>
                <a:cubicBezTo>
                  <a:pt x="4938860" y="2177110"/>
                  <a:pt x="4548036" y="3284378"/>
                  <a:pt x="5655305" y="3675195"/>
                </a:cubicBezTo>
                <a:lnTo>
                  <a:pt x="12192000" y="5982274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wrap="square" rtlCol="0" anchor="ctr" anchorCtr="0">
            <a:noAutofit/>
          </a:bodyPr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9C508460-DD80-4E96-B83F-CDD1198C6EB2}"/>
              </a:ext>
            </a:extLst>
          </p:cNvPr>
          <p:cNvSpPr/>
          <p:nvPr userDrawn="1"/>
        </p:nvSpPr>
        <p:spPr>
          <a:xfrm>
            <a:off x="1" y="3174287"/>
            <a:ext cx="4123641" cy="3683713"/>
          </a:xfrm>
          <a:custGeom>
            <a:avLst/>
            <a:gdLst>
              <a:gd name="connsiteX0" fmla="*/ 903040 w 4123641"/>
              <a:gd name="connsiteY0" fmla="*/ 6 h 3683713"/>
              <a:gd name="connsiteX1" fmla="*/ 1005228 w 4123641"/>
              <a:gd name="connsiteY1" fmla="*/ 4162 h 3683713"/>
              <a:gd name="connsiteX2" fmla="*/ 3144664 w 4123641"/>
              <a:gd name="connsiteY2" fmla="*/ 244780 h 3683713"/>
              <a:gd name="connsiteX3" fmla="*/ 4119480 w 4123641"/>
              <a:gd name="connsiteY3" fmla="*/ 1466755 h 3683713"/>
              <a:gd name="connsiteX4" fmla="*/ 3870239 w 4123641"/>
              <a:gd name="connsiteY4" fmla="*/ 3683713 h 3683713"/>
              <a:gd name="connsiteX5" fmla="*/ 0 w 4123641"/>
              <a:gd name="connsiteY5" fmla="*/ 3683713 h 3683713"/>
              <a:gd name="connsiteX6" fmla="*/ 0 w 4123641"/>
              <a:gd name="connsiteY6" fmla="*/ 400106 h 3683713"/>
              <a:gd name="connsiteX7" fmla="*/ 26287 w 4123641"/>
              <a:gd name="connsiteY7" fmla="*/ 363393 h 3683713"/>
              <a:gd name="connsiteX8" fmla="*/ 903040 w 4123641"/>
              <a:gd name="connsiteY8" fmla="*/ 6 h 3683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23641" h="3683713">
                <a:moveTo>
                  <a:pt x="903040" y="6"/>
                </a:moveTo>
                <a:cubicBezTo>
                  <a:pt x="966609" y="-180"/>
                  <a:pt x="1005228" y="4162"/>
                  <a:pt x="1005228" y="4162"/>
                </a:cubicBezTo>
                <a:lnTo>
                  <a:pt x="3144664" y="244780"/>
                </a:lnTo>
                <a:cubicBezTo>
                  <a:pt x="4242964" y="368264"/>
                  <a:pt x="4119480" y="1466755"/>
                  <a:pt x="4119480" y="1466755"/>
                </a:cubicBezTo>
                <a:lnTo>
                  <a:pt x="3870239" y="3683713"/>
                </a:lnTo>
                <a:lnTo>
                  <a:pt x="0" y="3683713"/>
                </a:lnTo>
                <a:lnTo>
                  <a:pt x="0" y="400106"/>
                </a:lnTo>
                <a:lnTo>
                  <a:pt x="26287" y="363393"/>
                </a:lnTo>
                <a:cubicBezTo>
                  <a:pt x="297069" y="41872"/>
                  <a:pt x="712332" y="565"/>
                  <a:pt x="903040" y="6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6240463" y="1484784"/>
            <a:ext cx="5327651" cy="136815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solidFill>
                  <a:schemeClr val="accent1"/>
                </a:solidFill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</a:t>
            </a:r>
          </a:p>
        </p:txBody>
      </p:sp>
      <p:grpSp>
        <p:nvGrpSpPr>
          <p:cNvPr id="10" name="Group 9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" name="Text Placeholder 16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623888" y="3861048"/>
            <a:ext cx="3455987" cy="2231777"/>
          </a:xfrm>
          <a:prstGeom prst="rect">
            <a:avLst/>
          </a:prstGeom>
        </p:spPr>
        <p:txBody>
          <a:bodyPr wrap="none" anchor="b"/>
          <a:lstStyle>
            <a:lvl1pPr marL="0" indent="0">
              <a:buFont typeface="Arial" panose="020B0604020202020204" pitchFamily="34" charset="0"/>
              <a:buNone/>
              <a:defRPr sz="11500" b="0">
                <a:ln>
                  <a:noFill/>
                </a:ln>
                <a:solidFill>
                  <a:srgbClr val="FFDCB9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774983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5">
            <a:extLst>
              <a:ext uri="{FF2B5EF4-FFF2-40B4-BE49-F238E27FC236}">
                <a16:creationId xmlns:a16="http://schemas.microsoft.com/office/drawing/2014/main" id="{1F66C43F-9CEE-4108-822F-4D7623823595}"/>
              </a:ext>
            </a:extLst>
          </p:cNvPr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22" name="Group 9">
            <a:extLst>
              <a:ext uri="{FF2B5EF4-FFF2-40B4-BE49-F238E27FC236}">
                <a16:creationId xmlns:a16="http://schemas.microsoft.com/office/drawing/2014/main" id="{33467EAB-D7BB-45E1-AB3A-1A90C41CA112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3E68EF0-E394-4FE3-BDE3-AFA69C9D61AC}"/>
                </a:ext>
              </a:extLst>
            </p:cNvPr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619DBFB6-C1E8-49CE-ABE8-7482BCD12A8E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B630B640-B848-4B04-AB6B-F087878D88A4}"/>
                </a:ext>
              </a:extLst>
            </p:cNvPr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D61D8AA-CFBF-4ABF-9AFF-791ADDA48626}"/>
                </a:ext>
              </a:extLst>
            </p:cNvPr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04A6E599-9317-4693-8FC3-4073D3546CD0}"/>
                </a:ext>
              </a:extLst>
            </p:cNvPr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31" name="Grafik 30">
            <a:extLst>
              <a:ext uri="{FF2B5EF4-FFF2-40B4-BE49-F238E27FC236}">
                <a16:creationId xmlns:a16="http://schemas.microsoft.com/office/drawing/2014/main" id="{89889EC3-AE86-47C2-87A9-890B5D9D4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60"/>
          <a:stretch/>
        </p:blipFill>
        <p:spPr>
          <a:xfrm>
            <a:off x="0" y="1989138"/>
            <a:ext cx="5492158" cy="3598126"/>
          </a:xfrm>
          <a:prstGeom prst="rect">
            <a:avLst/>
          </a:prstGeom>
        </p:spPr>
      </p:pic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79AFF54C-A23C-4ECD-A980-5D0991EFFB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951538" y="1989138"/>
            <a:ext cx="5617069" cy="1251710"/>
          </a:xfrm>
          <a:prstGeom prst="rect">
            <a:avLst/>
          </a:prstGeom>
        </p:spPr>
        <p:txBody>
          <a:bodyPr wrap="none" tIns="0" bIns="216000" anchor="ctr"/>
          <a:lstStyle>
            <a:lvl1pPr marL="0" indent="0" algn="l">
              <a:buFont typeface="Arial" panose="020B0604020202020204" pitchFamily="34" charset="0"/>
              <a:buNone/>
              <a:defRPr sz="11500" b="0">
                <a:ln>
                  <a:noFill/>
                </a:ln>
                <a:solidFill>
                  <a:schemeClr val="bg2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09FD659-5304-4C33-9CE5-679C1E182E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951538" y="3356992"/>
            <a:ext cx="5617070" cy="2232000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solidFill>
                  <a:schemeClr val="accent1"/>
                </a:solidFill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 dirty="0"/>
              <a:t>Chapter name </a:t>
            </a:r>
            <a:br>
              <a:rPr lang="en-US" noProof="0" dirty="0"/>
            </a:br>
            <a:r>
              <a:rPr lang="en-US" noProof="0" dirty="0"/>
              <a:t>in two lines </a:t>
            </a:r>
          </a:p>
        </p:txBody>
      </p:sp>
    </p:spTree>
    <p:extLst>
      <p:ext uri="{BB962C8B-B14F-4D97-AF65-F5344CB8AC3E}">
        <p14:creationId xmlns:p14="http://schemas.microsoft.com/office/powerpoint/2010/main" val="39242606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19" name="Group 12">
            <a:extLst>
              <a:ext uri="{FF2B5EF4-FFF2-40B4-BE49-F238E27FC236}">
                <a16:creationId xmlns:a16="http://schemas.microsoft.com/office/drawing/2014/main" id="{237675FA-E302-4EE7-9E71-3C92AF7C6D5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13706" y="3956774"/>
            <a:ext cx="4254902" cy="2136521"/>
            <a:chOff x="-85296375" y="18191163"/>
            <a:chExt cx="195448238" cy="98140837"/>
          </a:xfrm>
        </p:grpSpPr>
        <p:sp>
          <p:nvSpPr>
            <p:cNvPr id="20" name="Freeform 33">
              <a:extLst>
                <a:ext uri="{FF2B5EF4-FFF2-40B4-BE49-F238E27FC236}">
                  <a16:creationId xmlns:a16="http://schemas.microsoft.com/office/drawing/2014/main" id="{4411B116-9336-443A-A717-DB8797C213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26 w 46525"/>
                <a:gd name="T3" fmla="*/ 21145 h 25428"/>
                <a:gd name="T4" fmla="*/ 44204 w 46525"/>
                <a:gd name="T5" fmla="*/ 16995 h 25428"/>
                <a:gd name="T6" fmla="*/ 43209 w 46525"/>
                <a:gd name="T7" fmla="*/ 14732 h 25428"/>
                <a:gd name="T8" fmla="*/ 40113 w 46525"/>
                <a:gd name="T9" fmla="*/ 14038 h 25428"/>
                <a:gd name="T10" fmla="*/ 33362 w 46525"/>
                <a:gd name="T11" fmla="*/ 18866 h 25428"/>
                <a:gd name="T12" fmla="*/ 27186 w 46525"/>
                <a:gd name="T13" fmla="*/ 23435 h 25428"/>
                <a:gd name="T14" fmla="*/ 21668 w 46525"/>
                <a:gd name="T15" fmla="*/ 21926 h 25428"/>
                <a:gd name="T16" fmla="*/ 17342 w 46525"/>
                <a:gd name="T17" fmla="*/ 18159 h 25428"/>
                <a:gd name="T18" fmla="*/ 10883 w 46525"/>
                <a:gd name="T19" fmla="*/ 14279 h 25428"/>
                <a:gd name="T20" fmla="*/ 8335 w 46525"/>
                <a:gd name="T21" fmla="*/ 15623 h 25428"/>
                <a:gd name="T22" fmla="*/ 7994 w 46525"/>
                <a:gd name="T23" fmla="*/ 17519 h 25428"/>
                <a:gd name="T24" fmla="*/ 8002 w 46525"/>
                <a:gd name="T25" fmla="*/ 23415 h 25428"/>
                <a:gd name="T26" fmla="*/ 7995 w 46525"/>
                <a:gd name="T27" fmla="*/ 23973 h 25428"/>
                <a:gd name="T28" fmla="*/ 6368 w 46525"/>
                <a:gd name="T29" fmla="*/ 25395 h 25428"/>
                <a:gd name="T30" fmla="*/ 5092 w 46525"/>
                <a:gd name="T31" fmla="*/ 25428 h 25428"/>
                <a:gd name="T32" fmla="*/ 2054 w 46525"/>
                <a:gd name="T33" fmla="*/ 24521 h 25428"/>
                <a:gd name="T34" fmla="*/ 2 w 46525"/>
                <a:gd name="T35" fmla="*/ 21261 h 25428"/>
                <a:gd name="T36" fmla="*/ 3 w 46525"/>
                <a:gd name="T37" fmla="*/ 19732 h 25428"/>
                <a:gd name="T38" fmla="*/ 1172 w 46525"/>
                <a:gd name="T39" fmla="*/ 0 h 25428"/>
                <a:gd name="T40" fmla="*/ 6138 w 46525"/>
                <a:gd name="T41" fmla="*/ 40 h 25428"/>
                <a:gd name="T42" fmla="*/ 10142 w 46525"/>
                <a:gd name="T43" fmla="*/ 1610 h 25428"/>
                <a:gd name="T44" fmla="*/ 11153 w 46525"/>
                <a:gd name="T45" fmla="*/ 2551 h 25428"/>
                <a:gd name="T46" fmla="*/ 15899 w 46525"/>
                <a:gd name="T47" fmla="*/ 7099 h 25428"/>
                <a:gd name="T48" fmla="*/ 17354 w 46525"/>
                <a:gd name="T49" fmla="*/ 8408 h 25428"/>
                <a:gd name="T50" fmla="*/ 31821 w 46525"/>
                <a:gd name="T51" fmla="*/ 10275 h 25428"/>
                <a:gd name="T52" fmla="*/ 31776 w 46525"/>
                <a:gd name="T53" fmla="*/ 10761 h 25428"/>
                <a:gd name="T54" fmla="*/ 20355 w 46525"/>
                <a:gd name="T55" fmla="*/ 11189 h 25428"/>
                <a:gd name="T56" fmla="*/ 15258 w 46525"/>
                <a:gd name="T57" fmla="*/ 7928 h 25428"/>
                <a:gd name="T58" fmla="*/ 11552 w 46525"/>
                <a:gd name="T59" fmla="*/ 4476 h 25428"/>
                <a:gd name="T60" fmla="*/ 9664 w 46525"/>
                <a:gd name="T61" fmla="*/ 2716 h 25428"/>
                <a:gd name="T62" fmla="*/ 5849 w 46525"/>
                <a:gd name="T63" fmla="*/ 1231 h 25428"/>
                <a:gd name="T64" fmla="*/ 1480 w 46525"/>
                <a:gd name="T65" fmla="*/ 1296 h 25428"/>
                <a:gd name="T66" fmla="*/ 1347 w 46525"/>
                <a:gd name="T67" fmla="*/ 1590 h 25428"/>
                <a:gd name="T68" fmla="*/ 1408 w 46525"/>
                <a:gd name="T69" fmla="*/ 21014 h 25428"/>
                <a:gd name="T70" fmla="*/ 3727 w 46525"/>
                <a:gd name="T71" fmla="*/ 23767 h 25428"/>
                <a:gd name="T72" fmla="*/ 5103 w 46525"/>
                <a:gd name="T73" fmla="*/ 23987 h 25428"/>
                <a:gd name="T74" fmla="*/ 6271 w 46525"/>
                <a:gd name="T75" fmla="*/ 23951 h 25428"/>
                <a:gd name="T76" fmla="*/ 6548 w 46525"/>
                <a:gd name="T77" fmla="*/ 23664 h 25428"/>
                <a:gd name="T78" fmla="*/ 6571 w 46525"/>
                <a:gd name="T79" fmla="*/ 16189 h 25428"/>
                <a:gd name="T80" fmla="*/ 10633 w 46525"/>
                <a:gd name="T81" fmla="*/ 12779 h 25428"/>
                <a:gd name="T82" fmla="*/ 15923 w 46525"/>
                <a:gd name="T83" fmla="*/ 14945 h 25428"/>
                <a:gd name="T84" fmla="*/ 19260 w 46525"/>
                <a:gd name="T85" fmla="*/ 17958 h 25428"/>
                <a:gd name="T86" fmla="*/ 25829 w 46525"/>
                <a:gd name="T87" fmla="*/ 22317 h 25428"/>
                <a:gd name="T88" fmla="*/ 31813 w 46525"/>
                <a:gd name="T89" fmla="*/ 18727 h 25428"/>
                <a:gd name="T90" fmla="*/ 35917 w 46525"/>
                <a:gd name="T91" fmla="*/ 15125 h 25428"/>
                <a:gd name="T92" fmla="*/ 43119 w 46525"/>
                <a:gd name="T93" fmla="*/ 13639 h 25428"/>
                <a:gd name="T94" fmla="*/ 44851 w 46525"/>
                <a:gd name="T95" fmla="*/ 20902 h 25428"/>
                <a:gd name="T96" fmla="*/ 45499 w 46525"/>
                <a:gd name="T97" fmla="*/ 22864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525" h="25428">
                  <a:moveTo>
                    <a:pt x="46508" y="23834"/>
                  </a:moveTo>
                  <a:cubicBezTo>
                    <a:pt x="46525" y="23872"/>
                    <a:pt x="46476" y="23875"/>
                    <a:pt x="46364" y="23837"/>
                  </a:cubicBez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784"/>
                    <a:pt x="93" y="1070"/>
                  </a:cubicBezTo>
                  <a:cubicBezTo>
                    <a:pt x="93" y="923"/>
                    <a:pt x="113" y="802"/>
                    <a:pt x="138" y="685"/>
                  </a:cubicBezTo>
                  <a:cubicBezTo>
                    <a:pt x="211" y="404"/>
                    <a:pt x="441" y="0"/>
                    <a:pt x="1172" y="0"/>
                  </a:cubicBezTo>
                  <a:cubicBezTo>
                    <a:pt x="1336" y="0"/>
                    <a:pt x="1526" y="1"/>
                    <a:pt x="1713" y="1"/>
                  </a:cubicBezTo>
                  <a:cubicBezTo>
                    <a:pt x="2509" y="5"/>
                    <a:pt x="3619" y="15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1921" y="1245"/>
                    <a:pt x="1688" y="1245"/>
                  </a:cubicBezTo>
                  <a:cubicBezTo>
                    <a:pt x="1615" y="1245"/>
                    <a:pt x="1559" y="1258"/>
                    <a:pt x="1510" y="1279"/>
                  </a:cubicBezTo>
                  <a:cubicBezTo>
                    <a:pt x="1498" y="1284"/>
                    <a:pt x="1490" y="1290"/>
                    <a:pt x="1480" y="1296"/>
                  </a:cubicBezTo>
                  <a:cubicBezTo>
                    <a:pt x="1453" y="1312"/>
                    <a:pt x="1430" y="1332"/>
                    <a:pt x="1411" y="1357"/>
                  </a:cubicBezTo>
                  <a:cubicBezTo>
                    <a:pt x="1399" y="1373"/>
                    <a:pt x="1389" y="1389"/>
                    <a:pt x="1382" y="1407"/>
                  </a:cubicBezTo>
                  <a:cubicBezTo>
                    <a:pt x="1375" y="1422"/>
                    <a:pt x="1369" y="1438"/>
                    <a:pt x="1364" y="1456"/>
                  </a:cubicBezTo>
                  <a:cubicBezTo>
                    <a:pt x="1352" y="1504"/>
                    <a:pt x="1347" y="1552"/>
                    <a:pt x="1347" y="1590"/>
                  </a:cubicBezTo>
                  <a:cubicBezTo>
                    <a:pt x="1347" y="1839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34">
              <a:extLst>
                <a:ext uri="{FF2B5EF4-FFF2-40B4-BE49-F238E27FC236}">
                  <a16:creationId xmlns:a16="http://schemas.microsoft.com/office/drawing/2014/main" id="{A48CA912-4EE3-4FE1-908A-CE029E727C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0 w 36820"/>
                <a:gd name="T29" fmla="*/ 1793 h 25129"/>
                <a:gd name="T30" fmla="*/ 3689 w 36820"/>
                <a:gd name="T31" fmla="*/ 982 h 25129"/>
                <a:gd name="T32" fmla="*/ 5782 w 36820"/>
                <a:gd name="T33" fmla="*/ 977 h 25129"/>
                <a:gd name="T34" fmla="*/ 9101 w 36820"/>
                <a:gd name="T35" fmla="*/ 2101 h 25129"/>
                <a:gd name="T36" fmla="*/ 13309 w 36820"/>
                <a:gd name="T37" fmla="*/ 5963 h 25129"/>
                <a:gd name="T38" fmla="*/ 15246 w 36820"/>
                <a:gd name="T39" fmla="*/ 7767 h 25129"/>
                <a:gd name="T40" fmla="*/ 16641 w 36820"/>
                <a:gd name="T41" fmla="*/ 8970 h 25129"/>
                <a:gd name="T42" fmla="*/ 24643 w 36820"/>
                <a:gd name="T43" fmla="*/ 11779 h 25129"/>
                <a:gd name="T44" fmla="*/ 27567 w 36820"/>
                <a:gd name="T45" fmla="*/ 11469 h 25129"/>
                <a:gd name="T46" fmla="*/ 22316 w 36820"/>
                <a:gd name="T47" fmla="*/ 10912 h 25129"/>
                <a:gd name="T48" fmla="*/ 16115 w 36820"/>
                <a:gd name="T49" fmla="*/ 7516 h 25129"/>
                <a:gd name="T50" fmla="*/ 14838 w 36820"/>
                <a:gd name="T51" fmla="*/ 6279 h 25129"/>
                <a:gd name="T52" fmla="*/ 10203 w 36820"/>
                <a:gd name="T53" fmla="*/ 1841 h 25129"/>
                <a:gd name="T54" fmla="*/ 6586 w 36820"/>
                <a:gd name="T55" fmla="*/ 101 h 25129"/>
                <a:gd name="T56" fmla="*/ 5685 w 36820"/>
                <a:gd name="T57" fmla="*/ 29 h 25129"/>
                <a:gd name="T58" fmla="*/ 1071 w 36820"/>
                <a:gd name="T59" fmla="*/ 0 h 25129"/>
                <a:gd name="T60" fmla="*/ 9 w 36820"/>
                <a:gd name="T61" fmla="*/ 14968 h 25129"/>
                <a:gd name="T62" fmla="*/ 2 w 36820"/>
                <a:gd name="T63" fmla="*/ 21079 h 25129"/>
                <a:gd name="T64" fmla="*/ 1566 w 36820"/>
                <a:gd name="T65" fmla="*/ 23950 h 25129"/>
                <a:gd name="T66" fmla="*/ 4502 w 36820"/>
                <a:gd name="T67" fmla="*/ 25118 h 25129"/>
                <a:gd name="T68" fmla="*/ 5500 w 36820"/>
                <a:gd name="T69" fmla="*/ 25123 h 25129"/>
                <a:gd name="T70" fmla="*/ 6180 w 36820"/>
                <a:gd name="T71" fmla="*/ 25096 h 25129"/>
                <a:gd name="T72" fmla="*/ 7622 w 36820"/>
                <a:gd name="T73" fmla="*/ 24285 h 25129"/>
                <a:gd name="T74" fmla="*/ 7674 w 36820"/>
                <a:gd name="T75" fmla="*/ 23387 h 25129"/>
                <a:gd name="T76" fmla="*/ 7658 w 36820"/>
                <a:gd name="T77" fmla="*/ 16629 h 25129"/>
                <a:gd name="T78" fmla="*/ 9720 w 36820"/>
                <a:gd name="T79" fmla="*/ 14049 h 25129"/>
                <a:gd name="T80" fmla="*/ 10716 w 36820"/>
                <a:gd name="T81" fmla="*/ 13953 h 25129"/>
                <a:gd name="T82" fmla="*/ 16254 w 36820"/>
                <a:gd name="T83" fmla="*/ 16889 h 25129"/>
                <a:gd name="T84" fmla="*/ 19370 w 36820"/>
                <a:gd name="T85" fmla="*/ 19687 h 25129"/>
                <a:gd name="T86" fmla="*/ 26024 w 36820"/>
                <a:gd name="T87" fmla="*/ 23232 h 25129"/>
                <a:gd name="T88" fmla="*/ 31256 w 36820"/>
                <a:gd name="T89" fmla="*/ 20132 h 25129"/>
                <a:gd name="T90" fmla="*/ 35607 w 36820"/>
                <a:gd name="T91" fmla="*/ 15888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4" y="10863"/>
                    <a:pt x="1065" y="3552"/>
                    <a:pt x="1060" y="1793"/>
                  </a:cubicBezTo>
                  <a:cubicBezTo>
                    <a:pt x="1059" y="1554"/>
                    <a:pt x="1067" y="1418"/>
                    <a:pt x="1067" y="1406"/>
                  </a:cubicBezTo>
                  <a:cubicBezTo>
                    <a:pt x="1067" y="1152"/>
                    <a:pt x="1084" y="988"/>
                    <a:pt x="1480" y="988"/>
                  </a:cubicBezTo>
                  <a:cubicBezTo>
                    <a:pt x="201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2153" y="7"/>
                    <a:pt x="1071" y="0"/>
                  </a:cubicBezTo>
                  <a:cubicBezTo>
                    <a:pt x="440" y="30"/>
                    <a:pt x="70" y="466"/>
                    <a:pt x="71" y="993"/>
                  </a:cubicBezTo>
                  <a:cubicBezTo>
                    <a:pt x="72" y="152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35">
              <a:extLst>
                <a:ext uri="{FF2B5EF4-FFF2-40B4-BE49-F238E27FC236}">
                  <a16:creationId xmlns:a16="http://schemas.microsoft.com/office/drawing/2014/main" id="{3C816D7E-6BFD-4CE8-BF88-2EE0FCC456F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5296375" y="18191163"/>
              <a:ext cx="195448238" cy="98140837"/>
            </a:xfrm>
            <a:custGeom>
              <a:avLst/>
              <a:gdLst>
                <a:gd name="T0" fmla="*/ 49583 w 52117"/>
                <a:gd name="T1" fmla="*/ 737 h 26168"/>
                <a:gd name="T2" fmla="*/ 35822 w 52117"/>
                <a:gd name="T3" fmla="*/ 7517 h 26168"/>
                <a:gd name="T4" fmla="*/ 33730 w 52117"/>
                <a:gd name="T5" fmla="*/ 9149 h 26168"/>
                <a:gd name="T6" fmla="*/ 17258 w 52117"/>
                <a:gd name="T7" fmla="*/ 7854 h 26168"/>
                <a:gd name="T8" fmla="*/ 11345 w 52117"/>
                <a:gd name="T9" fmla="*/ 2224 h 26168"/>
                <a:gd name="T10" fmla="*/ 9326 w 52117"/>
                <a:gd name="T11" fmla="*/ 768 h 26168"/>
                <a:gd name="T12" fmla="*/ 1375 w 52117"/>
                <a:gd name="T13" fmla="*/ 0 h 26168"/>
                <a:gd name="T14" fmla="*/ 5 w 52117"/>
                <a:gd name="T15" fmla="*/ 19472 h 26168"/>
                <a:gd name="T16" fmla="*/ 5 w 52117"/>
                <a:gd name="T17" fmla="*/ 21740 h 26168"/>
                <a:gd name="T18" fmla="*/ 2995 w 52117"/>
                <a:gd name="T19" fmla="*/ 25633 h 26168"/>
                <a:gd name="T20" fmla="*/ 5449 w 52117"/>
                <a:gd name="T21" fmla="*/ 26168 h 26168"/>
                <a:gd name="T22" fmla="*/ 6688 w 52117"/>
                <a:gd name="T23" fmla="*/ 26141 h 26168"/>
                <a:gd name="T24" fmla="*/ 8720 w 52117"/>
                <a:gd name="T25" fmla="*/ 24416 h 26168"/>
                <a:gd name="T26" fmla="*/ 8736 w 52117"/>
                <a:gd name="T27" fmla="*/ 21563 h 26168"/>
                <a:gd name="T28" fmla="*/ 8741 w 52117"/>
                <a:gd name="T29" fmla="*/ 17270 h 26168"/>
                <a:gd name="T30" fmla="*/ 10456 w 52117"/>
                <a:gd name="T31" fmla="*/ 15112 h 26168"/>
                <a:gd name="T32" fmla="*/ 15098 w 52117"/>
                <a:gd name="T33" fmla="*/ 16805 h 26168"/>
                <a:gd name="T34" fmla="*/ 21041 w 52117"/>
                <a:gd name="T35" fmla="*/ 22112 h 26168"/>
                <a:gd name="T36" fmla="*/ 28486 w 52117"/>
                <a:gd name="T37" fmla="*/ 24005 h 26168"/>
                <a:gd name="T38" fmla="*/ 36202 w 52117"/>
                <a:gd name="T39" fmla="*/ 17676 h 26168"/>
                <a:gd name="T40" fmla="*/ 41491 w 52117"/>
                <a:gd name="T41" fmla="*/ 14928 h 26168"/>
                <a:gd name="T42" fmla="*/ 43802 w 52117"/>
                <a:gd name="T43" fmla="*/ 16791 h 26168"/>
                <a:gd name="T44" fmla="*/ 43869 w 52117"/>
                <a:gd name="T45" fmla="*/ 17719 h 26168"/>
                <a:gd name="T46" fmla="*/ 43910 w 52117"/>
                <a:gd name="T47" fmla="*/ 21574 h 26168"/>
                <a:gd name="T48" fmla="*/ 45077 w 52117"/>
                <a:gd name="T49" fmla="*/ 24167 h 26168"/>
                <a:gd name="T50" fmla="*/ 49081 w 52117"/>
                <a:gd name="T51" fmla="*/ 25882 h 26168"/>
                <a:gd name="T52" fmla="*/ 50914 w 52117"/>
                <a:gd name="T53" fmla="*/ 25770 h 26168"/>
                <a:gd name="T54" fmla="*/ 52046 w 52117"/>
                <a:gd name="T55" fmla="*/ 24904 h 26168"/>
                <a:gd name="T56" fmla="*/ 50669 w 52117"/>
                <a:gd name="T57" fmla="*/ 23321 h 26168"/>
                <a:gd name="T58" fmla="*/ 50634 w 52117"/>
                <a:gd name="T59" fmla="*/ 24234 h 26168"/>
                <a:gd name="T60" fmla="*/ 50132 w 52117"/>
                <a:gd name="T61" fmla="*/ 24338 h 26168"/>
                <a:gd name="T62" fmla="*/ 49062 w 52117"/>
                <a:gd name="T63" fmla="*/ 24349 h 26168"/>
                <a:gd name="T64" fmla="*/ 45648 w 52117"/>
                <a:gd name="T65" fmla="*/ 22048 h 26168"/>
                <a:gd name="T66" fmla="*/ 45578 w 52117"/>
                <a:gd name="T67" fmla="*/ 21214 h 26168"/>
                <a:gd name="T68" fmla="*/ 45603 w 52117"/>
                <a:gd name="T69" fmla="*/ 17236 h 26168"/>
                <a:gd name="T70" fmla="*/ 43192 w 52117"/>
                <a:gd name="T71" fmla="*/ 13496 h 26168"/>
                <a:gd name="T72" fmla="*/ 38820 w 52117"/>
                <a:gd name="T73" fmla="*/ 13635 h 26168"/>
                <a:gd name="T74" fmla="*/ 33083 w 52117"/>
                <a:gd name="T75" fmla="*/ 17952 h 26168"/>
                <a:gd name="T76" fmla="*/ 27369 w 52117"/>
                <a:gd name="T77" fmla="*/ 22286 h 26168"/>
                <a:gd name="T78" fmla="*/ 19412 w 52117"/>
                <a:gd name="T79" fmla="*/ 17873 h 26168"/>
                <a:gd name="T80" fmla="*/ 14267 w 52117"/>
                <a:gd name="T81" fmla="*/ 13745 h 26168"/>
                <a:gd name="T82" fmla="*/ 10663 w 52117"/>
                <a:gd name="T83" fmla="*/ 12928 h 26168"/>
                <a:gd name="T84" fmla="*/ 6626 w 52117"/>
                <a:gd name="T85" fmla="*/ 16744 h 26168"/>
                <a:gd name="T86" fmla="*/ 6586 w 52117"/>
                <a:gd name="T87" fmla="*/ 18257 h 26168"/>
                <a:gd name="T88" fmla="*/ 6568 w 52117"/>
                <a:gd name="T89" fmla="*/ 23938 h 26168"/>
                <a:gd name="T90" fmla="*/ 6529 w 52117"/>
                <a:gd name="T91" fmla="*/ 23981 h 26168"/>
                <a:gd name="T92" fmla="*/ 5838 w 52117"/>
                <a:gd name="T93" fmla="*/ 23999 h 26168"/>
                <a:gd name="T94" fmla="*/ 5033 w 52117"/>
                <a:gd name="T95" fmla="*/ 23985 h 26168"/>
                <a:gd name="T96" fmla="*/ 2175 w 52117"/>
                <a:gd name="T97" fmla="*/ 16149 h 26168"/>
                <a:gd name="T98" fmla="*/ 6032 w 52117"/>
                <a:gd name="T99" fmla="*/ 2106 h 26168"/>
                <a:gd name="T100" fmla="*/ 9691 w 52117"/>
                <a:gd name="T101" fmla="*/ 3488 h 26168"/>
                <a:gd name="T102" fmla="*/ 13560 w 52117"/>
                <a:gd name="T103" fmla="*/ 7102 h 26168"/>
                <a:gd name="T104" fmla="*/ 15301 w 52117"/>
                <a:gd name="T105" fmla="*/ 8723 h 26168"/>
                <a:gd name="T106" fmla="*/ 17946 w 52117"/>
                <a:gd name="T107" fmla="*/ 10792 h 26168"/>
                <a:gd name="T108" fmla="*/ 24225 w 52117"/>
                <a:gd name="T109" fmla="*/ 12916 h 26168"/>
                <a:gd name="T110" fmla="*/ 34787 w 52117"/>
                <a:gd name="T111" fmla="*/ 10330 h 26168"/>
                <a:gd name="T112" fmla="*/ 43890 w 52117"/>
                <a:gd name="T113" fmla="*/ 1677 h 26168"/>
                <a:gd name="T114" fmla="*/ 50331 w 52117"/>
                <a:gd name="T115" fmla="*/ 3278 h 26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117" h="26168">
                  <a:moveTo>
                    <a:pt x="52107" y="4115"/>
                  </a:moveTo>
                  <a:cubicBezTo>
                    <a:pt x="52091" y="3841"/>
                    <a:pt x="52040" y="3427"/>
                    <a:pt x="51838" y="2930"/>
                  </a:cubicBezTo>
                  <a:cubicBezTo>
                    <a:pt x="51638" y="2436"/>
                    <a:pt x="51278" y="1854"/>
                    <a:pt x="50670" y="1361"/>
                  </a:cubicBezTo>
                  <a:cubicBezTo>
                    <a:pt x="50367" y="1116"/>
                    <a:pt x="50002" y="896"/>
                    <a:pt x="49583" y="737"/>
                  </a:cubicBezTo>
                  <a:cubicBezTo>
                    <a:pt x="49164" y="577"/>
                    <a:pt x="48683" y="480"/>
                    <a:pt x="48187" y="476"/>
                  </a:cubicBezTo>
                  <a:cubicBezTo>
                    <a:pt x="47024" y="459"/>
                    <a:pt x="44252" y="418"/>
                    <a:pt x="43968" y="420"/>
                  </a:cubicBezTo>
                  <a:cubicBezTo>
                    <a:pt x="43684" y="422"/>
                    <a:pt x="43402" y="560"/>
                    <a:pt x="43268" y="682"/>
                  </a:cubicBezTo>
                  <a:cubicBezTo>
                    <a:pt x="43135" y="804"/>
                    <a:pt x="38532" y="5028"/>
                    <a:pt x="35822" y="7517"/>
                  </a:cubicBezTo>
                  <a:cubicBezTo>
                    <a:pt x="35737" y="7593"/>
                    <a:pt x="35654" y="7670"/>
                    <a:pt x="35569" y="7747"/>
                  </a:cubicBezTo>
                  <a:cubicBezTo>
                    <a:pt x="35490" y="7821"/>
                    <a:pt x="35409" y="7893"/>
                    <a:pt x="35326" y="7965"/>
                  </a:cubicBezTo>
                  <a:cubicBezTo>
                    <a:pt x="35162" y="8108"/>
                    <a:pt x="34993" y="8248"/>
                    <a:pt x="34819" y="8383"/>
                  </a:cubicBezTo>
                  <a:cubicBezTo>
                    <a:pt x="34473" y="8654"/>
                    <a:pt x="34111" y="8911"/>
                    <a:pt x="33730" y="9149"/>
                  </a:cubicBezTo>
                  <a:cubicBezTo>
                    <a:pt x="32972" y="9627"/>
                    <a:pt x="32150" y="10035"/>
                    <a:pt x="31278" y="10356"/>
                  </a:cubicBezTo>
                  <a:cubicBezTo>
                    <a:pt x="29536" y="11001"/>
                    <a:pt x="27598" y="11297"/>
                    <a:pt x="25618" y="11198"/>
                  </a:cubicBezTo>
                  <a:cubicBezTo>
                    <a:pt x="23642" y="11104"/>
                    <a:pt x="21634" y="10601"/>
                    <a:pt x="19812" y="9632"/>
                  </a:cubicBezTo>
                  <a:cubicBezTo>
                    <a:pt x="18902" y="9149"/>
                    <a:pt x="18040" y="8554"/>
                    <a:pt x="17258" y="7854"/>
                  </a:cubicBezTo>
                  <a:cubicBezTo>
                    <a:pt x="16451" y="7085"/>
                    <a:pt x="15636" y="6309"/>
                    <a:pt x="14813" y="5525"/>
                  </a:cubicBezTo>
                  <a:cubicBezTo>
                    <a:pt x="13983" y="4734"/>
                    <a:pt x="13145" y="3937"/>
                    <a:pt x="12299" y="3131"/>
                  </a:cubicBezTo>
                  <a:cubicBezTo>
                    <a:pt x="12088" y="2931"/>
                    <a:pt x="11876" y="2729"/>
                    <a:pt x="11664" y="2527"/>
                  </a:cubicBezTo>
                  <a:cubicBezTo>
                    <a:pt x="11345" y="2224"/>
                    <a:pt x="11345" y="2224"/>
                    <a:pt x="11345" y="2224"/>
                  </a:cubicBezTo>
                  <a:cubicBezTo>
                    <a:pt x="11185" y="2072"/>
                    <a:pt x="11185" y="2072"/>
                    <a:pt x="11185" y="2072"/>
                  </a:cubicBezTo>
                  <a:cubicBezTo>
                    <a:pt x="11099" y="1991"/>
                    <a:pt x="11099" y="1991"/>
                    <a:pt x="11099" y="1991"/>
                  </a:cubicBezTo>
                  <a:cubicBezTo>
                    <a:pt x="11006" y="1905"/>
                    <a:pt x="11006" y="1905"/>
                    <a:pt x="11006" y="1905"/>
                  </a:cubicBezTo>
                  <a:cubicBezTo>
                    <a:pt x="10504" y="1454"/>
                    <a:pt x="9939" y="1069"/>
                    <a:pt x="9326" y="768"/>
                  </a:cubicBezTo>
                  <a:cubicBezTo>
                    <a:pt x="8713" y="467"/>
                    <a:pt x="8055" y="251"/>
                    <a:pt x="7376" y="132"/>
                  </a:cubicBezTo>
                  <a:cubicBezTo>
                    <a:pt x="7036" y="73"/>
                    <a:pt x="6698" y="37"/>
                    <a:pt x="6345" y="26"/>
                  </a:cubicBezTo>
                  <a:cubicBezTo>
                    <a:pt x="6040" y="23"/>
                    <a:pt x="5735" y="21"/>
                    <a:pt x="5430" y="18"/>
                  </a:cubicBezTo>
                  <a:cubicBezTo>
                    <a:pt x="4086" y="12"/>
                    <a:pt x="2155" y="0"/>
                    <a:pt x="1375" y="0"/>
                  </a:cubicBezTo>
                  <a:cubicBezTo>
                    <a:pt x="595" y="0"/>
                    <a:pt x="78" y="373"/>
                    <a:pt x="78" y="1289"/>
                  </a:cubicBezTo>
                  <a:cubicBezTo>
                    <a:pt x="78" y="2417"/>
                    <a:pt x="69" y="3264"/>
                    <a:pt x="65" y="4257"/>
                  </a:cubicBezTo>
                  <a:cubicBezTo>
                    <a:pt x="52" y="7480"/>
                    <a:pt x="34" y="11821"/>
                    <a:pt x="17" y="16197"/>
                  </a:cubicBezTo>
                  <a:cubicBezTo>
                    <a:pt x="13" y="17294"/>
                    <a:pt x="9" y="18390"/>
                    <a:pt x="5" y="19472"/>
                  </a:cubicBezTo>
                  <a:cubicBezTo>
                    <a:pt x="4" y="20013"/>
                    <a:pt x="2" y="20550"/>
                    <a:pt x="0" y="21082"/>
                  </a:cubicBezTo>
                  <a:cubicBezTo>
                    <a:pt x="0" y="21215"/>
                    <a:pt x="0" y="21349"/>
                    <a:pt x="0" y="21480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0" y="21646"/>
                    <a:pt x="3" y="21693"/>
                    <a:pt x="5" y="21740"/>
                  </a:cubicBezTo>
                  <a:cubicBezTo>
                    <a:pt x="10" y="21836"/>
                    <a:pt x="20" y="21928"/>
                    <a:pt x="32" y="22021"/>
                  </a:cubicBezTo>
                  <a:cubicBezTo>
                    <a:pt x="80" y="22391"/>
                    <a:pt x="187" y="22743"/>
                    <a:pt x="330" y="23065"/>
                  </a:cubicBezTo>
                  <a:cubicBezTo>
                    <a:pt x="618" y="23711"/>
                    <a:pt x="1040" y="24230"/>
                    <a:pt x="1499" y="24647"/>
                  </a:cubicBezTo>
                  <a:cubicBezTo>
                    <a:pt x="1961" y="25065"/>
                    <a:pt x="2468" y="25388"/>
                    <a:pt x="2995" y="25633"/>
                  </a:cubicBezTo>
                  <a:cubicBezTo>
                    <a:pt x="3523" y="25876"/>
                    <a:pt x="4074" y="26042"/>
                    <a:pt x="4638" y="26120"/>
                  </a:cubicBezTo>
                  <a:cubicBezTo>
                    <a:pt x="4779" y="26140"/>
                    <a:pt x="4922" y="26154"/>
                    <a:pt x="5064" y="26161"/>
                  </a:cubicBezTo>
                  <a:cubicBezTo>
                    <a:pt x="5136" y="26163"/>
                    <a:pt x="5207" y="26167"/>
                    <a:pt x="5279" y="26167"/>
                  </a:cubicBezTo>
                  <a:cubicBezTo>
                    <a:pt x="5336" y="26167"/>
                    <a:pt x="5393" y="26167"/>
                    <a:pt x="5449" y="26168"/>
                  </a:cubicBezTo>
                  <a:cubicBezTo>
                    <a:pt x="5672" y="26168"/>
                    <a:pt x="5896" y="26167"/>
                    <a:pt x="6118" y="26163"/>
                  </a:cubicBezTo>
                  <a:cubicBezTo>
                    <a:pt x="6101" y="26163"/>
                    <a:pt x="6139" y="26163"/>
                    <a:pt x="6230" y="26159"/>
                  </a:cubicBezTo>
                  <a:cubicBezTo>
                    <a:pt x="6276" y="26158"/>
                    <a:pt x="6335" y="26156"/>
                    <a:pt x="6407" y="26154"/>
                  </a:cubicBezTo>
                  <a:cubicBezTo>
                    <a:pt x="6487" y="26150"/>
                    <a:pt x="6580" y="26147"/>
                    <a:pt x="6688" y="26141"/>
                  </a:cubicBezTo>
                  <a:cubicBezTo>
                    <a:pt x="6868" y="26129"/>
                    <a:pt x="7073" y="26114"/>
                    <a:pt x="7294" y="26080"/>
                  </a:cubicBezTo>
                  <a:cubicBezTo>
                    <a:pt x="7514" y="26046"/>
                    <a:pt x="7750" y="25990"/>
                    <a:pt x="7958" y="25869"/>
                  </a:cubicBezTo>
                  <a:cubicBezTo>
                    <a:pt x="8162" y="25756"/>
                    <a:pt x="8375" y="25563"/>
                    <a:pt x="8513" y="25317"/>
                  </a:cubicBezTo>
                  <a:cubicBezTo>
                    <a:pt x="8650" y="25074"/>
                    <a:pt x="8735" y="24782"/>
                    <a:pt x="8720" y="24416"/>
                  </a:cubicBezTo>
                  <a:cubicBezTo>
                    <a:pt x="8724" y="24248"/>
                    <a:pt x="8728" y="24079"/>
                    <a:pt x="8732" y="23904"/>
                  </a:cubicBezTo>
                  <a:cubicBezTo>
                    <a:pt x="8732" y="23808"/>
                    <a:pt x="8732" y="23711"/>
                    <a:pt x="8733" y="23612"/>
                  </a:cubicBezTo>
                  <a:cubicBezTo>
                    <a:pt x="8733" y="23413"/>
                    <a:pt x="8733" y="23202"/>
                    <a:pt x="8733" y="22986"/>
                  </a:cubicBezTo>
                  <a:cubicBezTo>
                    <a:pt x="8734" y="22548"/>
                    <a:pt x="8735" y="22074"/>
                    <a:pt x="8736" y="21563"/>
                  </a:cubicBezTo>
                  <a:cubicBezTo>
                    <a:pt x="8737" y="20545"/>
                    <a:pt x="8738" y="19384"/>
                    <a:pt x="8740" y="18107"/>
                  </a:cubicBezTo>
                  <a:cubicBezTo>
                    <a:pt x="8740" y="17948"/>
                    <a:pt x="8740" y="17788"/>
                    <a:pt x="8740" y="17624"/>
                  </a:cubicBezTo>
                  <a:cubicBezTo>
                    <a:pt x="8740" y="17543"/>
                    <a:pt x="8740" y="17460"/>
                    <a:pt x="8740" y="17378"/>
                  </a:cubicBezTo>
                  <a:cubicBezTo>
                    <a:pt x="8741" y="17270"/>
                    <a:pt x="8741" y="17270"/>
                    <a:pt x="8741" y="17270"/>
                  </a:cubicBezTo>
                  <a:cubicBezTo>
                    <a:pt x="8741" y="17243"/>
                    <a:pt x="8743" y="17214"/>
                    <a:pt x="8744" y="17187"/>
                  </a:cubicBezTo>
                  <a:cubicBezTo>
                    <a:pt x="8755" y="16964"/>
                    <a:pt x="8800" y="16740"/>
                    <a:pt x="8882" y="16522"/>
                  </a:cubicBezTo>
                  <a:cubicBezTo>
                    <a:pt x="9042" y="16087"/>
                    <a:pt x="9355" y="15680"/>
                    <a:pt x="9773" y="15408"/>
                  </a:cubicBezTo>
                  <a:cubicBezTo>
                    <a:pt x="9980" y="15273"/>
                    <a:pt x="10212" y="15170"/>
                    <a:pt x="10456" y="15112"/>
                  </a:cubicBezTo>
                  <a:cubicBezTo>
                    <a:pt x="10578" y="15083"/>
                    <a:pt x="10703" y="15063"/>
                    <a:pt x="10829" y="15056"/>
                  </a:cubicBezTo>
                  <a:cubicBezTo>
                    <a:pt x="10942" y="15051"/>
                    <a:pt x="11122" y="15054"/>
                    <a:pt x="11276" y="15063"/>
                  </a:cubicBezTo>
                  <a:cubicBezTo>
                    <a:pt x="11911" y="15107"/>
                    <a:pt x="12556" y="15283"/>
                    <a:pt x="13197" y="15584"/>
                  </a:cubicBezTo>
                  <a:cubicBezTo>
                    <a:pt x="13839" y="15886"/>
                    <a:pt x="14472" y="16307"/>
                    <a:pt x="15098" y="16805"/>
                  </a:cubicBezTo>
                  <a:cubicBezTo>
                    <a:pt x="15724" y="17299"/>
                    <a:pt x="16340" y="17869"/>
                    <a:pt x="16981" y="18468"/>
                  </a:cubicBezTo>
                  <a:cubicBezTo>
                    <a:pt x="17301" y="18769"/>
                    <a:pt x="17628" y="19075"/>
                    <a:pt x="17971" y="19385"/>
                  </a:cubicBezTo>
                  <a:cubicBezTo>
                    <a:pt x="18303" y="19681"/>
                    <a:pt x="18637" y="19978"/>
                    <a:pt x="18973" y="20280"/>
                  </a:cubicBezTo>
                  <a:cubicBezTo>
                    <a:pt x="19637" y="20878"/>
                    <a:pt x="20310" y="21500"/>
                    <a:pt x="21041" y="22112"/>
                  </a:cubicBezTo>
                  <a:cubicBezTo>
                    <a:pt x="21778" y="22725"/>
                    <a:pt x="22570" y="23339"/>
                    <a:pt x="23533" y="23824"/>
                  </a:cubicBezTo>
                  <a:cubicBezTo>
                    <a:pt x="24015" y="24064"/>
                    <a:pt x="24542" y="24264"/>
                    <a:pt x="25108" y="24382"/>
                  </a:cubicBezTo>
                  <a:cubicBezTo>
                    <a:pt x="25671" y="24499"/>
                    <a:pt x="26269" y="24528"/>
                    <a:pt x="26848" y="24457"/>
                  </a:cubicBezTo>
                  <a:cubicBezTo>
                    <a:pt x="27427" y="24387"/>
                    <a:pt x="27981" y="24221"/>
                    <a:pt x="28486" y="24005"/>
                  </a:cubicBezTo>
                  <a:cubicBezTo>
                    <a:pt x="28992" y="23787"/>
                    <a:pt x="29451" y="23520"/>
                    <a:pt x="29878" y="23237"/>
                  </a:cubicBezTo>
                  <a:cubicBezTo>
                    <a:pt x="30730" y="22663"/>
                    <a:pt x="31464" y="22025"/>
                    <a:pt x="32166" y="21397"/>
                  </a:cubicBezTo>
                  <a:cubicBezTo>
                    <a:pt x="32866" y="20766"/>
                    <a:pt x="33533" y="20139"/>
                    <a:pt x="34204" y="19542"/>
                  </a:cubicBezTo>
                  <a:cubicBezTo>
                    <a:pt x="34915" y="18906"/>
                    <a:pt x="35557" y="18267"/>
                    <a:pt x="36202" y="17676"/>
                  </a:cubicBezTo>
                  <a:cubicBezTo>
                    <a:pt x="36845" y="17086"/>
                    <a:pt x="37487" y="16544"/>
                    <a:pt x="38150" y="16096"/>
                  </a:cubicBezTo>
                  <a:cubicBezTo>
                    <a:pt x="38813" y="15649"/>
                    <a:pt x="39496" y="15305"/>
                    <a:pt x="40189" y="15114"/>
                  </a:cubicBezTo>
                  <a:cubicBezTo>
                    <a:pt x="40535" y="15018"/>
                    <a:pt x="40883" y="14959"/>
                    <a:pt x="41231" y="14937"/>
                  </a:cubicBezTo>
                  <a:cubicBezTo>
                    <a:pt x="41318" y="14932"/>
                    <a:pt x="41406" y="14928"/>
                    <a:pt x="41491" y="14928"/>
                  </a:cubicBezTo>
                  <a:cubicBezTo>
                    <a:pt x="41564" y="14928"/>
                    <a:pt x="41637" y="14930"/>
                    <a:pt x="41709" y="14937"/>
                  </a:cubicBezTo>
                  <a:cubicBezTo>
                    <a:pt x="41852" y="14950"/>
                    <a:pt x="41994" y="14975"/>
                    <a:pt x="42131" y="15015"/>
                  </a:cubicBezTo>
                  <a:cubicBezTo>
                    <a:pt x="42684" y="15172"/>
                    <a:pt x="43172" y="15548"/>
                    <a:pt x="43477" y="16024"/>
                  </a:cubicBezTo>
                  <a:cubicBezTo>
                    <a:pt x="43631" y="16262"/>
                    <a:pt x="43741" y="16524"/>
                    <a:pt x="43802" y="16791"/>
                  </a:cubicBezTo>
                  <a:cubicBezTo>
                    <a:pt x="43833" y="16924"/>
                    <a:pt x="43853" y="17061"/>
                    <a:pt x="43861" y="17196"/>
                  </a:cubicBezTo>
                  <a:cubicBezTo>
                    <a:pt x="43863" y="17234"/>
                    <a:pt x="43863" y="17258"/>
                    <a:pt x="43864" y="17297"/>
                  </a:cubicBezTo>
                  <a:cubicBezTo>
                    <a:pt x="43865" y="17438"/>
                    <a:pt x="43865" y="17438"/>
                    <a:pt x="43865" y="17438"/>
                  </a:cubicBezTo>
                  <a:cubicBezTo>
                    <a:pt x="43866" y="17532"/>
                    <a:pt x="43867" y="17626"/>
                    <a:pt x="43869" y="17719"/>
                  </a:cubicBezTo>
                  <a:cubicBezTo>
                    <a:pt x="43876" y="18468"/>
                    <a:pt x="43883" y="19192"/>
                    <a:pt x="43890" y="19897"/>
                  </a:cubicBezTo>
                  <a:cubicBezTo>
                    <a:pt x="43894" y="20247"/>
                    <a:pt x="43898" y="20593"/>
                    <a:pt x="43901" y="20934"/>
                  </a:cubicBezTo>
                  <a:cubicBezTo>
                    <a:pt x="43905" y="21104"/>
                    <a:pt x="43907" y="21271"/>
                    <a:pt x="43908" y="21437"/>
                  </a:cubicBezTo>
                  <a:cubicBezTo>
                    <a:pt x="43910" y="21574"/>
                    <a:pt x="43910" y="21574"/>
                    <a:pt x="43910" y="21574"/>
                  </a:cubicBezTo>
                  <a:cubicBezTo>
                    <a:pt x="43910" y="21630"/>
                    <a:pt x="43913" y="21686"/>
                    <a:pt x="43917" y="21744"/>
                  </a:cubicBezTo>
                  <a:cubicBezTo>
                    <a:pt x="43926" y="21855"/>
                    <a:pt x="43939" y="21967"/>
                    <a:pt x="43958" y="22075"/>
                  </a:cubicBezTo>
                  <a:cubicBezTo>
                    <a:pt x="44033" y="22514"/>
                    <a:pt x="44192" y="22912"/>
                    <a:pt x="44390" y="23260"/>
                  </a:cubicBezTo>
                  <a:cubicBezTo>
                    <a:pt x="44588" y="23608"/>
                    <a:pt x="44824" y="23907"/>
                    <a:pt x="45077" y="24167"/>
                  </a:cubicBezTo>
                  <a:cubicBezTo>
                    <a:pt x="45584" y="24686"/>
                    <a:pt x="46146" y="25056"/>
                    <a:pt x="46712" y="25326"/>
                  </a:cubicBezTo>
                  <a:cubicBezTo>
                    <a:pt x="47278" y="25595"/>
                    <a:pt x="47852" y="25763"/>
                    <a:pt x="48413" y="25839"/>
                  </a:cubicBezTo>
                  <a:cubicBezTo>
                    <a:pt x="48562" y="25858"/>
                    <a:pt x="48710" y="25871"/>
                    <a:pt x="48858" y="25878"/>
                  </a:cubicBezTo>
                  <a:cubicBezTo>
                    <a:pt x="48933" y="25880"/>
                    <a:pt x="49007" y="25882"/>
                    <a:pt x="49081" y="25882"/>
                  </a:cubicBezTo>
                  <a:cubicBezTo>
                    <a:pt x="49145" y="25880"/>
                    <a:pt x="49208" y="25880"/>
                    <a:pt x="49272" y="25878"/>
                  </a:cubicBezTo>
                  <a:cubicBezTo>
                    <a:pt x="49518" y="25873"/>
                    <a:pt x="49758" y="25864"/>
                    <a:pt x="49996" y="25851"/>
                  </a:cubicBezTo>
                  <a:cubicBezTo>
                    <a:pt x="50116" y="25846"/>
                    <a:pt x="50234" y="25837"/>
                    <a:pt x="50353" y="25828"/>
                  </a:cubicBezTo>
                  <a:cubicBezTo>
                    <a:pt x="50540" y="25815"/>
                    <a:pt x="50733" y="25797"/>
                    <a:pt x="50914" y="25770"/>
                  </a:cubicBezTo>
                  <a:cubicBezTo>
                    <a:pt x="51096" y="25741"/>
                    <a:pt x="51270" y="25700"/>
                    <a:pt x="51422" y="25631"/>
                  </a:cubicBezTo>
                  <a:cubicBezTo>
                    <a:pt x="51498" y="25597"/>
                    <a:pt x="51568" y="25557"/>
                    <a:pt x="51635" y="25510"/>
                  </a:cubicBezTo>
                  <a:cubicBezTo>
                    <a:pt x="51702" y="25460"/>
                    <a:pt x="51764" y="25402"/>
                    <a:pt x="51819" y="25339"/>
                  </a:cubicBezTo>
                  <a:cubicBezTo>
                    <a:pt x="51929" y="25209"/>
                    <a:pt x="52001" y="25060"/>
                    <a:pt x="52046" y="24904"/>
                  </a:cubicBezTo>
                  <a:cubicBezTo>
                    <a:pt x="52067" y="24827"/>
                    <a:pt x="52084" y="24746"/>
                    <a:pt x="52094" y="24663"/>
                  </a:cubicBezTo>
                  <a:cubicBezTo>
                    <a:pt x="52107" y="24580"/>
                    <a:pt x="52102" y="24488"/>
                    <a:pt x="52103" y="24401"/>
                  </a:cubicBezTo>
                  <a:cubicBezTo>
                    <a:pt x="52105" y="24234"/>
                    <a:pt x="52117" y="4327"/>
                    <a:pt x="52107" y="4115"/>
                  </a:cubicBezTo>
                  <a:close/>
                  <a:moveTo>
                    <a:pt x="50669" y="23321"/>
                  </a:moveTo>
                  <a:cubicBezTo>
                    <a:pt x="50668" y="23480"/>
                    <a:pt x="50666" y="23637"/>
                    <a:pt x="50665" y="23797"/>
                  </a:cubicBezTo>
                  <a:cubicBezTo>
                    <a:pt x="50663" y="23970"/>
                    <a:pt x="50663" y="23970"/>
                    <a:pt x="50663" y="23970"/>
                  </a:cubicBezTo>
                  <a:cubicBezTo>
                    <a:pt x="50661" y="24059"/>
                    <a:pt x="50661" y="24059"/>
                    <a:pt x="50661" y="24059"/>
                  </a:cubicBezTo>
                  <a:cubicBezTo>
                    <a:pt x="50659" y="24118"/>
                    <a:pt x="50661" y="24180"/>
                    <a:pt x="50634" y="24234"/>
                  </a:cubicBezTo>
                  <a:cubicBezTo>
                    <a:pt x="50620" y="24259"/>
                    <a:pt x="50598" y="24281"/>
                    <a:pt x="50571" y="24293"/>
                  </a:cubicBezTo>
                  <a:cubicBezTo>
                    <a:pt x="50544" y="24306"/>
                    <a:pt x="50513" y="24311"/>
                    <a:pt x="50484" y="24315"/>
                  </a:cubicBezTo>
                  <a:cubicBezTo>
                    <a:pt x="50425" y="24324"/>
                    <a:pt x="50365" y="24327"/>
                    <a:pt x="50306" y="24329"/>
                  </a:cubicBezTo>
                  <a:cubicBezTo>
                    <a:pt x="50132" y="24338"/>
                    <a:pt x="50132" y="24338"/>
                    <a:pt x="50132" y="24338"/>
                  </a:cubicBezTo>
                  <a:cubicBezTo>
                    <a:pt x="49896" y="24346"/>
                    <a:pt x="49896" y="24346"/>
                    <a:pt x="49896" y="24346"/>
                  </a:cubicBezTo>
                  <a:cubicBezTo>
                    <a:pt x="49737" y="24349"/>
                    <a:pt x="49577" y="24351"/>
                    <a:pt x="49415" y="24351"/>
                  </a:cubicBezTo>
                  <a:cubicBezTo>
                    <a:pt x="49173" y="24351"/>
                    <a:pt x="49173" y="24351"/>
                    <a:pt x="49173" y="24351"/>
                  </a:cubicBezTo>
                  <a:cubicBezTo>
                    <a:pt x="49062" y="24349"/>
                    <a:pt x="49062" y="24349"/>
                    <a:pt x="49062" y="24349"/>
                  </a:cubicBezTo>
                  <a:cubicBezTo>
                    <a:pt x="49029" y="24349"/>
                    <a:pt x="48995" y="24346"/>
                    <a:pt x="48961" y="24344"/>
                  </a:cubicBezTo>
                  <a:cubicBezTo>
                    <a:pt x="48419" y="24311"/>
                    <a:pt x="47848" y="24138"/>
                    <a:pt x="47329" y="23862"/>
                  </a:cubicBezTo>
                  <a:cubicBezTo>
                    <a:pt x="46810" y="23588"/>
                    <a:pt x="46335" y="23206"/>
                    <a:pt x="46009" y="22755"/>
                  </a:cubicBezTo>
                  <a:cubicBezTo>
                    <a:pt x="45845" y="22532"/>
                    <a:pt x="45721" y="22290"/>
                    <a:pt x="45648" y="22048"/>
                  </a:cubicBezTo>
                  <a:cubicBezTo>
                    <a:pt x="45613" y="21926"/>
                    <a:pt x="45591" y="21803"/>
                    <a:pt x="45582" y="21681"/>
                  </a:cubicBezTo>
                  <a:cubicBezTo>
                    <a:pt x="45578" y="21650"/>
                    <a:pt x="45578" y="21619"/>
                    <a:pt x="45576" y="21589"/>
                  </a:cubicBezTo>
                  <a:cubicBezTo>
                    <a:pt x="45576" y="21480"/>
                    <a:pt x="45576" y="21480"/>
                    <a:pt x="45576" y="21480"/>
                  </a:cubicBezTo>
                  <a:cubicBezTo>
                    <a:pt x="45578" y="21214"/>
                    <a:pt x="45578" y="21214"/>
                    <a:pt x="45578" y="21214"/>
                  </a:cubicBezTo>
                  <a:cubicBezTo>
                    <a:pt x="45582" y="20498"/>
                    <a:pt x="45587" y="19773"/>
                    <a:pt x="45593" y="19043"/>
                  </a:cubicBezTo>
                  <a:cubicBezTo>
                    <a:pt x="45594" y="18678"/>
                    <a:pt x="45597" y="18311"/>
                    <a:pt x="45600" y="17941"/>
                  </a:cubicBezTo>
                  <a:cubicBezTo>
                    <a:pt x="45601" y="17757"/>
                    <a:pt x="45602" y="17571"/>
                    <a:pt x="45603" y="17386"/>
                  </a:cubicBezTo>
                  <a:cubicBezTo>
                    <a:pt x="45603" y="17236"/>
                    <a:pt x="45603" y="17236"/>
                    <a:pt x="45603" y="17236"/>
                  </a:cubicBezTo>
                  <a:cubicBezTo>
                    <a:pt x="45603" y="17177"/>
                    <a:pt x="45600" y="17119"/>
                    <a:pt x="45598" y="17061"/>
                  </a:cubicBezTo>
                  <a:cubicBezTo>
                    <a:pt x="45592" y="16946"/>
                    <a:pt x="45580" y="16832"/>
                    <a:pt x="45565" y="16719"/>
                  </a:cubicBezTo>
                  <a:cubicBezTo>
                    <a:pt x="45441" y="15801"/>
                    <a:pt x="44998" y="14926"/>
                    <a:pt x="44320" y="14275"/>
                  </a:cubicBezTo>
                  <a:cubicBezTo>
                    <a:pt x="44006" y="13971"/>
                    <a:pt x="43627" y="13700"/>
                    <a:pt x="43192" y="13496"/>
                  </a:cubicBezTo>
                  <a:cubicBezTo>
                    <a:pt x="42756" y="13293"/>
                    <a:pt x="42264" y="13156"/>
                    <a:pt x="41746" y="13121"/>
                  </a:cubicBezTo>
                  <a:cubicBezTo>
                    <a:pt x="41476" y="13105"/>
                    <a:pt x="41250" y="13112"/>
                    <a:pt x="41005" y="13127"/>
                  </a:cubicBezTo>
                  <a:cubicBezTo>
                    <a:pt x="40762" y="13143"/>
                    <a:pt x="40518" y="13172"/>
                    <a:pt x="40273" y="13217"/>
                  </a:cubicBezTo>
                  <a:cubicBezTo>
                    <a:pt x="39783" y="13302"/>
                    <a:pt x="39294" y="13446"/>
                    <a:pt x="38820" y="13635"/>
                  </a:cubicBezTo>
                  <a:cubicBezTo>
                    <a:pt x="37870" y="14016"/>
                    <a:pt x="36994" y="14578"/>
                    <a:pt x="36186" y="15204"/>
                  </a:cubicBezTo>
                  <a:cubicBezTo>
                    <a:pt x="35377" y="15833"/>
                    <a:pt x="34631" y="16529"/>
                    <a:pt x="33901" y="17207"/>
                  </a:cubicBezTo>
                  <a:cubicBezTo>
                    <a:pt x="33719" y="17373"/>
                    <a:pt x="33537" y="17541"/>
                    <a:pt x="33355" y="17708"/>
                  </a:cubicBezTo>
                  <a:cubicBezTo>
                    <a:pt x="33083" y="17952"/>
                    <a:pt x="33083" y="17952"/>
                    <a:pt x="33083" y="17952"/>
                  </a:cubicBezTo>
                  <a:cubicBezTo>
                    <a:pt x="32806" y="18195"/>
                    <a:pt x="32806" y="18195"/>
                    <a:pt x="32806" y="18195"/>
                  </a:cubicBezTo>
                  <a:cubicBezTo>
                    <a:pt x="32425" y="18531"/>
                    <a:pt x="32051" y="18868"/>
                    <a:pt x="31681" y="19200"/>
                  </a:cubicBezTo>
                  <a:cubicBezTo>
                    <a:pt x="30943" y="19861"/>
                    <a:pt x="30223" y="20509"/>
                    <a:pt x="29505" y="21060"/>
                  </a:cubicBezTo>
                  <a:cubicBezTo>
                    <a:pt x="28788" y="21610"/>
                    <a:pt x="28065" y="22057"/>
                    <a:pt x="27369" y="22286"/>
                  </a:cubicBezTo>
                  <a:cubicBezTo>
                    <a:pt x="26674" y="22519"/>
                    <a:pt x="26011" y="22524"/>
                    <a:pt x="25398" y="22368"/>
                  </a:cubicBezTo>
                  <a:cubicBezTo>
                    <a:pt x="24487" y="22137"/>
                    <a:pt x="23581" y="21531"/>
                    <a:pt x="22709" y="20821"/>
                  </a:cubicBezTo>
                  <a:cubicBezTo>
                    <a:pt x="21834" y="20107"/>
                    <a:pt x="20977" y="19286"/>
                    <a:pt x="20080" y="18475"/>
                  </a:cubicBezTo>
                  <a:cubicBezTo>
                    <a:pt x="19858" y="18275"/>
                    <a:pt x="19635" y="18073"/>
                    <a:pt x="19412" y="17873"/>
                  </a:cubicBezTo>
                  <a:cubicBezTo>
                    <a:pt x="19197" y="17678"/>
                    <a:pt x="18983" y="17476"/>
                    <a:pt x="18766" y="17272"/>
                  </a:cubicBezTo>
                  <a:cubicBezTo>
                    <a:pt x="18332" y="16861"/>
                    <a:pt x="17891" y="16439"/>
                    <a:pt x="17428" y="16023"/>
                  </a:cubicBezTo>
                  <a:cubicBezTo>
                    <a:pt x="16965" y="15604"/>
                    <a:pt x="16481" y="15191"/>
                    <a:pt x="15959" y="14804"/>
                  </a:cubicBezTo>
                  <a:cubicBezTo>
                    <a:pt x="15438" y="14416"/>
                    <a:pt x="14878" y="14052"/>
                    <a:pt x="14267" y="13745"/>
                  </a:cubicBezTo>
                  <a:cubicBezTo>
                    <a:pt x="13657" y="13441"/>
                    <a:pt x="12993" y="13195"/>
                    <a:pt x="12295" y="13055"/>
                  </a:cubicBezTo>
                  <a:cubicBezTo>
                    <a:pt x="11946" y="12984"/>
                    <a:pt x="11589" y="12941"/>
                    <a:pt x="11231" y="12925"/>
                  </a:cubicBezTo>
                  <a:cubicBezTo>
                    <a:pt x="11142" y="12921"/>
                    <a:pt x="11052" y="12919"/>
                    <a:pt x="10963" y="12919"/>
                  </a:cubicBezTo>
                  <a:cubicBezTo>
                    <a:pt x="10865" y="12919"/>
                    <a:pt x="10763" y="12921"/>
                    <a:pt x="10663" y="12928"/>
                  </a:cubicBezTo>
                  <a:cubicBezTo>
                    <a:pt x="10462" y="12941"/>
                    <a:pt x="10262" y="12968"/>
                    <a:pt x="10065" y="13010"/>
                  </a:cubicBezTo>
                  <a:cubicBezTo>
                    <a:pt x="9275" y="13174"/>
                    <a:pt x="8542" y="13569"/>
                    <a:pt x="7966" y="14119"/>
                  </a:cubicBezTo>
                  <a:cubicBezTo>
                    <a:pt x="7387" y="14667"/>
                    <a:pt x="6959" y="15375"/>
                    <a:pt x="6746" y="16152"/>
                  </a:cubicBezTo>
                  <a:cubicBezTo>
                    <a:pt x="6692" y="16345"/>
                    <a:pt x="6652" y="16544"/>
                    <a:pt x="6626" y="16744"/>
                  </a:cubicBezTo>
                  <a:cubicBezTo>
                    <a:pt x="6614" y="16843"/>
                    <a:pt x="6603" y="16942"/>
                    <a:pt x="6597" y="17043"/>
                  </a:cubicBezTo>
                  <a:cubicBezTo>
                    <a:pt x="6593" y="17094"/>
                    <a:pt x="6593" y="17144"/>
                    <a:pt x="6591" y="17195"/>
                  </a:cubicBezTo>
                  <a:cubicBezTo>
                    <a:pt x="6589" y="17335"/>
                    <a:pt x="6589" y="17335"/>
                    <a:pt x="6589" y="17335"/>
                  </a:cubicBezTo>
                  <a:cubicBezTo>
                    <a:pt x="6586" y="18257"/>
                    <a:pt x="6586" y="18257"/>
                    <a:pt x="6586" y="18257"/>
                  </a:cubicBezTo>
                  <a:cubicBezTo>
                    <a:pt x="6584" y="18871"/>
                    <a:pt x="6582" y="19486"/>
                    <a:pt x="6579" y="20101"/>
                  </a:cubicBezTo>
                  <a:cubicBezTo>
                    <a:pt x="6576" y="21331"/>
                    <a:pt x="6572" y="22562"/>
                    <a:pt x="6569" y="23796"/>
                  </a:cubicBezTo>
                  <a:cubicBezTo>
                    <a:pt x="6568" y="23909"/>
                    <a:pt x="6568" y="23909"/>
                    <a:pt x="6568" y="23909"/>
                  </a:cubicBezTo>
                  <a:cubicBezTo>
                    <a:pt x="6568" y="23938"/>
                    <a:pt x="6568" y="23938"/>
                    <a:pt x="6568" y="23938"/>
                  </a:cubicBezTo>
                  <a:cubicBezTo>
                    <a:pt x="6568" y="23940"/>
                    <a:pt x="6568" y="23940"/>
                    <a:pt x="6568" y="23940"/>
                  </a:cubicBezTo>
                  <a:cubicBezTo>
                    <a:pt x="6567" y="23951"/>
                    <a:pt x="6567" y="23951"/>
                    <a:pt x="6567" y="23951"/>
                  </a:cubicBezTo>
                  <a:cubicBezTo>
                    <a:pt x="6567" y="23956"/>
                    <a:pt x="6567" y="23963"/>
                    <a:pt x="6564" y="23970"/>
                  </a:cubicBezTo>
                  <a:cubicBezTo>
                    <a:pt x="6557" y="23983"/>
                    <a:pt x="6540" y="23980"/>
                    <a:pt x="6529" y="23981"/>
                  </a:cubicBezTo>
                  <a:cubicBezTo>
                    <a:pt x="6524" y="23981"/>
                    <a:pt x="6524" y="23981"/>
                    <a:pt x="6524" y="23981"/>
                  </a:cubicBezTo>
                  <a:cubicBezTo>
                    <a:pt x="6518" y="23981"/>
                    <a:pt x="6536" y="23980"/>
                    <a:pt x="6487" y="23983"/>
                  </a:cubicBezTo>
                  <a:cubicBezTo>
                    <a:pt x="6275" y="23992"/>
                    <a:pt x="6275" y="23992"/>
                    <a:pt x="6275" y="23992"/>
                  </a:cubicBezTo>
                  <a:cubicBezTo>
                    <a:pt x="6131" y="23996"/>
                    <a:pt x="5985" y="23999"/>
                    <a:pt x="5838" y="23999"/>
                  </a:cubicBezTo>
                  <a:cubicBezTo>
                    <a:pt x="5390" y="24001"/>
                    <a:pt x="5390" y="24001"/>
                    <a:pt x="5390" y="24001"/>
                  </a:cubicBezTo>
                  <a:cubicBezTo>
                    <a:pt x="5282" y="23999"/>
                    <a:pt x="5282" y="23999"/>
                    <a:pt x="5282" y="23999"/>
                  </a:cubicBezTo>
                  <a:cubicBezTo>
                    <a:pt x="5255" y="23999"/>
                    <a:pt x="5228" y="23999"/>
                    <a:pt x="5200" y="23998"/>
                  </a:cubicBezTo>
                  <a:cubicBezTo>
                    <a:pt x="5145" y="23996"/>
                    <a:pt x="5089" y="23990"/>
                    <a:pt x="5033" y="23985"/>
                  </a:cubicBezTo>
                  <a:cubicBezTo>
                    <a:pt x="4130" y="23895"/>
                    <a:pt x="3150" y="23366"/>
                    <a:pt x="2606" y="22670"/>
                  </a:cubicBezTo>
                  <a:cubicBezTo>
                    <a:pt x="2332" y="22323"/>
                    <a:pt x="2181" y="21951"/>
                    <a:pt x="2167" y="21605"/>
                  </a:cubicBezTo>
                  <a:cubicBezTo>
                    <a:pt x="2167" y="21008"/>
                    <a:pt x="2167" y="20413"/>
                    <a:pt x="2168" y="19818"/>
                  </a:cubicBezTo>
                  <a:cubicBezTo>
                    <a:pt x="2170" y="18592"/>
                    <a:pt x="2172" y="17368"/>
                    <a:pt x="2175" y="16149"/>
                  </a:cubicBezTo>
                  <a:cubicBezTo>
                    <a:pt x="2179" y="11420"/>
                    <a:pt x="2188" y="2224"/>
                    <a:pt x="2188" y="2163"/>
                  </a:cubicBezTo>
                  <a:cubicBezTo>
                    <a:pt x="2188" y="2102"/>
                    <a:pt x="2227" y="2106"/>
                    <a:pt x="2247" y="2106"/>
                  </a:cubicBezTo>
                  <a:cubicBezTo>
                    <a:pt x="2268" y="2106"/>
                    <a:pt x="4395" y="2105"/>
                    <a:pt x="5458" y="2105"/>
                  </a:cubicBezTo>
                  <a:cubicBezTo>
                    <a:pt x="5646" y="2106"/>
                    <a:pt x="5838" y="2106"/>
                    <a:pt x="6032" y="2106"/>
                  </a:cubicBezTo>
                  <a:cubicBezTo>
                    <a:pt x="6244" y="2106"/>
                    <a:pt x="6377" y="2107"/>
                    <a:pt x="6551" y="2122"/>
                  </a:cubicBezTo>
                  <a:cubicBezTo>
                    <a:pt x="6882" y="2148"/>
                    <a:pt x="7220" y="2206"/>
                    <a:pt x="7556" y="2300"/>
                  </a:cubicBezTo>
                  <a:cubicBezTo>
                    <a:pt x="8228" y="2488"/>
                    <a:pt x="8896" y="2825"/>
                    <a:pt x="9478" y="3304"/>
                  </a:cubicBezTo>
                  <a:cubicBezTo>
                    <a:pt x="9551" y="3363"/>
                    <a:pt x="9623" y="3426"/>
                    <a:pt x="9691" y="3488"/>
                  </a:cubicBezTo>
                  <a:cubicBezTo>
                    <a:pt x="9772" y="3564"/>
                    <a:pt x="9854" y="3640"/>
                    <a:pt x="9935" y="3717"/>
                  </a:cubicBezTo>
                  <a:cubicBezTo>
                    <a:pt x="10104" y="3873"/>
                    <a:pt x="10273" y="4033"/>
                    <a:pt x="10443" y="4193"/>
                  </a:cubicBezTo>
                  <a:cubicBezTo>
                    <a:pt x="10784" y="4511"/>
                    <a:pt x="11128" y="4832"/>
                    <a:pt x="11473" y="5155"/>
                  </a:cubicBezTo>
                  <a:cubicBezTo>
                    <a:pt x="12165" y="5801"/>
                    <a:pt x="12864" y="6453"/>
                    <a:pt x="13560" y="7102"/>
                  </a:cubicBezTo>
                  <a:cubicBezTo>
                    <a:pt x="13908" y="7426"/>
                    <a:pt x="14255" y="7750"/>
                    <a:pt x="14600" y="8071"/>
                  </a:cubicBezTo>
                  <a:cubicBezTo>
                    <a:pt x="14772" y="8231"/>
                    <a:pt x="14944" y="8391"/>
                    <a:pt x="15116" y="8551"/>
                  </a:cubicBezTo>
                  <a:cubicBezTo>
                    <a:pt x="15244" y="8670"/>
                    <a:pt x="15244" y="8670"/>
                    <a:pt x="15244" y="8670"/>
                  </a:cubicBezTo>
                  <a:cubicBezTo>
                    <a:pt x="15301" y="8723"/>
                    <a:pt x="15301" y="8723"/>
                    <a:pt x="15301" y="8723"/>
                  </a:cubicBezTo>
                  <a:cubicBezTo>
                    <a:pt x="15318" y="8739"/>
                    <a:pt x="15318" y="8739"/>
                    <a:pt x="15318" y="8739"/>
                  </a:cubicBezTo>
                  <a:cubicBezTo>
                    <a:pt x="15351" y="8772"/>
                    <a:pt x="15351" y="8772"/>
                    <a:pt x="15351" y="8772"/>
                  </a:cubicBezTo>
                  <a:cubicBezTo>
                    <a:pt x="15442" y="8861"/>
                    <a:pt x="15532" y="8946"/>
                    <a:pt x="15624" y="9032"/>
                  </a:cubicBezTo>
                  <a:cubicBezTo>
                    <a:pt x="16357" y="9713"/>
                    <a:pt x="17145" y="10301"/>
                    <a:pt x="17946" y="10792"/>
                  </a:cubicBezTo>
                  <a:cubicBezTo>
                    <a:pt x="19552" y="11776"/>
                    <a:pt x="21206" y="12352"/>
                    <a:pt x="22616" y="12654"/>
                  </a:cubicBezTo>
                  <a:cubicBezTo>
                    <a:pt x="22620" y="12654"/>
                    <a:pt x="22660" y="12663"/>
                    <a:pt x="22735" y="12680"/>
                  </a:cubicBezTo>
                  <a:cubicBezTo>
                    <a:pt x="22809" y="12694"/>
                    <a:pt x="22916" y="12718"/>
                    <a:pt x="23055" y="12743"/>
                  </a:cubicBezTo>
                  <a:cubicBezTo>
                    <a:pt x="23331" y="12795"/>
                    <a:pt x="23730" y="12862"/>
                    <a:pt x="24225" y="12916"/>
                  </a:cubicBezTo>
                  <a:cubicBezTo>
                    <a:pt x="25215" y="13026"/>
                    <a:pt x="26592" y="13075"/>
                    <a:pt x="28112" y="12878"/>
                  </a:cubicBezTo>
                  <a:cubicBezTo>
                    <a:pt x="28869" y="12781"/>
                    <a:pt x="29661" y="12622"/>
                    <a:pt x="30447" y="12395"/>
                  </a:cubicBezTo>
                  <a:cubicBezTo>
                    <a:pt x="31233" y="12169"/>
                    <a:pt x="32011" y="11874"/>
                    <a:pt x="32746" y="11522"/>
                  </a:cubicBezTo>
                  <a:cubicBezTo>
                    <a:pt x="33479" y="11172"/>
                    <a:pt x="34170" y="10765"/>
                    <a:pt x="34787" y="10330"/>
                  </a:cubicBezTo>
                  <a:cubicBezTo>
                    <a:pt x="35405" y="9898"/>
                    <a:pt x="35952" y="9439"/>
                    <a:pt x="36413" y="8996"/>
                  </a:cubicBezTo>
                  <a:cubicBezTo>
                    <a:pt x="37120" y="8298"/>
                    <a:pt x="37819" y="7609"/>
                    <a:pt x="38498" y="6938"/>
                  </a:cubicBezTo>
                  <a:cubicBezTo>
                    <a:pt x="39184" y="6265"/>
                    <a:pt x="39853" y="5610"/>
                    <a:pt x="40493" y="4982"/>
                  </a:cubicBezTo>
                  <a:cubicBezTo>
                    <a:pt x="41761" y="3748"/>
                    <a:pt x="43790" y="1776"/>
                    <a:pt x="43890" y="1677"/>
                  </a:cubicBezTo>
                  <a:cubicBezTo>
                    <a:pt x="43989" y="1579"/>
                    <a:pt x="44113" y="1557"/>
                    <a:pt x="44185" y="1556"/>
                  </a:cubicBezTo>
                  <a:cubicBezTo>
                    <a:pt x="44258" y="1555"/>
                    <a:pt x="47396" y="1513"/>
                    <a:pt x="47465" y="1512"/>
                  </a:cubicBezTo>
                  <a:cubicBezTo>
                    <a:pt x="48234" y="1495"/>
                    <a:pt x="48888" y="1761"/>
                    <a:pt x="49367" y="2115"/>
                  </a:cubicBezTo>
                  <a:cubicBezTo>
                    <a:pt x="49846" y="2471"/>
                    <a:pt x="50150" y="2903"/>
                    <a:pt x="50331" y="3278"/>
                  </a:cubicBezTo>
                  <a:cubicBezTo>
                    <a:pt x="50515" y="3656"/>
                    <a:pt x="50584" y="3979"/>
                    <a:pt x="50623" y="4197"/>
                  </a:cubicBezTo>
                  <a:cubicBezTo>
                    <a:pt x="50660" y="4416"/>
                    <a:pt x="50654" y="4668"/>
                    <a:pt x="50640" y="4917"/>
                  </a:cubicBezTo>
                  <a:cubicBezTo>
                    <a:pt x="50624" y="5164"/>
                    <a:pt x="50715" y="18267"/>
                    <a:pt x="50669" y="2332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36">
              <a:extLst>
                <a:ext uri="{FF2B5EF4-FFF2-40B4-BE49-F238E27FC236}">
                  <a16:creationId xmlns:a16="http://schemas.microsoft.com/office/drawing/2014/main" id="{FF386D43-622D-4FEE-8BE8-3B78DDBE72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2346 w 51688"/>
                <a:gd name="T43" fmla="*/ 1839 h 25918"/>
                <a:gd name="T44" fmla="*/ 6307 w 51688"/>
                <a:gd name="T45" fmla="*/ 1843 h 25918"/>
                <a:gd name="T46" fmla="*/ 9640 w 51688"/>
                <a:gd name="T47" fmla="*/ 3220 h 25918"/>
                <a:gd name="T48" fmla="*/ 15297 w 51688"/>
                <a:gd name="T49" fmla="*/ 8489 h 25918"/>
                <a:gd name="T50" fmla="*/ 15909 w 51688"/>
                <a:gd name="T51" fmla="*/ 9055 h 25918"/>
                <a:gd name="T52" fmla="*/ 24130 w 51688"/>
                <a:gd name="T53" fmla="*/ 12613 h 25918"/>
                <a:gd name="T54" fmla="*/ 35966 w 51688"/>
                <a:gd name="T55" fmla="*/ 8944 h 25918"/>
                <a:gd name="T56" fmla="*/ 43246 w 51688"/>
                <a:gd name="T57" fmla="*/ 1655 h 25918"/>
                <a:gd name="T58" fmla="*/ 43511 w 51688"/>
                <a:gd name="T59" fmla="*/ 1366 h 25918"/>
                <a:gd name="T60" fmla="*/ 44343 w 51688"/>
                <a:gd name="T61" fmla="*/ 896 h 25918"/>
                <a:gd name="T62" fmla="*/ 43670 w 51688"/>
                <a:gd name="T63" fmla="*/ 727 h 25918"/>
                <a:gd name="T64" fmla="*/ 41873 w 51688"/>
                <a:gd name="T65" fmla="*/ 2007 h 25918"/>
                <a:gd name="T66" fmla="*/ 34512 w 51688"/>
                <a:gd name="T67" fmla="*/ 8591 h 25918"/>
                <a:gd name="T68" fmla="*/ 18064 w 51688"/>
                <a:gd name="T69" fmla="*/ 8699 h 25918"/>
                <a:gd name="T70" fmla="*/ 16455 w 51688"/>
                <a:gd name="T71" fmla="*/ 7314 h 25918"/>
                <a:gd name="T72" fmla="*/ 11277 w 51688"/>
                <a:gd name="T73" fmla="*/ 2358 h 25918"/>
                <a:gd name="T74" fmla="*/ 9968 w 51688"/>
                <a:gd name="T75" fmla="*/ 1251 h 25918"/>
                <a:gd name="T76" fmla="*/ 6274 w 51688"/>
                <a:gd name="T77" fmla="*/ 41 h 25918"/>
                <a:gd name="T78" fmla="*/ 1317 w 51688"/>
                <a:gd name="T79" fmla="*/ 0 h 25918"/>
                <a:gd name="T80" fmla="*/ 93 w 51688"/>
                <a:gd name="T81" fmla="*/ 1809 h 25918"/>
                <a:gd name="T82" fmla="*/ 4 w 51688"/>
                <a:gd name="T83" fmla="*/ 20044 h 25918"/>
                <a:gd name="T84" fmla="*/ 1 w 51688"/>
                <a:gd name="T85" fmla="*/ 21517 h 25918"/>
                <a:gd name="T86" fmla="*/ 2071 w 51688"/>
                <a:gd name="T87" fmla="*/ 24909 h 25918"/>
                <a:gd name="T88" fmla="*/ 5413 w 51688"/>
                <a:gd name="T89" fmla="*/ 25918 h 25918"/>
                <a:gd name="T90" fmla="*/ 6643 w 51688"/>
                <a:gd name="T91" fmla="*/ 25888 h 25918"/>
                <a:gd name="T92" fmla="*/ 8425 w 51688"/>
                <a:gd name="T93" fmla="*/ 24824 h 25918"/>
                <a:gd name="T94" fmla="*/ 8503 w 51688"/>
                <a:gd name="T95" fmla="*/ 22556 h 25918"/>
                <a:gd name="T96" fmla="*/ 8881 w 51688"/>
                <a:gd name="T97" fmla="*/ 15895 h 25918"/>
                <a:gd name="T98" fmla="*/ 11106 w 51688"/>
                <a:gd name="T99" fmla="*/ 14804 h 25918"/>
                <a:gd name="T100" fmla="*/ 17572 w 51688"/>
                <a:gd name="T101" fmla="*/ 18816 h 25918"/>
                <a:gd name="T102" fmla="*/ 23192 w 51688"/>
                <a:gd name="T103" fmla="*/ 23423 h 25918"/>
                <a:gd name="T104" fmla="*/ 28379 w 51688"/>
                <a:gd name="T105" fmla="*/ 23720 h 25918"/>
                <a:gd name="T106" fmla="*/ 34070 w 51688"/>
                <a:gd name="T107" fmla="*/ 19236 h 25918"/>
                <a:gd name="T108" fmla="*/ 39540 w 51688"/>
                <a:gd name="T109" fmla="*/ 14993 h 25918"/>
                <a:gd name="T110" fmla="*/ 42326 w 51688"/>
                <a:gd name="T111" fmla="*/ 14813 h 25918"/>
                <a:gd name="T112" fmla="*/ 43945 w 51688"/>
                <a:gd name="T113" fmla="*/ 17822 h 25918"/>
                <a:gd name="T114" fmla="*/ 44003 w 51688"/>
                <a:gd name="T115" fmla="*/ 21414 h 25918"/>
                <a:gd name="T116" fmla="*/ 46894 w 51688"/>
                <a:gd name="T117" fmla="*/ 25058 h 25918"/>
                <a:gd name="T118" fmla="*/ 50155 w 51688"/>
                <a:gd name="T119" fmla="*/ 25408 h 25918"/>
                <a:gd name="T120" fmla="*/ 51516 w 51688"/>
                <a:gd name="T121" fmla="*/ 2493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931"/>
                    <a:pt x="1951" y="1894"/>
                    <a:pt x="1977" y="1870"/>
                  </a:cubicBezTo>
                  <a:cubicBezTo>
                    <a:pt x="1998" y="1850"/>
                    <a:pt x="2031" y="1839"/>
                    <a:pt x="2079" y="1839"/>
                  </a:cubicBezTo>
                  <a:cubicBezTo>
                    <a:pt x="2106" y="1839"/>
                    <a:pt x="2204" y="1839"/>
                    <a:pt x="2346" y="1839"/>
                  </a:cubicBezTo>
                  <a:cubicBezTo>
                    <a:pt x="2783" y="1839"/>
                    <a:pt x="364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578" y="1286"/>
                    <a:pt x="43599" y="1259"/>
                  </a:cubicBezTo>
                  <a:cubicBezTo>
                    <a:pt x="43675" y="1223"/>
                    <a:pt x="43738" y="1193"/>
                    <a:pt x="43792" y="1166"/>
                  </a:cubicBezTo>
                  <a:cubicBezTo>
                    <a:pt x="43855" y="1133"/>
                    <a:pt x="43909" y="1105"/>
                    <a:pt x="43958" y="1079"/>
                  </a:cubicBezTo>
                  <a:cubicBezTo>
                    <a:pt x="43981" y="1066"/>
                    <a:pt x="44282" y="928"/>
                    <a:pt x="44343" y="896"/>
                  </a:cubicBezTo>
                  <a:cubicBezTo>
                    <a:pt x="44493" y="812"/>
                    <a:pt x="44494" y="738"/>
                    <a:pt x="43958" y="663"/>
                  </a:cubicBezTo>
                  <a:cubicBezTo>
                    <a:pt x="43955" y="662"/>
                    <a:pt x="43955" y="662"/>
                    <a:pt x="43955" y="662"/>
                  </a:cubicBezTo>
                  <a:cubicBezTo>
                    <a:pt x="43884" y="677"/>
                    <a:pt x="43884" y="677"/>
                    <a:pt x="43884" y="677"/>
                  </a:cubicBezTo>
                  <a:cubicBezTo>
                    <a:pt x="43824" y="689"/>
                    <a:pt x="43754" y="706"/>
                    <a:pt x="43670" y="727"/>
                  </a:cubicBezTo>
                  <a:cubicBezTo>
                    <a:pt x="43621" y="740"/>
                    <a:pt x="43570" y="755"/>
                    <a:pt x="43518" y="768"/>
                  </a:cubicBezTo>
                  <a:cubicBezTo>
                    <a:pt x="43456" y="785"/>
                    <a:pt x="43392" y="804"/>
                    <a:pt x="43327" y="822"/>
                  </a:cubicBezTo>
                  <a:cubicBezTo>
                    <a:pt x="43141" y="971"/>
                    <a:pt x="42934" y="1137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261" y="0"/>
                    <a:pt x="1219" y="11"/>
                    <a:pt x="1167" y="15"/>
                  </a:cubicBezTo>
                  <a:cubicBezTo>
                    <a:pt x="1140" y="17"/>
                    <a:pt x="1114" y="19"/>
                    <a:pt x="1086" y="23"/>
                  </a:cubicBezTo>
                  <a:cubicBezTo>
                    <a:pt x="155" y="136"/>
                    <a:pt x="96" y="899"/>
                    <a:pt x="96" y="1210"/>
                  </a:cubicBezTo>
                  <a:cubicBezTo>
                    <a:pt x="96" y="1401"/>
                    <a:pt x="94" y="1611"/>
                    <a:pt x="93" y="1809"/>
                  </a:cubicBezTo>
                  <a:cubicBezTo>
                    <a:pt x="89" y="2555"/>
                    <a:pt x="80" y="3778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37">
              <a:extLst>
                <a:ext uri="{FF2B5EF4-FFF2-40B4-BE49-F238E27FC236}">
                  <a16:creationId xmlns:a16="http://schemas.microsoft.com/office/drawing/2014/main" id="{12E47CC7-FA18-46B6-9085-A971BB68E2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726 w 20899"/>
                <a:gd name="T1" fmla="*/ 18165 h 24816"/>
                <a:gd name="T2" fmla="*/ 16704 w 20899"/>
                <a:gd name="T3" fmla="*/ 16252 h 24816"/>
                <a:gd name="T4" fmla="*/ 12823 w 20899"/>
                <a:gd name="T5" fmla="*/ 13479 h 24816"/>
                <a:gd name="T6" fmla="*/ 9723 w 20899"/>
                <a:gd name="T7" fmla="*/ 12968 h 24816"/>
                <a:gd name="T8" fmla="*/ 7957 w 20899"/>
                <a:gd name="T9" fmla="*/ 13747 h 24816"/>
                <a:gd name="T10" fmla="*/ 6544 w 20899"/>
                <a:gd name="T11" fmla="*/ 16529 h 24816"/>
                <a:gd name="T12" fmla="*/ 6538 w 20899"/>
                <a:gd name="T13" fmla="*/ 16843 h 24816"/>
                <a:gd name="T14" fmla="*/ 6526 w 20899"/>
                <a:gd name="T15" fmla="*/ 18358 h 24816"/>
                <a:gd name="T16" fmla="*/ 6495 w 20899"/>
                <a:gd name="T17" fmla="*/ 23550 h 24816"/>
                <a:gd name="T18" fmla="*/ 6349 w 20899"/>
                <a:gd name="T19" fmla="*/ 23873 h 24816"/>
                <a:gd name="T20" fmla="*/ 5979 w 20899"/>
                <a:gd name="T21" fmla="*/ 23933 h 24816"/>
                <a:gd name="T22" fmla="*/ 5730 w 20899"/>
                <a:gd name="T23" fmla="*/ 23945 h 24816"/>
                <a:gd name="T24" fmla="*/ 4774 w 20899"/>
                <a:gd name="T25" fmla="*/ 23960 h 24816"/>
                <a:gd name="T26" fmla="*/ 4472 w 20899"/>
                <a:gd name="T27" fmla="*/ 23956 h 24816"/>
                <a:gd name="T28" fmla="*/ 2799 w 20899"/>
                <a:gd name="T29" fmla="*/ 23486 h 24816"/>
                <a:gd name="T30" fmla="*/ 869 w 20899"/>
                <a:gd name="T31" fmla="*/ 20931 h 24816"/>
                <a:gd name="T32" fmla="*/ 810 w 20899"/>
                <a:gd name="T33" fmla="*/ 10472 h 24816"/>
                <a:gd name="T34" fmla="*/ 893 w 20899"/>
                <a:gd name="T35" fmla="*/ 826 h 24816"/>
                <a:gd name="T36" fmla="*/ 4833 w 20899"/>
                <a:gd name="T37" fmla="*/ 721 h 24816"/>
                <a:gd name="T38" fmla="*/ 5743 w 20899"/>
                <a:gd name="T39" fmla="*/ 723 h 24816"/>
                <a:gd name="T40" fmla="*/ 8228 w 20899"/>
                <a:gd name="T41" fmla="*/ 1382 h 24816"/>
                <a:gd name="T42" fmla="*/ 10925 w 20899"/>
                <a:gd name="T43" fmla="*/ 3587 h 24816"/>
                <a:gd name="T44" fmla="*/ 14516 w 20899"/>
                <a:gd name="T45" fmla="*/ 6926 h 24816"/>
                <a:gd name="T46" fmla="*/ 15118 w 20899"/>
                <a:gd name="T47" fmla="*/ 7482 h 24816"/>
                <a:gd name="T48" fmla="*/ 15228 w 20899"/>
                <a:gd name="T49" fmla="*/ 7584 h 24816"/>
                <a:gd name="T50" fmla="*/ 17201 w 20899"/>
                <a:gd name="T51" fmla="*/ 9156 h 24816"/>
                <a:gd name="T52" fmla="*/ 19276 w 20899"/>
                <a:gd name="T53" fmla="*/ 10228 h 24816"/>
                <a:gd name="T54" fmla="*/ 20704 w 20899"/>
                <a:gd name="T55" fmla="*/ 10652 h 24816"/>
                <a:gd name="T56" fmla="*/ 19526 w 20899"/>
                <a:gd name="T57" fmla="*/ 10044 h 24816"/>
                <a:gd name="T58" fmla="*/ 15710 w 20899"/>
                <a:gd name="T59" fmla="*/ 7341 h 24816"/>
                <a:gd name="T60" fmla="*/ 15321 w 20899"/>
                <a:gd name="T61" fmla="*/ 6958 h 24816"/>
                <a:gd name="T62" fmla="*/ 14062 w 20899"/>
                <a:gd name="T63" fmla="*/ 5741 h 24816"/>
                <a:gd name="T64" fmla="*/ 9540 w 20899"/>
                <a:gd name="T65" fmla="*/ 1447 h 24816"/>
                <a:gd name="T66" fmla="*/ 7379 w 20899"/>
                <a:gd name="T67" fmla="*/ 317 h 24816"/>
                <a:gd name="T68" fmla="*/ 5592 w 20899"/>
                <a:gd name="T69" fmla="*/ 28 h 24816"/>
                <a:gd name="T70" fmla="*/ 5281 w 20899"/>
                <a:gd name="T71" fmla="*/ 25 h 24816"/>
                <a:gd name="T72" fmla="*/ 4025 w 20899"/>
                <a:gd name="T73" fmla="*/ 17 h 24816"/>
                <a:gd name="T74" fmla="*/ 47 w 20899"/>
                <a:gd name="T75" fmla="*/ 915 h 24816"/>
                <a:gd name="T76" fmla="*/ 2 w 20899"/>
                <a:gd name="T77" fmla="*/ 17555 h 24816"/>
                <a:gd name="T78" fmla="*/ 5 w 20899"/>
                <a:gd name="T79" fmla="*/ 20341 h 24816"/>
                <a:gd name="T80" fmla="*/ 6 w 20899"/>
                <a:gd name="T81" fmla="*/ 20923 h 24816"/>
                <a:gd name="T82" fmla="*/ 38 w 20899"/>
                <a:gd name="T83" fmla="*/ 21322 h 24816"/>
                <a:gd name="T84" fmla="*/ 944 w 20899"/>
                <a:gd name="T85" fmla="*/ 23148 h 24816"/>
                <a:gd name="T86" fmla="*/ 4388 w 20899"/>
                <a:gd name="T87" fmla="*/ 24811 h 24816"/>
                <a:gd name="T88" fmla="*/ 4856 w 20899"/>
                <a:gd name="T89" fmla="*/ 24816 h 24816"/>
                <a:gd name="T90" fmla="*/ 5756 w 20899"/>
                <a:gd name="T91" fmla="*/ 24796 h 24816"/>
                <a:gd name="T92" fmla="*/ 6291 w 20899"/>
                <a:gd name="T93" fmla="*/ 24757 h 24816"/>
                <a:gd name="T94" fmla="*/ 7234 w 20899"/>
                <a:gd name="T95" fmla="*/ 24266 h 24816"/>
                <a:gd name="T96" fmla="*/ 7330 w 20899"/>
                <a:gd name="T97" fmla="*/ 23437 h 24816"/>
                <a:gd name="T98" fmla="*/ 7330 w 20899"/>
                <a:gd name="T99" fmla="*/ 23186 h 24816"/>
                <a:gd name="T100" fmla="*/ 7299 w 20899"/>
                <a:gd name="T101" fmla="*/ 18175 h 24816"/>
                <a:gd name="T102" fmla="*/ 7621 w 20899"/>
                <a:gd name="T103" fmla="*/ 15253 h 24816"/>
                <a:gd name="T104" fmla="*/ 9653 w 20899"/>
                <a:gd name="T105" fmla="*/ 13652 h 24816"/>
                <a:gd name="T106" fmla="*/ 10936 w 20899"/>
                <a:gd name="T107" fmla="*/ 13607 h 24816"/>
                <a:gd name="T108" fmla="*/ 14288 w 20899"/>
                <a:gd name="T109" fmla="*/ 14941 h 24816"/>
                <a:gd name="T110" fmla="*/ 17357 w 20899"/>
                <a:gd name="T111" fmla="*/ 17469 h 24816"/>
                <a:gd name="T112" fmla="*/ 19639 w 20899"/>
                <a:gd name="T113" fmla="*/ 19376 h 24816"/>
                <a:gd name="T114" fmla="*/ 19270 w 20899"/>
                <a:gd name="T115" fmla="*/ 1867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99" h="24816">
                  <a:moveTo>
                    <a:pt x="19270" y="18677"/>
                  </a:moveTo>
                  <a:cubicBezTo>
                    <a:pt x="19104" y="18520"/>
                    <a:pt x="18922" y="18349"/>
                    <a:pt x="18726" y="18165"/>
                  </a:cubicBezTo>
                  <a:cubicBezTo>
                    <a:pt x="18527" y="17981"/>
                    <a:pt x="18315" y="17790"/>
                    <a:pt x="18099" y="17586"/>
                  </a:cubicBezTo>
                  <a:cubicBezTo>
                    <a:pt x="17662" y="17168"/>
                    <a:pt x="17188" y="16713"/>
                    <a:pt x="16704" y="16252"/>
                  </a:cubicBezTo>
                  <a:cubicBezTo>
                    <a:pt x="16133" y="15720"/>
                    <a:pt x="15543" y="15193"/>
                    <a:pt x="14905" y="14714"/>
                  </a:cubicBezTo>
                  <a:cubicBezTo>
                    <a:pt x="14267" y="14236"/>
                    <a:pt x="13579" y="13801"/>
                    <a:pt x="12823" y="13479"/>
                  </a:cubicBezTo>
                  <a:cubicBezTo>
                    <a:pt x="12070" y="13154"/>
                    <a:pt x="11228" y="12950"/>
                    <a:pt x="10381" y="12932"/>
                  </a:cubicBezTo>
                  <a:cubicBezTo>
                    <a:pt x="10169" y="12927"/>
                    <a:pt x="9940" y="12936"/>
                    <a:pt x="9723" y="12968"/>
                  </a:cubicBezTo>
                  <a:cubicBezTo>
                    <a:pt x="9505" y="13002"/>
                    <a:pt x="9290" y="13055"/>
                    <a:pt x="9083" y="13125"/>
                  </a:cubicBezTo>
                  <a:cubicBezTo>
                    <a:pt x="8669" y="13266"/>
                    <a:pt x="8286" y="13480"/>
                    <a:pt x="7957" y="13747"/>
                  </a:cubicBezTo>
                  <a:cubicBezTo>
                    <a:pt x="7315" y="14259"/>
                    <a:pt x="6820" y="15011"/>
                    <a:pt x="6630" y="15873"/>
                  </a:cubicBezTo>
                  <a:cubicBezTo>
                    <a:pt x="6582" y="16088"/>
                    <a:pt x="6553" y="16308"/>
                    <a:pt x="6544" y="16529"/>
                  </a:cubicBezTo>
                  <a:cubicBezTo>
                    <a:pt x="6540" y="16583"/>
                    <a:pt x="6539" y="16645"/>
                    <a:pt x="6539" y="16693"/>
                  </a:cubicBezTo>
                  <a:cubicBezTo>
                    <a:pt x="6538" y="16843"/>
                    <a:pt x="6538" y="16843"/>
                    <a:pt x="6538" y="16843"/>
                  </a:cubicBezTo>
                  <a:cubicBezTo>
                    <a:pt x="6537" y="16942"/>
                    <a:pt x="6536" y="17041"/>
                    <a:pt x="6535" y="17142"/>
                  </a:cubicBezTo>
                  <a:cubicBezTo>
                    <a:pt x="6532" y="17543"/>
                    <a:pt x="6529" y="17948"/>
                    <a:pt x="6526" y="18358"/>
                  </a:cubicBezTo>
                  <a:cubicBezTo>
                    <a:pt x="6516" y="19980"/>
                    <a:pt x="6506" y="21661"/>
                    <a:pt x="6496" y="23363"/>
                  </a:cubicBezTo>
                  <a:cubicBezTo>
                    <a:pt x="6495" y="23550"/>
                    <a:pt x="6495" y="23550"/>
                    <a:pt x="6495" y="23550"/>
                  </a:cubicBezTo>
                  <a:cubicBezTo>
                    <a:pt x="6494" y="23614"/>
                    <a:pt x="6492" y="23677"/>
                    <a:pt x="6471" y="23736"/>
                  </a:cubicBezTo>
                  <a:cubicBezTo>
                    <a:pt x="6452" y="23796"/>
                    <a:pt x="6407" y="23846"/>
                    <a:pt x="6349" y="23873"/>
                  </a:cubicBezTo>
                  <a:cubicBezTo>
                    <a:pt x="6292" y="23897"/>
                    <a:pt x="6228" y="23906"/>
                    <a:pt x="6166" y="23915"/>
                  </a:cubicBezTo>
                  <a:cubicBezTo>
                    <a:pt x="6104" y="23924"/>
                    <a:pt x="6041" y="23927"/>
                    <a:pt x="5979" y="23933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730" y="23945"/>
                    <a:pt x="5730" y="23945"/>
                    <a:pt x="5730" y="23945"/>
                  </a:cubicBezTo>
                  <a:cubicBezTo>
                    <a:pt x="5521" y="23954"/>
                    <a:pt x="5309" y="23958"/>
                    <a:pt x="5096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4615" y="23960"/>
                    <a:pt x="4615" y="23960"/>
                    <a:pt x="4615" y="23960"/>
                  </a:cubicBezTo>
                  <a:cubicBezTo>
                    <a:pt x="4567" y="23960"/>
                    <a:pt x="4520" y="23958"/>
                    <a:pt x="4472" y="23956"/>
                  </a:cubicBezTo>
                  <a:cubicBezTo>
                    <a:pt x="4282" y="23945"/>
                    <a:pt x="4091" y="23920"/>
                    <a:pt x="3901" y="23879"/>
                  </a:cubicBezTo>
                  <a:cubicBezTo>
                    <a:pt x="3522" y="23799"/>
                    <a:pt x="3148" y="23664"/>
                    <a:pt x="2799" y="23486"/>
                  </a:cubicBezTo>
                  <a:cubicBezTo>
                    <a:pt x="2104" y="23129"/>
                    <a:pt x="1490" y="22589"/>
                    <a:pt x="1146" y="21942"/>
                  </a:cubicBezTo>
                  <a:cubicBezTo>
                    <a:pt x="975" y="21621"/>
                    <a:pt x="876" y="21277"/>
                    <a:pt x="869" y="20931"/>
                  </a:cubicBezTo>
                  <a:cubicBezTo>
                    <a:pt x="865" y="20510"/>
                    <a:pt x="862" y="20094"/>
                    <a:pt x="859" y="19679"/>
                  </a:cubicBezTo>
                  <a:cubicBezTo>
                    <a:pt x="843" y="16677"/>
                    <a:pt x="827" y="13590"/>
                    <a:pt x="810" y="10472"/>
                  </a:cubicBezTo>
                  <a:cubicBezTo>
                    <a:pt x="801" y="7400"/>
                    <a:pt x="784" y="1744"/>
                    <a:pt x="784" y="1219"/>
                  </a:cubicBezTo>
                  <a:cubicBezTo>
                    <a:pt x="784" y="1042"/>
                    <a:pt x="826" y="889"/>
                    <a:pt x="893" y="826"/>
                  </a:cubicBezTo>
                  <a:cubicBezTo>
                    <a:pt x="963" y="760"/>
                    <a:pt x="1171" y="729"/>
                    <a:pt x="1271" y="729"/>
                  </a:cubicBezTo>
                  <a:cubicBezTo>
                    <a:pt x="1424" y="729"/>
                    <a:pt x="3653" y="724"/>
                    <a:pt x="4833" y="721"/>
                  </a:cubicBezTo>
                  <a:cubicBezTo>
                    <a:pt x="5295" y="720"/>
                    <a:pt x="5295" y="720"/>
                    <a:pt x="5295" y="720"/>
                  </a:cubicBezTo>
                  <a:cubicBezTo>
                    <a:pt x="5448" y="720"/>
                    <a:pt x="5605" y="716"/>
                    <a:pt x="5743" y="723"/>
                  </a:cubicBezTo>
                  <a:cubicBezTo>
                    <a:pt x="6032" y="736"/>
                    <a:pt x="6320" y="770"/>
                    <a:pt x="6604" y="823"/>
                  </a:cubicBezTo>
                  <a:cubicBezTo>
                    <a:pt x="7171" y="930"/>
                    <a:pt x="7719" y="1119"/>
                    <a:pt x="8228" y="1382"/>
                  </a:cubicBezTo>
                  <a:cubicBezTo>
                    <a:pt x="8737" y="1644"/>
                    <a:pt x="9203" y="1975"/>
                    <a:pt x="9619" y="2367"/>
                  </a:cubicBezTo>
                  <a:cubicBezTo>
                    <a:pt x="10057" y="2776"/>
                    <a:pt x="10493" y="3183"/>
                    <a:pt x="10925" y="3587"/>
                  </a:cubicBezTo>
                  <a:cubicBezTo>
                    <a:pt x="11791" y="4393"/>
                    <a:pt x="12646" y="5189"/>
                    <a:pt x="13487" y="5972"/>
                  </a:cubicBezTo>
                  <a:cubicBezTo>
                    <a:pt x="13843" y="6302"/>
                    <a:pt x="14186" y="6620"/>
                    <a:pt x="14516" y="6926"/>
                  </a:cubicBezTo>
                  <a:cubicBezTo>
                    <a:pt x="14681" y="7078"/>
                    <a:pt x="14843" y="7227"/>
                    <a:pt x="15000" y="7373"/>
                  </a:cubicBezTo>
                  <a:cubicBezTo>
                    <a:pt x="15040" y="7409"/>
                    <a:pt x="15079" y="7445"/>
                    <a:pt x="15118" y="7482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228" y="7584"/>
                    <a:pt x="15228" y="7584"/>
                    <a:pt x="15228" y="7584"/>
                  </a:cubicBezTo>
                  <a:cubicBezTo>
                    <a:pt x="15305" y="7659"/>
                    <a:pt x="15381" y="7731"/>
                    <a:pt x="15458" y="7802"/>
                  </a:cubicBezTo>
                  <a:cubicBezTo>
                    <a:pt x="16071" y="8367"/>
                    <a:pt x="16670" y="8810"/>
                    <a:pt x="17201" y="9156"/>
                  </a:cubicBezTo>
                  <a:cubicBezTo>
                    <a:pt x="17732" y="9501"/>
                    <a:pt x="18195" y="9748"/>
                    <a:pt x="18552" y="9919"/>
                  </a:cubicBezTo>
                  <a:cubicBezTo>
                    <a:pt x="18909" y="10091"/>
                    <a:pt x="19159" y="10190"/>
                    <a:pt x="19276" y="10228"/>
                  </a:cubicBezTo>
                  <a:cubicBezTo>
                    <a:pt x="19727" y="10410"/>
                    <a:pt x="20068" y="10518"/>
                    <a:pt x="20309" y="10584"/>
                  </a:cubicBezTo>
                  <a:cubicBezTo>
                    <a:pt x="20549" y="10648"/>
                    <a:pt x="20681" y="10667"/>
                    <a:pt x="20704" y="10652"/>
                  </a:cubicBezTo>
                  <a:cubicBezTo>
                    <a:pt x="20728" y="10635"/>
                    <a:pt x="20641" y="10584"/>
                    <a:pt x="20445" y="10489"/>
                  </a:cubicBezTo>
                  <a:cubicBezTo>
                    <a:pt x="20247" y="10392"/>
                    <a:pt x="19988" y="10273"/>
                    <a:pt x="19526" y="10044"/>
                  </a:cubicBezTo>
                  <a:cubicBezTo>
                    <a:pt x="18945" y="9752"/>
                    <a:pt x="18115" y="9307"/>
                    <a:pt x="17174" y="8604"/>
                  </a:cubicBezTo>
                  <a:cubicBezTo>
                    <a:pt x="16703" y="8251"/>
                    <a:pt x="16207" y="7835"/>
                    <a:pt x="15710" y="7341"/>
                  </a:cubicBezTo>
                  <a:cubicBezTo>
                    <a:pt x="15647" y="7278"/>
                    <a:pt x="15583" y="7214"/>
                    <a:pt x="15519" y="7149"/>
                  </a:cubicBezTo>
                  <a:cubicBezTo>
                    <a:pt x="15453" y="7086"/>
                    <a:pt x="15388" y="7022"/>
                    <a:pt x="15321" y="6958"/>
                  </a:cubicBezTo>
                  <a:cubicBezTo>
                    <a:pt x="15188" y="6829"/>
                    <a:pt x="15053" y="6698"/>
                    <a:pt x="14916" y="6565"/>
                  </a:cubicBezTo>
                  <a:cubicBezTo>
                    <a:pt x="14640" y="6299"/>
                    <a:pt x="14355" y="6024"/>
                    <a:pt x="14062" y="5741"/>
                  </a:cubicBezTo>
                  <a:cubicBezTo>
                    <a:pt x="12879" y="4606"/>
                    <a:pt x="11557" y="3337"/>
                    <a:pt x="10126" y="1964"/>
                  </a:cubicBezTo>
                  <a:cubicBezTo>
                    <a:pt x="9948" y="1791"/>
                    <a:pt x="9748" y="1609"/>
                    <a:pt x="9540" y="1447"/>
                  </a:cubicBezTo>
                  <a:cubicBezTo>
                    <a:pt x="9332" y="1283"/>
                    <a:pt x="9112" y="1130"/>
                    <a:pt x="8881" y="990"/>
                  </a:cubicBezTo>
                  <a:cubicBezTo>
                    <a:pt x="8419" y="709"/>
                    <a:pt x="7914" y="480"/>
                    <a:pt x="7379" y="317"/>
                  </a:cubicBezTo>
                  <a:cubicBezTo>
                    <a:pt x="6844" y="152"/>
                    <a:pt x="6278" y="55"/>
                    <a:pt x="5702" y="30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281" y="25"/>
                    <a:pt x="5281" y="25"/>
                    <a:pt x="5281" y="25"/>
                  </a:cubicBezTo>
                  <a:cubicBezTo>
                    <a:pt x="5143" y="24"/>
                    <a:pt x="5004" y="23"/>
                    <a:pt x="4865" y="22"/>
                  </a:cubicBezTo>
                  <a:cubicBezTo>
                    <a:pt x="4587" y="20"/>
                    <a:pt x="4306" y="19"/>
                    <a:pt x="4025" y="17"/>
                  </a:cubicBezTo>
                  <a:cubicBezTo>
                    <a:pt x="3027" y="11"/>
                    <a:pt x="1835" y="0"/>
                    <a:pt x="969" y="0"/>
                  </a:cubicBezTo>
                  <a:cubicBezTo>
                    <a:pt x="474" y="0"/>
                    <a:pt x="47" y="259"/>
                    <a:pt x="47" y="915"/>
                  </a:cubicBezTo>
                  <a:cubicBezTo>
                    <a:pt x="47" y="1282"/>
                    <a:pt x="42" y="2101"/>
                    <a:pt x="39" y="2693"/>
                  </a:cubicBezTo>
                  <a:cubicBezTo>
                    <a:pt x="12" y="7527"/>
                    <a:pt x="0" y="12582"/>
                    <a:pt x="2" y="17555"/>
                  </a:cubicBezTo>
                  <a:cubicBezTo>
                    <a:pt x="3" y="18177"/>
                    <a:pt x="3" y="18796"/>
                    <a:pt x="4" y="19416"/>
                  </a:cubicBezTo>
                  <a:cubicBezTo>
                    <a:pt x="5" y="19724"/>
                    <a:pt x="5" y="20033"/>
                    <a:pt x="5" y="20341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6" y="20923"/>
                    <a:pt x="6" y="20923"/>
                    <a:pt x="6" y="20923"/>
                  </a:cubicBezTo>
                  <a:cubicBezTo>
                    <a:pt x="7" y="20967"/>
                    <a:pt x="8" y="21012"/>
                    <a:pt x="12" y="21057"/>
                  </a:cubicBezTo>
                  <a:cubicBezTo>
                    <a:pt x="16" y="21145"/>
                    <a:pt x="26" y="21233"/>
                    <a:pt x="38" y="21322"/>
                  </a:cubicBezTo>
                  <a:cubicBezTo>
                    <a:pt x="91" y="21673"/>
                    <a:pt x="206" y="22009"/>
                    <a:pt x="364" y="22315"/>
                  </a:cubicBezTo>
                  <a:cubicBezTo>
                    <a:pt x="521" y="22622"/>
                    <a:pt x="721" y="22900"/>
                    <a:pt x="944" y="23148"/>
                  </a:cubicBezTo>
                  <a:cubicBezTo>
                    <a:pt x="1393" y="23644"/>
                    <a:pt x="1935" y="24028"/>
                    <a:pt x="2519" y="24311"/>
                  </a:cubicBezTo>
                  <a:cubicBezTo>
                    <a:pt x="3103" y="24591"/>
                    <a:pt x="3734" y="24773"/>
                    <a:pt x="4388" y="24811"/>
                  </a:cubicBezTo>
                  <a:cubicBezTo>
                    <a:pt x="4469" y="24816"/>
                    <a:pt x="4551" y="24816"/>
                    <a:pt x="4633" y="24816"/>
                  </a:cubicBezTo>
                  <a:cubicBezTo>
                    <a:pt x="4856" y="24816"/>
                    <a:pt x="4856" y="24816"/>
                    <a:pt x="4856" y="24816"/>
                  </a:cubicBezTo>
                  <a:cubicBezTo>
                    <a:pt x="5006" y="24814"/>
                    <a:pt x="5156" y="24813"/>
                    <a:pt x="5305" y="24811"/>
                  </a:cubicBezTo>
                  <a:cubicBezTo>
                    <a:pt x="5455" y="24807"/>
                    <a:pt x="5605" y="24804"/>
                    <a:pt x="5756" y="24796"/>
                  </a:cubicBezTo>
                  <a:cubicBezTo>
                    <a:pt x="5998" y="24782"/>
                    <a:pt x="5998" y="24782"/>
                    <a:pt x="5998" y="24782"/>
                  </a:cubicBezTo>
                  <a:cubicBezTo>
                    <a:pt x="6096" y="24777"/>
                    <a:pt x="6194" y="24768"/>
                    <a:pt x="6291" y="24757"/>
                  </a:cubicBezTo>
                  <a:cubicBezTo>
                    <a:pt x="6485" y="24735"/>
                    <a:pt x="6675" y="24703"/>
                    <a:pt x="6843" y="24634"/>
                  </a:cubicBezTo>
                  <a:cubicBezTo>
                    <a:pt x="7012" y="24575"/>
                    <a:pt x="7164" y="24436"/>
                    <a:pt x="7234" y="24266"/>
                  </a:cubicBezTo>
                  <a:cubicBezTo>
                    <a:pt x="7306" y="24099"/>
                    <a:pt x="7327" y="23918"/>
                    <a:pt x="7327" y="23725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186"/>
                    <a:pt x="7330" y="23186"/>
                    <a:pt x="7330" y="23186"/>
                  </a:cubicBezTo>
                  <a:cubicBezTo>
                    <a:pt x="7327" y="22611"/>
                    <a:pt x="7324" y="22041"/>
                    <a:pt x="7321" y="21479"/>
                  </a:cubicBezTo>
                  <a:cubicBezTo>
                    <a:pt x="7313" y="20354"/>
                    <a:pt x="7306" y="19250"/>
                    <a:pt x="7299" y="18175"/>
                  </a:cubicBezTo>
                  <a:cubicBezTo>
                    <a:pt x="7295" y="17642"/>
                    <a:pt x="7291" y="17114"/>
                    <a:pt x="7287" y="16594"/>
                  </a:cubicBezTo>
                  <a:cubicBezTo>
                    <a:pt x="7293" y="16122"/>
                    <a:pt x="7411" y="15660"/>
                    <a:pt x="7621" y="15253"/>
                  </a:cubicBezTo>
                  <a:cubicBezTo>
                    <a:pt x="7829" y="14842"/>
                    <a:pt x="8128" y="14486"/>
                    <a:pt x="8479" y="14214"/>
                  </a:cubicBezTo>
                  <a:cubicBezTo>
                    <a:pt x="8830" y="13938"/>
                    <a:pt x="9235" y="13747"/>
                    <a:pt x="9653" y="13652"/>
                  </a:cubicBezTo>
                  <a:cubicBezTo>
                    <a:pt x="9862" y="13603"/>
                    <a:pt x="10074" y="13579"/>
                    <a:pt x="10285" y="13576"/>
                  </a:cubicBezTo>
                  <a:cubicBezTo>
                    <a:pt x="10504" y="13574"/>
                    <a:pt x="10722" y="13585"/>
                    <a:pt x="10936" y="13607"/>
                  </a:cubicBezTo>
                  <a:cubicBezTo>
                    <a:pt x="11364" y="13652"/>
                    <a:pt x="11777" y="13744"/>
                    <a:pt x="12171" y="13872"/>
                  </a:cubicBezTo>
                  <a:cubicBezTo>
                    <a:pt x="12959" y="14129"/>
                    <a:pt x="13662" y="14521"/>
                    <a:pt x="14288" y="14941"/>
                  </a:cubicBezTo>
                  <a:cubicBezTo>
                    <a:pt x="14916" y="15365"/>
                    <a:pt x="15471" y="15817"/>
                    <a:pt x="15976" y="16248"/>
                  </a:cubicBezTo>
                  <a:cubicBezTo>
                    <a:pt x="16481" y="16683"/>
                    <a:pt x="16937" y="17097"/>
                    <a:pt x="17357" y="17469"/>
                  </a:cubicBezTo>
                  <a:cubicBezTo>
                    <a:pt x="17774" y="17842"/>
                    <a:pt x="18164" y="18167"/>
                    <a:pt x="18503" y="18446"/>
                  </a:cubicBezTo>
                  <a:cubicBezTo>
                    <a:pt x="19023" y="18881"/>
                    <a:pt x="19326" y="19126"/>
                    <a:pt x="19639" y="19376"/>
                  </a:cubicBezTo>
                  <a:cubicBezTo>
                    <a:pt x="20570" y="20123"/>
                    <a:pt x="20899" y="20301"/>
                    <a:pt x="20529" y="19887"/>
                  </a:cubicBezTo>
                  <a:cubicBezTo>
                    <a:pt x="20142" y="19515"/>
                    <a:pt x="19773" y="19160"/>
                    <a:pt x="19270" y="18677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38">
              <a:extLst>
                <a:ext uri="{FF2B5EF4-FFF2-40B4-BE49-F238E27FC236}">
                  <a16:creationId xmlns:a16="http://schemas.microsoft.com/office/drawing/2014/main" id="{E9D928C8-9CAB-433A-85A2-A0A3F2377A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5415 w 51688"/>
                <a:gd name="T43" fmla="*/ 1838 h 25918"/>
                <a:gd name="T44" fmla="*/ 8570 w 51688"/>
                <a:gd name="T45" fmla="*/ 2470 h 25918"/>
                <a:gd name="T46" fmla="*/ 10305 w 51688"/>
                <a:gd name="T47" fmla="*/ 3841 h 25918"/>
                <a:gd name="T48" fmla="*/ 15418 w 51688"/>
                <a:gd name="T49" fmla="*/ 8605 h 25918"/>
                <a:gd name="T50" fmla="*/ 18027 w 51688"/>
                <a:gd name="T51" fmla="*/ 10592 h 25918"/>
                <a:gd name="T52" fmla="*/ 31601 w 51688"/>
                <a:gd name="T53" fmla="*/ 11637 h 25918"/>
                <a:gd name="T54" fmla="*/ 37074 w 51688"/>
                <a:gd name="T55" fmla="*/ 7875 h 25918"/>
                <a:gd name="T56" fmla="*/ 43442 w 51688"/>
                <a:gd name="T57" fmla="*/ 1444 h 25918"/>
                <a:gd name="T58" fmla="*/ 44433 w 51688"/>
                <a:gd name="T59" fmla="*/ 867 h 25918"/>
                <a:gd name="T60" fmla="*/ 41873 w 51688"/>
                <a:gd name="T61" fmla="*/ 2007 h 25918"/>
                <a:gd name="T62" fmla="*/ 34512 w 51688"/>
                <a:gd name="T63" fmla="*/ 8591 h 25918"/>
                <a:gd name="T64" fmla="*/ 18064 w 51688"/>
                <a:gd name="T65" fmla="*/ 8699 h 25918"/>
                <a:gd name="T66" fmla="*/ 16455 w 51688"/>
                <a:gd name="T67" fmla="*/ 7314 h 25918"/>
                <a:gd name="T68" fmla="*/ 11277 w 51688"/>
                <a:gd name="T69" fmla="*/ 2358 h 25918"/>
                <a:gd name="T70" fmla="*/ 9968 w 51688"/>
                <a:gd name="T71" fmla="*/ 1251 h 25918"/>
                <a:gd name="T72" fmla="*/ 6274 w 51688"/>
                <a:gd name="T73" fmla="*/ 41 h 25918"/>
                <a:gd name="T74" fmla="*/ 1317 w 51688"/>
                <a:gd name="T75" fmla="*/ 0 h 25918"/>
                <a:gd name="T76" fmla="*/ 11 w 51688"/>
                <a:gd name="T77" fmla="*/ 17772 h 25918"/>
                <a:gd name="T78" fmla="*/ 0 w 51688"/>
                <a:gd name="T79" fmla="*/ 21416 h 25918"/>
                <a:gd name="T80" fmla="*/ 1005 w 51688"/>
                <a:gd name="T81" fmla="*/ 23958 h 25918"/>
                <a:gd name="T82" fmla="*/ 5092 w 51688"/>
                <a:gd name="T83" fmla="*/ 25916 h 25918"/>
                <a:gd name="T84" fmla="*/ 6511 w 51688"/>
                <a:gd name="T85" fmla="*/ 25895 h 25918"/>
                <a:gd name="T86" fmla="*/ 8198 w 51688"/>
                <a:gd name="T87" fmla="*/ 25276 h 25918"/>
                <a:gd name="T88" fmla="*/ 8502 w 51688"/>
                <a:gd name="T89" fmla="*/ 23762 h 25918"/>
                <a:gd name="T90" fmla="*/ 8557 w 51688"/>
                <a:gd name="T91" fmla="*/ 16688 h 25918"/>
                <a:gd name="T92" fmla="*/ 10853 w 51688"/>
                <a:gd name="T93" fmla="*/ 14797 h 25918"/>
                <a:gd name="T94" fmla="*/ 15826 w 51688"/>
                <a:gd name="T95" fmla="*/ 17211 h 25918"/>
                <a:gd name="T96" fmla="*/ 21145 w 51688"/>
                <a:gd name="T97" fmla="*/ 21991 h 25918"/>
                <a:gd name="T98" fmla="*/ 27122 w 51688"/>
                <a:gd name="T99" fmla="*/ 24126 h 25918"/>
                <a:gd name="T100" fmla="*/ 33687 w 51688"/>
                <a:gd name="T101" fmla="*/ 19580 h 25918"/>
                <a:gd name="T102" fmla="*/ 36635 w 51688"/>
                <a:gd name="T103" fmla="*/ 16860 h 25918"/>
                <a:gd name="T104" fmla="*/ 41719 w 51688"/>
                <a:gd name="T105" fmla="*/ 14653 h 25918"/>
                <a:gd name="T106" fmla="*/ 43934 w 51688"/>
                <a:gd name="T107" fmla="*/ 17121 h 25918"/>
                <a:gd name="T108" fmla="*/ 43997 w 51688"/>
                <a:gd name="T109" fmla="*/ 21110 h 25918"/>
                <a:gd name="T110" fmla="*/ 45236 w 51688"/>
                <a:gd name="T111" fmla="*/ 23985 h 25918"/>
                <a:gd name="T112" fmla="*/ 49854 w 51688"/>
                <a:gd name="T113" fmla="*/ 25433 h 25918"/>
                <a:gd name="T114" fmla="*/ 51257 w 51688"/>
                <a:gd name="T115" fmla="*/ 2517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864"/>
                    <a:pt x="2000" y="1839"/>
                    <a:pt x="2090" y="1839"/>
                  </a:cubicBezTo>
                  <a:cubicBezTo>
                    <a:pt x="2180" y="1839"/>
                    <a:pt x="347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909" y="1105"/>
                    <a:pt x="43958" y="1079"/>
                  </a:cubicBezTo>
                  <a:cubicBezTo>
                    <a:pt x="43981" y="1066"/>
                    <a:pt x="44373" y="898"/>
                    <a:pt x="44433" y="867"/>
                  </a:cubicBezTo>
                  <a:cubicBezTo>
                    <a:pt x="44584" y="783"/>
                    <a:pt x="44236" y="653"/>
                    <a:pt x="43958" y="663"/>
                  </a:cubicBezTo>
                  <a:cubicBezTo>
                    <a:pt x="43680" y="672"/>
                    <a:pt x="43386" y="771"/>
                    <a:pt x="43286" y="836"/>
                  </a:cubicBezTo>
                  <a:cubicBezTo>
                    <a:pt x="43096" y="959"/>
                    <a:pt x="42853" y="1201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51" y="0"/>
                    <a:pt x="96" y="874"/>
                    <a:pt x="96" y="1210"/>
                  </a:cubicBezTo>
                  <a:cubicBezTo>
                    <a:pt x="96" y="1545"/>
                    <a:pt x="82" y="3462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39">
              <a:extLst>
                <a:ext uri="{FF2B5EF4-FFF2-40B4-BE49-F238E27FC236}">
                  <a16:creationId xmlns:a16="http://schemas.microsoft.com/office/drawing/2014/main" id="{57D51DB3-71E3-43CE-84DD-66864A3F66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412137" y="19151600"/>
              <a:ext cx="192400238" cy="96275525"/>
            </a:xfrm>
            <a:custGeom>
              <a:avLst/>
              <a:gdLst>
                <a:gd name="T0" fmla="*/ 51227 w 51304"/>
                <a:gd name="T1" fmla="*/ 21984 h 25671"/>
                <a:gd name="T2" fmla="*/ 50896 w 51304"/>
                <a:gd name="T3" fmla="*/ 22934 h 25671"/>
                <a:gd name="T4" fmla="*/ 50845 w 51304"/>
                <a:gd name="T5" fmla="*/ 23767 h 25671"/>
                <a:gd name="T6" fmla="*/ 50418 w 51304"/>
                <a:gd name="T7" fmla="*/ 24434 h 25671"/>
                <a:gd name="T8" fmla="*/ 48957 w 51304"/>
                <a:gd name="T9" fmla="*/ 24450 h 25671"/>
                <a:gd name="T10" fmla="*/ 47352 w 51304"/>
                <a:gd name="T11" fmla="*/ 24093 h 25671"/>
                <a:gd name="T12" fmla="*/ 45066 w 51304"/>
                <a:gd name="T13" fmla="*/ 20519 h 25671"/>
                <a:gd name="T14" fmla="*/ 45007 w 51304"/>
                <a:gd name="T15" fmla="*/ 16059 h 25671"/>
                <a:gd name="T16" fmla="*/ 41247 w 51304"/>
                <a:gd name="T17" fmla="*/ 13062 h 25671"/>
                <a:gd name="T18" fmla="*/ 32977 w 51304"/>
                <a:gd name="T19" fmla="*/ 17784 h 25671"/>
                <a:gd name="T20" fmla="*/ 28720 w 51304"/>
                <a:gd name="T21" fmla="*/ 21371 h 25671"/>
                <a:gd name="T22" fmla="*/ 23145 w 51304"/>
                <a:gd name="T23" fmla="*/ 21262 h 25671"/>
                <a:gd name="T24" fmla="*/ 18779 w 51304"/>
                <a:gd name="T25" fmla="*/ 17460 h 25671"/>
                <a:gd name="T26" fmla="*/ 12183 w 51304"/>
                <a:gd name="T27" fmla="*/ 12999 h 25671"/>
                <a:gd name="T28" fmla="*/ 8276 w 51304"/>
                <a:gd name="T29" fmla="*/ 13641 h 25671"/>
                <a:gd name="T30" fmla="*/ 6547 w 51304"/>
                <a:gd name="T31" fmla="*/ 17003 h 25671"/>
                <a:gd name="T32" fmla="*/ 6558 w 51304"/>
                <a:gd name="T33" fmla="*/ 23790 h 25671"/>
                <a:gd name="T34" fmla="*/ 6182 w 51304"/>
                <a:gd name="T35" fmla="*/ 23963 h 25671"/>
                <a:gd name="T36" fmla="*/ 4939 w 51304"/>
                <a:gd name="T37" fmla="*/ 23978 h 25671"/>
                <a:gd name="T38" fmla="*/ 1686 w 51304"/>
                <a:gd name="T39" fmla="*/ 21486 h 25671"/>
                <a:gd name="T40" fmla="*/ 1670 w 51304"/>
                <a:gd name="T41" fmla="*/ 18403 h 25671"/>
                <a:gd name="T42" fmla="*/ 5462 w 51304"/>
                <a:gd name="T43" fmla="*/ 1545 h 25671"/>
                <a:gd name="T44" fmla="*/ 6853 w 51304"/>
                <a:gd name="T45" fmla="*/ 1621 h 25671"/>
                <a:gd name="T46" fmla="*/ 10321 w 51304"/>
                <a:gd name="T47" fmla="*/ 3594 h 25671"/>
                <a:gd name="T48" fmla="*/ 15079 w 51304"/>
                <a:gd name="T49" fmla="*/ 8001 h 25671"/>
                <a:gd name="T50" fmla="*/ 22415 w 51304"/>
                <a:gd name="T51" fmla="*/ 12022 h 25671"/>
                <a:gd name="T52" fmla="*/ 35193 w 51304"/>
                <a:gd name="T53" fmla="*/ 9144 h 25671"/>
                <a:gd name="T54" fmla="*/ 38644 w 51304"/>
                <a:gd name="T55" fmla="*/ 5676 h 25671"/>
                <a:gd name="T56" fmla="*/ 38608 w 51304"/>
                <a:gd name="T57" fmla="*/ 5316 h 25671"/>
                <a:gd name="T58" fmla="*/ 35007 w 51304"/>
                <a:gd name="T59" fmla="*/ 8337 h 25671"/>
                <a:gd name="T60" fmla="*/ 19876 w 51304"/>
                <a:gd name="T61" fmla="*/ 9816 h 25671"/>
                <a:gd name="T62" fmla="*/ 10700 w 51304"/>
                <a:gd name="T63" fmla="*/ 1961 h 25671"/>
                <a:gd name="T64" fmla="*/ 1246 w 51304"/>
                <a:gd name="T65" fmla="*/ 0 h 25671"/>
                <a:gd name="T66" fmla="*/ 1 w 51304"/>
                <a:gd name="T67" fmla="*/ 20794 h 25671"/>
                <a:gd name="T68" fmla="*/ 2175 w 51304"/>
                <a:gd name="T69" fmla="*/ 24786 h 25671"/>
                <a:gd name="T70" fmla="*/ 5478 w 51304"/>
                <a:gd name="T71" fmla="*/ 25671 h 25671"/>
                <a:gd name="T72" fmla="*/ 6619 w 51304"/>
                <a:gd name="T73" fmla="*/ 25631 h 25671"/>
                <a:gd name="T74" fmla="*/ 8202 w 51304"/>
                <a:gd name="T75" fmla="*/ 24575 h 25671"/>
                <a:gd name="T76" fmla="*/ 8252 w 51304"/>
                <a:gd name="T77" fmla="*/ 23446 h 25671"/>
                <a:gd name="T78" fmla="*/ 8253 w 51304"/>
                <a:gd name="T79" fmla="*/ 17036 h 25671"/>
                <a:gd name="T80" fmla="*/ 9588 w 51304"/>
                <a:gd name="T81" fmla="*/ 14825 h 25671"/>
                <a:gd name="T82" fmla="*/ 11057 w 51304"/>
                <a:gd name="T83" fmla="*/ 14549 h 25671"/>
                <a:gd name="T84" fmla="*/ 17864 w 51304"/>
                <a:gd name="T85" fmla="*/ 18877 h 25671"/>
                <a:gd name="T86" fmla="*/ 24961 w 51304"/>
                <a:gd name="T87" fmla="*/ 23846 h 25671"/>
                <a:gd name="T88" fmla="*/ 31626 w 51304"/>
                <a:gd name="T89" fmla="*/ 20994 h 25671"/>
                <a:gd name="T90" fmla="*/ 36096 w 51304"/>
                <a:gd name="T91" fmla="*/ 16843 h 25671"/>
                <a:gd name="T92" fmla="*/ 41234 w 51304"/>
                <a:gd name="T93" fmla="*/ 14288 h 25671"/>
                <a:gd name="T94" fmla="*/ 43955 w 51304"/>
                <a:gd name="T95" fmla="*/ 16317 h 25671"/>
                <a:gd name="T96" fmla="*/ 44179 w 51304"/>
                <a:gd name="T97" fmla="*/ 21228 h 25671"/>
                <a:gd name="T98" fmla="*/ 44984 w 51304"/>
                <a:gd name="T99" fmla="*/ 23266 h 25671"/>
                <a:gd name="T100" fmla="*/ 49556 w 51304"/>
                <a:gd name="T101" fmla="*/ 25025 h 25671"/>
                <a:gd name="T102" fmla="*/ 50989 w 51304"/>
                <a:gd name="T103" fmla="*/ 24822 h 25671"/>
                <a:gd name="T104" fmla="*/ 51278 w 51304"/>
                <a:gd name="T105" fmla="*/ 23556 h 25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304" h="25671">
                  <a:moveTo>
                    <a:pt x="51278" y="23556"/>
                  </a:moveTo>
                  <a:cubicBezTo>
                    <a:pt x="51276" y="23471"/>
                    <a:pt x="51273" y="23386"/>
                    <a:pt x="51271" y="23303"/>
                  </a:cubicBezTo>
                  <a:cubicBezTo>
                    <a:pt x="51266" y="23139"/>
                    <a:pt x="51261" y="22979"/>
                    <a:pt x="51256" y="22826"/>
                  </a:cubicBezTo>
                  <a:cubicBezTo>
                    <a:pt x="51246" y="22523"/>
                    <a:pt x="51236" y="22240"/>
                    <a:pt x="51227" y="21984"/>
                  </a:cubicBezTo>
                  <a:cubicBezTo>
                    <a:pt x="51186" y="20902"/>
                    <a:pt x="51143" y="20417"/>
                    <a:pt x="51103" y="20693"/>
                  </a:cubicBezTo>
                  <a:cubicBezTo>
                    <a:pt x="51083" y="20839"/>
                    <a:pt x="51061" y="20754"/>
                    <a:pt x="51042" y="20886"/>
                  </a:cubicBezTo>
                  <a:cubicBezTo>
                    <a:pt x="51006" y="21032"/>
                    <a:pt x="50975" y="21493"/>
                    <a:pt x="50943" y="22050"/>
                  </a:cubicBezTo>
                  <a:cubicBezTo>
                    <a:pt x="50928" y="22335"/>
                    <a:pt x="50912" y="22634"/>
                    <a:pt x="50896" y="22934"/>
                  </a:cubicBezTo>
                  <a:cubicBezTo>
                    <a:pt x="50887" y="23083"/>
                    <a:pt x="50879" y="23231"/>
                    <a:pt x="50870" y="23379"/>
                  </a:cubicBezTo>
                  <a:cubicBezTo>
                    <a:pt x="50867" y="23449"/>
                    <a:pt x="50862" y="23522"/>
                    <a:pt x="50858" y="23592"/>
                  </a:cubicBezTo>
                  <a:cubicBezTo>
                    <a:pt x="50856" y="23624"/>
                    <a:pt x="50854" y="23659"/>
                    <a:pt x="50851" y="23691"/>
                  </a:cubicBezTo>
                  <a:cubicBezTo>
                    <a:pt x="50850" y="23716"/>
                    <a:pt x="50847" y="23742"/>
                    <a:pt x="50845" y="23767"/>
                  </a:cubicBezTo>
                  <a:cubicBezTo>
                    <a:pt x="50841" y="23826"/>
                    <a:pt x="50840" y="23882"/>
                    <a:pt x="50836" y="23938"/>
                  </a:cubicBezTo>
                  <a:cubicBezTo>
                    <a:pt x="50830" y="24063"/>
                    <a:pt x="50832" y="24192"/>
                    <a:pt x="50759" y="24297"/>
                  </a:cubicBezTo>
                  <a:cubicBezTo>
                    <a:pt x="50722" y="24347"/>
                    <a:pt x="50670" y="24387"/>
                    <a:pt x="50607" y="24403"/>
                  </a:cubicBezTo>
                  <a:cubicBezTo>
                    <a:pt x="50546" y="24420"/>
                    <a:pt x="50481" y="24427"/>
                    <a:pt x="50418" y="24434"/>
                  </a:cubicBezTo>
                  <a:cubicBezTo>
                    <a:pt x="50353" y="24439"/>
                    <a:pt x="50288" y="24443"/>
                    <a:pt x="50223" y="24445"/>
                  </a:cubicBezTo>
                  <a:cubicBezTo>
                    <a:pt x="50155" y="24448"/>
                    <a:pt x="50086" y="24450"/>
                    <a:pt x="50016" y="24450"/>
                  </a:cubicBezTo>
                  <a:cubicBezTo>
                    <a:pt x="49830" y="24456"/>
                    <a:pt x="49637" y="24457"/>
                    <a:pt x="49433" y="24456"/>
                  </a:cubicBezTo>
                  <a:cubicBezTo>
                    <a:pt x="49287" y="24454"/>
                    <a:pt x="49116" y="24450"/>
                    <a:pt x="48957" y="24450"/>
                  </a:cubicBezTo>
                  <a:cubicBezTo>
                    <a:pt x="48885" y="24448"/>
                    <a:pt x="48822" y="24447"/>
                    <a:pt x="48757" y="24441"/>
                  </a:cubicBezTo>
                  <a:cubicBezTo>
                    <a:pt x="48692" y="24438"/>
                    <a:pt x="48627" y="24432"/>
                    <a:pt x="48561" y="24425"/>
                  </a:cubicBezTo>
                  <a:cubicBezTo>
                    <a:pt x="48429" y="24410"/>
                    <a:pt x="48296" y="24385"/>
                    <a:pt x="48162" y="24356"/>
                  </a:cubicBezTo>
                  <a:cubicBezTo>
                    <a:pt x="47893" y="24297"/>
                    <a:pt x="47621" y="24209"/>
                    <a:pt x="47352" y="24093"/>
                  </a:cubicBezTo>
                  <a:cubicBezTo>
                    <a:pt x="46815" y="23861"/>
                    <a:pt x="46284" y="23520"/>
                    <a:pt x="45848" y="23064"/>
                  </a:cubicBezTo>
                  <a:cubicBezTo>
                    <a:pt x="45541" y="22743"/>
                    <a:pt x="45289" y="22362"/>
                    <a:pt x="45156" y="21951"/>
                  </a:cubicBezTo>
                  <a:cubicBezTo>
                    <a:pt x="45090" y="21746"/>
                    <a:pt x="45055" y="21533"/>
                    <a:pt x="45055" y="21318"/>
                  </a:cubicBezTo>
                  <a:cubicBezTo>
                    <a:pt x="45058" y="21055"/>
                    <a:pt x="45063" y="20790"/>
                    <a:pt x="45066" y="20519"/>
                  </a:cubicBezTo>
                  <a:cubicBezTo>
                    <a:pt x="45083" y="19430"/>
                    <a:pt x="45101" y="18293"/>
                    <a:pt x="45119" y="17110"/>
                  </a:cubicBezTo>
                  <a:cubicBezTo>
                    <a:pt x="45120" y="17041"/>
                    <a:pt x="45122" y="16942"/>
                    <a:pt x="45119" y="16856"/>
                  </a:cubicBezTo>
                  <a:cubicBezTo>
                    <a:pt x="45115" y="16767"/>
                    <a:pt x="45109" y="16679"/>
                    <a:pt x="45100" y="16591"/>
                  </a:cubicBezTo>
                  <a:cubicBezTo>
                    <a:pt x="45081" y="16412"/>
                    <a:pt x="45050" y="16235"/>
                    <a:pt x="45007" y="16059"/>
                  </a:cubicBezTo>
                  <a:cubicBezTo>
                    <a:pt x="44918" y="15707"/>
                    <a:pt x="44781" y="15363"/>
                    <a:pt x="44596" y="15042"/>
                  </a:cubicBezTo>
                  <a:cubicBezTo>
                    <a:pt x="44226" y="14398"/>
                    <a:pt x="43662" y="13843"/>
                    <a:pt x="42966" y="13487"/>
                  </a:cubicBezTo>
                  <a:cubicBezTo>
                    <a:pt x="42619" y="13309"/>
                    <a:pt x="42239" y="13181"/>
                    <a:pt x="41846" y="13114"/>
                  </a:cubicBezTo>
                  <a:cubicBezTo>
                    <a:pt x="41648" y="13082"/>
                    <a:pt x="41447" y="13064"/>
                    <a:pt x="41247" y="13062"/>
                  </a:cubicBezTo>
                  <a:cubicBezTo>
                    <a:pt x="41060" y="13060"/>
                    <a:pt x="40872" y="13066"/>
                    <a:pt x="40685" y="13080"/>
                  </a:cubicBezTo>
                  <a:cubicBezTo>
                    <a:pt x="39934" y="13134"/>
                    <a:pt x="39188" y="13327"/>
                    <a:pt x="38493" y="13619"/>
                  </a:cubicBezTo>
                  <a:cubicBezTo>
                    <a:pt x="37442" y="14059"/>
                    <a:pt x="36487" y="14717"/>
                    <a:pt x="35592" y="15451"/>
                  </a:cubicBezTo>
                  <a:cubicBezTo>
                    <a:pt x="34695" y="16183"/>
                    <a:pt x="33852" y="17005"/>
                    <a:pt x="32977" y="17784"/>
                  </a:cubicBezTo>
                  <a:cubicBezTo>
                    <a:pt x="32751" y="17981"/>
                    <a:pt x="32524" y="18181"/>
                    <a:pt x="32295" y="18381"/>
                  </a:cubicBezTo>
                  <a:cubicBezTo>
                    <a:pt x="32066" y="18585"/>
                    <a:pt x="31835" y="18790"/>
                    <a:pt x="31603" y="18998"/>
                  </a:cubicBezTo>
                  <a:cubicBezTo>
                    <a:pt x="31141" y="19411"/>
                    <a:pt x="30676" y="19827"/>
                    <a:pt x="30198" y="20233"/>
                  </a:cubicBezTo>
                  <a:cubicBezTo>
                    <a:pt x="29720" y="20637"/>
                    <a:pt x="29232" y="21028"/>
                    <a:pt x="28720" y="21371"/>
                  </a:cubicBezTo>
                  <a:cubicBezTo>
                    <a:pt x="28209" y="21713"/>
                    <a:pt x="27674" y="22005"/>
                    <a:pt x="27122" y="22182"/>
                  </a:cubicBezTo>
                  <a:cubicBezTo>
                    <a:pt x="26680" y="22321"/>
                    <a:pt x="26231" y="22382"/>
                    <a:pt x="25783" y="22355"/>
                  </a:cubicBezTo>
                  <a:cubicBezTo>
                    <a:pt x="25335" y="22326"/>
                    <a:pt x="24888" y="22207"/>
                    <a:pt x="24446" y="22016"/>
                  </a:cubicBezTo>
                  <a:cubicBezTo>
                    <a:pt x="24005" y="21823"/>
                    <a:pt x="23570" y="21562"/>
                    <a:pt x="23145" y="21262"/>
                  </a:cubicBezTo>
                  <a:cubicBezTo>
                    <a:pt x="22720" y="20961"/>
                    <a:pt x="22303" y="20622"/>
                    <a:pt x="21890" y="20269"/>
                  </a:cubicBezTo>
                  <a:cubicBezTo>
                    <a:pt x="21064" y="19557"/>
                    <a:pt x="20248" y="18779"/>
                    <a:pt x="19395" y="18019"/>
                  </a:cubicBezTo>
                  <a:cubicBezTo>
                    <a:pt x="19083" y="17739"/>
                    <a:pt x="19083" y="17739"/>
                    <a:pt x="19083" y="17739"/>
                  </a:cubicBezTo>
                  <a:cubicBezTo>
                    <a:pt x="18779" y="17460"/>
                    <a:pt x="18779" y="17460"/>
                    <a:pt x="18779" y="17460"/>
                  </a:cubicBezTo>
                  <a:cubicBezTo>
                    <a:pt x="18167" y="16886"/>
                    <a:pt x="18167" y="16886"/>
                    <a:pt x="18167" y="16886"/>
                  </a:cubicBezTo>
                  <a:cubicBezTo>
                    <a:pt x="17756" y="16499"/>
                    <a:pt x="17338" y="16104"/>
                    <a:pt x="16902" y="15718"/>
                  </a:cubicBezTo>
                  <a:cubicBezTo>
                    <a:pt x="16029" y="14950"/>
                    <a:pt x="15078" y="14200"/>
                    <a:pt x="13963" y="13641"/>
                  </a:cubicBezTo>
                  <a:cubicBezTo>
                    <a:pt x="13406" y="13363"/>
                    <a:pt x="12809" y="13138"/>
                    <a:pt x="12183" y="12999"/>
                  </a:cubicBezTo>
                  <a:cubicBezTo>
                    <a:pt x="11870" y="12930"/>
                    <a:pt x="11551" y="12882"/>
                    <a:pt x="11231" y="12858"/>
                  </a:cubicBezTo>
                  <a:cubicBezTo>
                    <a:pt x="11070" y="12846"/>
                    <a:pt x="10909" y="12838"/>
                    <a:pt x="10748" y="12837"/>
                  </a:cubicBezTo>
                  <a:cubicBezTo>
                    <a:pt x="10578" y="12835"/>
                    <a:pt x="10396" y="12846"/>
                    <a:pt x="10221" y="12867"/>
                  </a:cubicBezTo>
                  <a:cubicBezTo>
                    <a:pt x="9515" y="12950"/>
                    <a:pt x="8839" y="13226"/>
                    <a:pt x="8276" y="13641"/>
                  </a:cubicBezTo>
                  <a:cubicBezTo>
                    <a:pt x="7712" y="14055"/>
                    <a:pt x="7256" y="14607"/>
                    <a:pt x="6956" y="15236"/>
                  </a:cubicBezTo>
                  <a:cubicBezTo>
                    <a:pt x="6806" y="15550"/>
                    <a:pt x="6695" y="15884"/>
                    <a:pt x="6628" y="16226"/>
                  </a:cubicBezTo>
                  <a:cubicBezTo>
                    <a:pt x="6594" y="16398"/>
                    <a:pt x="6570" y="16569"/>
                    <a:pt x="6558" y="16744"/>
                  </a:cubicBezTo>
                  <a:cubicBezTo>
                    <a:pt x="6552" y="16829"/>
                    <a:pt x="6548" y="16917"/>
                    <a:pt x="6547" y="17003"/>
                  </a:cubicBezTo>
                  <a:cubicBezTo>
                    <a:pt x="6547" y="17220"/>
                    <a:pt x="6547" y="17220"/>
                    <a:pt x="6547" y="17220"/>
                  </a:cubicBezTo>
                  <a:cubicBezTo>
                    <a:pt x="6548" y="17773"/>
                    <a:pt x="6549" y="18325"/>
                    <a:pt x="6549" y="18875"/>
                  </a:cubicBezTo>
                  <a:cubicBezTo>
                    <a:pt x="6552" y="20269"/>
                    <a:pt x="6554" y="21668"/>
                    <a:pt x="6556" y="23069"/>
                  </a:cubicBezTo>
                  <a:cubicBezTo>
                    <a:pt x="6556" y="23311"/>
                    <a:pt x="6557" y="23549"/>
                    <a:pt x="6558" y="23790"/>
                  </a:cubicBezTo>
                  <a:cubicBezTo>
                    <a:pt x="6558" y="23832"/>
                    <a:pt x="6555" y="23880"/>
                    <a:pt x="6521" y="23911"/>
                  </a:cubicBezTo>
                  <a:cubicBezTo>
                    <a:pt x="6487" y="23940"/>
                    <a:pt x="6440" y="23942"/>
                    <a:pt x="6397" y="23949"/>
                  </a:cubicBezTo>
                  <a:cubicBezTo>
                    <a:pt x="6333" y="23954"/>
                    <a:pt x="6333" y="23954"/>
                    <a:pt x="6333" y="23954"/>
                  </a:cubicBezTo>
                  <a:cubicBezTo>
                    <a:pt x="6182" y="23963"/>
                    <a:pt x="6182" y="23963"/>
                    <a:pt x="6182" y="23963"/>
                  </a:cubicBezTo>
                  <a:cubicBezTo>
                    <a:pt x="6018" y="23971"/>
                    <a:pt x="5850" y="23976"/>
                    <a:pt x="5681" y="23978"/>
                  </a:cubicBezTo>
                  <a:cubicBezTo>
                    <a:pt x="5166" y="23981"/>
                    <a:pt x="5166" y="23981"/>
                    <a:pt x="5166" y="23981"/>
                  </a:cubicBezTo>
                  <a:cubicBezTo>
                    <a:pt x="5042" y="23981"/>
                    <a:pt x="5042" y="23981"/>
                    <a:pt x="5042" y="23981"/>
                  </a:cubicBezTo>
                  <a:cubicBezTo>
                    <a:pt x="5007" y="23981"/>
                    <a:pt x="4973" y="23980"/>
                    <a:pt x="4939" y="23978"/>
                  </a:cubicBezTo>
                  <a:cubicBezTo>
                    <a:pt x="4870" y="23974"/>
                    <a:pt x="4801" y="23971"/>
                    <a:pt x="4731" y="23962"/>
                  </a:cubicBezTo>
                  <a:cubicBezTo>
                    <a:pt x="4173" y="23900"/>
                    <a:pt x="3599" y="23689"/>
                    <a:pt x="3100" y="23379"/>
                  </a:cubicBezTo>
                  <a:cubicBezTo>
                    <a:pt x="2601" y="23071"/>
                    <a:pt x="2172" y="22654"/>
                    <a:pt x="1921" y="22193"/>
                  </a:cubicBezTo>
                  <a:cubicBezTo>
                    <a:pt x="1796" y="21962"/>
                    <a:pt x="1715" y="21724"/>
                    <a:pt x="1686" y="21486"/>
                  </a:cubicBezTo>
                  <a:cubicBezTo>
                    <a:pt x="1678" y="21426"/>
                    <a:pt x="1673" y="21367"/>
                    <a:pt x="1673" y="21307"/>
                  </a:cubicBezTo>
                  <a:cubicBezTo>
                    <a:pt x="1672" y="21057"/>
                    <a:pt x="1672" y="21057"/>
                    <a:pt x="1672" y="21057"/>
                  </a:cubicBezTo>
                  <a:cubicBezTo>
                    <a:pt x="1672" y="20527"/>
                    <a:pt x="1672" y="20527"/>
                    <a:pt x="1672" y="20527"/>
                  </a:cubicBezTo>
                  <a:cubicBezTo>
                    <a:pt x="1671" y="19818"/>
                    <a:pt x="1671" y="19111"/>
                    <a:pt x="1670" y="18403"/>
                  </a:cubicBezTo>
                  <a:cubicBezTo>
                    <a:pt x="1665" y="12851"/>
                    <a:pt x="1656" y="2017"/>
                    <a:pt x="1656" y="1785"/>
                  </a:cubicBezTo>
                  <a:cubicBezTo>
                    <a:pt x="1656" y="1552"/>
                    <a:pt x="1756" y="1551"/>
                    <a:pt x="1888" y="1551"/>
                  </a:cubicBezTo>
                  <a:cubicBezTo>
                    <a:pt x="2019" y="1551"/>
                    <a:pt x="3257" y="1549"/>
                    <a:pt x="3939" y="1548"/>
                  </a:cubicBezTo>
                  <a:cubicBezTo>
                    <a:pt x="4446" y="1547"/>
                    <a:pt x="4954" y="1546"/>
                    <a:pt x="5462" y="1545"/>
                  </a:cubicBezTo>
                  <a:cubicBezTo>
                    <a:pt x="5842" y="1544"/>
                    <a:pt x="5842" y="1544"/>
                    <a:pt x="5842" y="1544"/>
                  </a:cubicBezTo>
                  <a:cubicBezTo>
                    <a:pt x="6032" y="1544"/>
                    <a:pt x="6032" y="1544"/>
                    <a:pt x="6032" y="1544"/>
                  </a:cubicBezTo>
                  <a:cubicBezTo>
                    <a:pt x="6191" y="1549"/>
                    <a:pt x="6191" y="1549"/>
                    <a:pt x="6191" y="1549"/>
                  </a:cubicBezTo>
                  <a:cubicBezTo>
                    <a:pt x="6413" y="1559"/>
                    <a:pt x="6634" y="1584"/>
                    <a:pt x="6853" y="1621"/>
                  </a:cubicBezTo>
                  <a:cubicBezTo>
                    <a:pt x="7727" y="1767"/>
                    <a:pt x="8561" y="2128"/>
                    <a:pt x="9264" y="2656"/>
                  </a:cubicBezTo>
                  <a:cubicBezTo>
                    <a:pt x="9353" y="2721"/>
                    <a:pt x="9439" y="2790"/>
                    <a:pt x="9523" y="2861"/>
                  </a:cubicBezTo>
                  <a:cubicBezTo>
                    <a:pt x="9610" y="2934"/>
                    <a:pt x="9677" y="2994"/>
                    <a:pt x="9774" y="3086"/>
                  </a:cubicBezTo>
                  <a:cubicBezTo>
                    <a:pt x="9957" y="3255"/>
                    <a:pt x="10139" y="3425"/>
                    <a:pt x="10321" y="3594"/>
                  </a:cubicBezTo>
                  <a:cubicBezTo>
                    <a:pt x="10685" y="3931"/>
                    <a:pt x="11047" y="4267"/>
                    <a:pt x="11407" y="4602"/>
                  </a:cubicBezTo>
                  <a:cubicBezTo>
                    <a:pt x="12126" y="5268"/>
                    <a:pt x="12837" y="5926"/>
                    <a:pt x="13534" y="6573"/>
                  </a:cubicBezTo>
                  <a:cubicBezTo>
                    <a:pt x="13882" y="6895"/>
                    <a:pt x="14227" y="7215"/>
                    <a:pt x="14570" y="7531"/>
                  </a:cubicBezTo>
                  <a:cubicBezTo>
                    <a:pt x="14740" y="7689"/>
                    <a:pt x="14910" y="7846"/>
                    <a:pt x="15079" y="8001"/>
                  </a:cubicBezTo>
                  <a:cubicBezTo>
                    <a:pt x="15158" y="8075"/>
                    <a:pt x="15237" y="8148"/>
                    <a:pt x="15316" y="8221"/>
                  </a:cubicBezTo>
                  <a:cubicBezTo>
                    <a:pt x="15402" y="8304"/>
                    <a:pt x="15489" y="8387"/>
                    <a:pt x="15577" y="8470"/>
                  </a:cubicBezTo>
                  <a:cubicBezTo>
                    <a:pt x="16277" y="9122"/>
                    <a:pt x="17026" y="9687"/>
                    <a:pt x="17793" y="10161"/>
                  </a:cubicBezTo>
                  <a:cubicBezTo>
                    <a:pt x="19329" y="11113"/>
                    <a:pt x="20932" y="11699"/>
                    <a:pt x="22415" y="12022"/>
                  </a:cubicBezTo>
                  <a:cubicBezTo>
                    <a:pt x="23690" y="12299"/>
                    <a:pt x="24941" y="12404"/>
                    <a:pt x="26148" y="12379"/>
                  </a:cubicBezTo>
                  <a:cubicBezTo>
                    <a:pt x="27356" y="12352"/>
                    <a:pt x="28527" y="12195"/>
                    <a:pt x="29650" y="11913"/>
                  </a:cubicBezTo>
                  <a:cubicBezTo>
                    <a:pt x="30847" y="11614"/>
                    <a:pt x="31924" y="11185"/>
                    <a:pt x="32850" y="10698"/>
                  </a:cubicBezTo>
                  <a:cubicBezTo>
                    <a:pt x="33779" y="10211"/>
                    <a:pt x="34558" y="9669"/>
                    <a:pt x="35193" y="9144"/>
                  </a:cubicBezTo>
                  <a:cubicBezTo>
                    <a:pt x="35510" y="8882"/>
                    <a:pt x="35791" y="8626"/>
                    <a:pt x="36040" y="8381"/>
                  </a:cubicBezTo>
                  <a:cubicBezTo>
                    <a:pt x="36276" y="8145"/>
                    <a:pt x="36493" y="7927"/>
                    <a:pt x="36689" y="7728"/>
                  </a:cubicBezTo>
                  <a:cubicBezTo>
                    <a:pt x="37071" y="7341"/>
                    <a:pt x="37356" y="7044"/>
                    <a:pt x="37531" y="6852"/>
                  </a:cubicBezTo>
                  <a:cubicBezTo>
                    <a:pt x="38004" y="6364"/>
                    <a:pt x="38370" y="5976"/>
                    <a:pt x="38644" y="5676"/>
                  </a:cubicBezTo>
                  <a:cubicBezTo>
                    <a:pt x="38679" y="5636"/>
                    <a:pt x="38713" y="5598"/>
                    <a:pt x="38746" y="5561"/>
                  </a:cubicBezTo>
                  <a:cubicBezTo>
                    <a:pt x="38977" y="5305"/>
                    <a:pt x="39127" y="5124"/>
                    <a:pt x="39197" y="5020"/>
                  </a:cubicBezTo>
                  <a:cubicBezTo>
                    <a:pt x="39268" y="4915"/>
                    <a:pt x="39277" y="4867"/>
                    <a:pt x="39161" y="4935"/>
                  </a:cubicBezTo>
                  <a:cubicBezTo>
                    <a:pt x="39027" y="5015"/>
                    <a:pt x="38866" y="5119"/>
                    <a:pt x="38608" y="5316"/>
                  </a:cubicBezTo>
                  <a:cubicBezTo>
                    <a:pt x="38279" y="5567"/>
                    <a:pt x="37834" y="5929"/>
                    <a:pt x="37244" y="6429"/>
                  </a:cubicBezTo>
                  <a:cubicBezTo>
                    <a:pt x="36951" y="6679"/>
                    <a:pt x="36619" y="6963"/>
                    <a:pt x="36249" y="7286"/>
                  </a:cubicBezTo>
                  <a:cubicBezTo>
                    <a:pt x="36062" y="7448"/>
                    <a:pt x="35866" y="7619"/>
                    <a:pt x="35661" y="7797"/>
                  </a:cubicBezTo>
                  <a:cubicBezTo>
                    <a:pt x="35459" y="7975"/>
                    <a:pt x="35241" y="8155"/>
                    <a:pt x="35007" y="8337"/>
                  </a:cubicBezTo>
                  <a:cubicBezTo>
                    <a:pt x="34067" y="9063"/>
                    <a:pt x="32846" y="9823"/>
                    <a:pt x="31255" y="10402"/>
                  </a:cubicBezTo>
                  <a:cubicBezTo>
                    <a:pt x="29669" y="10978"/>
                    <a:pt x="27703" y="11362"/>
                    <a:pt x="25427" y="11242"/>
                  </a:cubicBezTo>
                  <a:cubicBezTo>
                    <a:pt x="25081" y="11207"/>
                    <a:pt x="24334" y="11158"/>
                    <a:pt x="23346" y="10965"/>
                  </a:cubicBezTo>
                  <a:cubicBezTo>
                    <a:pt x="22359" y="10774"/>
                    <a:pt x="21130" y="10426"/>
                    <a:pt x="19876" y="9816"/>
                  </a:cubicBezTo>
                  <a:cubicBezTo>
                    <a:pt x="19250" y="9514"/>
                    <a:pt x="18620" y="9147"/>
                    <a:pt x="18014" y="8720"/>
                  </a:cubicBezTo>
                  <a:cubicBezTo>
                    <a:pt x="17408" y="8294"/>
                    <a:pt x="16826" y="7807"/>
                    <a:pt x="16294" y="7273"/>
                  </a:cubicBezTo>
                  <a:cubicBezTo>
                    <a:pt x="15142" y="6181"/>
                    <a:pt x="13996" y="5093"/>
                    <a:pt x="12954" y="4106"/>
                  </a:cubicBezTo>
                  <a:cubicBezTo>
                    <a:pt x="12195" y="3383"/>
                    <a:pt x="11444" y="2669"/>
                    <a:pt x="10700" y="1961"/>
                  </a:cubicBezTo>
                  <a:cubicBezTo>
                    <a:pt x="9873" y="1181"/>
                    <a:pt x="8868" y="610"/>
                    <a:pt x="7785" y="303"/>
                  </a:cubicBezTo>
                  <a:cubicBezTo>
                    <a:pt x="7243" y="149"/>
                    <a:pt x="6687" y="61"/>
                    <a:pt x="6124" y="39"/>
                  </a:cubicBezTo>
                  <a:cubicBezTo>
                    <a:pt x="5614" y="35"/>
                    <a:pt x="5104" y="30"/>
                    <a:pt x="4593" y="25"/>
                  </a:cubicBezTo>
                  <a:cubicBezTo>
                    <a:pt x="3479" y="18"/>
                    <a:pt x="2118" y="0"/>
                    <a:pt x="1246" y="0"/>
                  </a:cubicBezTo>
                  <a:cubicBezTo>
                    <a:pt x="374" y="0"/>
                    <a:pt x="97" y="503"/>
                    <a:pt x="97" y="1138"/>
                  </a:cubicBezTo>
                  <a:cubicBezTo>
                    <a:pt x="97" y="1773"/>
                    <a:pt x="76" y="4185"/>
                    <a:pt x="67" y="5741"/>
                  </a:cubicBezTo>
                  <a:cubicBezTo>
                    <a:pt x="54" y="8177"/>
                    <a:pt x="41" y="10618"/>
                    <a:pt x="27" y="13148"/>
                  </a:cubicBezTo>
                  <a:cubicBezTo>
                    <a:pt x="19" y="15633"/>
                    <a:pt x="10" y="18190"/>
                    <a:pt x="1" y="20794"/>
                  </a:cubicBezTo>
                  <a:cubicBezTo>
                    <a:pt x="1" y="20958"/>
                    <a:pt x="1" y="21120"/>
                    <a:pt x="0" y="21286"/>
                  </a:cubicBezTo>
                  <a:cubicBezTo>
                    <a:pt x="1" y="21502"/>
                    <a:pt x="21" y="21720"/>
                    <a:pt x="64" y="21931"/>
                  </a:cubicBezTo>
                  <a:cubicBezTo>
                    <a:pt x="145" y="22357"/>
                    <a:pt x="307" y="22755"/>
                    <a:pt x="515" y="23110"/>
                  </a:cubicBezTo>
                  <a:cubicBezTo>
                    <a:pt x="936" y="23823"/>
                    <a:pt x="1524" y="24369"/>
                    <a:pt x="2175" y="24786"/>
                  </a:cubicBezTo>
                  <a:cubicBezTo>
                    <a:pt x="2830" y="25198"/>
                    <a:pt x="3559" y="25489"/>
                    <a:pt x="4348" y="25613"/>
                  </a:cubicBezTo>
                  <a:cubicBezTo>
                    <a:pt x="4545" y="25644"/>
                    <a:pt x="4746" y="25662"/>
                    <a:pt x="4951" y="25669"/>
                  </a:cubicBezTo>
                  <a:cubicBezTo>
                    <a:pt x="5223" y="25671"/>
                    <a:pt x="5223" y="25671"/>
                    <a:pt x="5223" y="25671"/>
                  </a:cubicBezTo>
                  <a:cubicBezTo>
                    <a:pt x="5478" y="25671"/>
                    <a:pt x="5478" y="25671"/>
                    <a:pt x="5478" y="25671"/>
                  </a:cubicBezTo>
                  <a:cubicBezTo>
                    <a:pt x="5650" y="25669"/>
                    <a:pt x="5823" y="25667"/>
                    <a:pt x="5997" y="25662"/>
                  </a:cubicBezTo>
                  <a:cubicBezTo>
                    <a:pt x="6262" y="25653"/>
                    <a:pt x="6262" y="25653"/>
                    <a:pt x="6262" y="25653"/>
                  </a:cubicBezTo>
                  <a:cubicBezTo>
                    <a:pt x="6398" y="25646"/>
                    <a:pt x="6398" y="25646"/>
                    <a:pt x="6398" y="25646"/>
                  </a:cubicBezTo>
                  <a:cubicBezTo>
                    <a:pt x="6471" y="25642"/>
                    <a:pt x="6546" y="25637"/>
                    <a:pt x="6619" y="25631"/>
                  </a:cubicBezTo>
                  <a:cubicBezTo>
                    <a:pt x="6912" y="25606"/>
                    <a:pt x="7209" y="25570"/>
                    <a:pt x="7459" y="25467"/>
                  </a:cubicBezTo>
                  <a:cubicBezTo>
                    <a:pt x="7583" y="25415"/>
                    <a:pt x="7696" y="25350"/>
                    <a:pt x="7800" y="25262"/>
                  </a:cubicBezTo>
                  <a:cubicBezTo>
                    <a:pt x="7904" y="25173"/>
                    <a:pt x="7994" y="25065"/>
                    <a:pt x="8059" y="24948"/>
                  </a:cubicBezTo>
                  <a:cubicBezTo>
                    <a:pt x="8125" y="24832"/>
                    <a:pt x="8170" y="24708"/>
                    <a:pt x="8202" y="24575"/>
                  </a:cubicBezTo>
                  <a:cubicBezTo>
                    <a:pt x="8217" y="24510"/>
                    <a:pt x="8229" y="24441"/>
                    <a:pt x="8237" y="24369"/>
                  </a:cubicBezTo>
                  <a:cubicBezTo>
                    <a:pt x="8240" y="24297"/>
                    <a:pt x="8241" y="24223"/>
                    <a:pt x="8242" y="24149"/>
                  </a:cubicBezTo>
                  <a:cubicBezTo>
                    <a:pt x="8252" y="23709"/>
                    <a:pt x="8252" y="23709"/>
                    <a:pt x="8252" y="23709"/>
                  </a:cubicBezTo>
                  <a:cubicBezTo>
                    <a:pt x="8252" y="23446"/>
                    <a:pt x="8252" y="23446"/>
                    <a:pt x="8252" y="23446"/>
                  </a:cubicBezTo>
                  <a:cubicBezTo>
                    <a:pt x="8253" y="22775"/>
                    <a:pt x="8253" y="22106"/>
                    <a:pt x="8254" y="21434"/>
                  </a:cubicBezTo>
                  <a:cubicBezTo>
                    <a:pt x="8254" y="20094"/>
                    <a:pt x="8253" y="18751"/>
                    <a:pt x="8253" y="17409"/>
                  </a:cubicBezTo>
                  <a:cubicBezTo>
                    <a:pt x="8253" y="17159"/>
                    <a:pt x="8253" y="17159"/>
                    <a:pt x="8253" y="17159"/>
                  </a:cubicBezTo>
                  <a:cubicBezTo>
                    <a:pt x="8253" y="17036"/>
                    <a:pt x="8253" y="17036"/>
                    <a:pt x="8253" y="17036"/>
                  </a:cubicBezTo>
                  <a:cubicBezTo>
                    <a:pt x="8254" y="17005"/>
                    <a:pt x="8254" y="16975"/>
                    <a:pt x="8255" y="16944"/>
                  </a:cubicBezTo>
                  <a:cubicBezTo>
                    <a:pt x="8261" y="16818"/>
                    <a:pt x="8275" y="16695"/>
                    <a:pt x="8298" y="16573"/>
                  </a:cubicBezTo>
                  <a:cubicBezTo>
                    <a:pt x="8346" y="16327"/>
                    <a:pt x="8430" y="16091"/>
                    <a:pt x="8547" y="15871"/>
                  </a:cubicBezTo>
                  <a:cubicBezTo>
                    <a:pt x="8781" y="15429"/>
                    <a:pt x="9152" y="15058"/>
                    <a:pt x="9588" y="14825"/>
                  </a:cubicBezTo>
                  <a:cubicBezTo>
                    <a:pt x="9806" y="14708"/>
                    <a:pt x="10040" y="14625"/>
                    <a:pt x="10280" y="14580"/>
                  </a:cubicBezTo>
                  <a:cubicBezTo>
                    <a:pt x="10399" y="14557"/>
                    <a:pt x="10521" y="14544"/>
                    <a:pt x="10643" y="14540"/>
                  </a:cubicBezTo>
                  <a:cubicBezTo>
                    <a:pt x="10700" y="14539"/>
                    <a:pt x="10774" y="14539"/>
                    <a:pt x="10845" y="14540"/>
                  </a:cubicBezTo>
                  <a:cubicBezTo>
                    <a:pt x="10915" y="14542"/>
                    <a:pt x="10986" y="14544"/>
                    <a:pt x="11057" y="14549"/>
                  </a:cubicBezTo>
                  <a:cubicBezTo>
                    <a:pt x="11622" y="14587"/>
                    <a:pt x="12181" y="14723"/>
                    <a:pt x="12720" y="14939"/>
                  </a:cubicBezTo>
                  <a:cubicBezTo>
                    <a:pt x="13804" y="15372"/>
                    <a:pt x="14799" y="16113"/>
                    <a:pt x="15742" y="16933"/>
                  </a:cubicBezTo>
                  <a:cubicBezTo>
                    <a:pt x="16215" y="17346"/>
                    <a:pt x="16679" y="17779"/>
                    <a:pt x="17149" y="18219"/>
                  </a:cubicBezTo>
                  <a:cubicBezTo>
                    <a:pt x="17384" y="18437"/>
                    <a:pt x="17622" y="18659"/>
                    <a:pt x="17864" y="18877"/>
                  </a:cubicBezTo>
                  <a:cubicBezTo>
                    <a:pt x="18104" y="19090"/>
                    <a:pt x="18342" y="19301"/>
                    <a:pt x="18580" y="19512"/>
                  </a:cubicBezTo>
                  <a:cubicBezTo>
                    <a:pt x="19519" y="20346"/>
                    <a:pt x="20434" y="21212"/>
                    <a:pt x="21439" y="22011"/>
                  </a:cubicBezTo>
                  <a:cubicBezTo>
                    <a:pt x="21944" y="22407"/>
                    <a:pt x="22473" y="22790"/>
                    <a:pt x="23055" y="23116"/>
                  </a:cubicBezTo>
                  <a:cubicBezTo>
                    <a:pt x="23634" y="23440"/>
                    <a:pt x="24275" y="23711"/>
                    <a:pt x="24961" y="23846"/>
                  </a:cubicBezTo>
                  <a:cubicBezTo>
                    <a:pt x="25645" y="23985"/>
                    <a:pt x="26367" y="23976"/>
                    <a:pt x="27032" y="23830"/>
                  </a:cubicBezTo>
                  <a:cubicBezTo>
                    <a:pt x="27702" y="23686"/>
                    <a:pt x="28308" y="23421"/>
                    <a:pt x="28852" y="23112"/>
                  </a:cubicBezTo>
                  <a:cubicBezTo>
                    <a:pt x="29396" y="22804"/>
                    <a:pt x="29883" y="22452"/>
                    <a:pt x="30339" y="22092"/>
                  </a:cubicBezTo>
                  <a:cubicBezTo>
                    <a:pt x="30793" y="21731"/>
                    <a:pt x="31217" y="21361"/>
                    <a:pt x="31626" y="20994"/>
                  </a:cubicBezTo>
                  <a:cubicBezTo>
                    <a:pt x="32034" y="20626"/>
                    <a:pt x="32426" y="20262"/>
                    <a:pt x="32811" y="19905"/>
                  </a:cubicBezTo>
                  <a:cubicBezTo>
                    <a:pt x="33002" y="19728"/>
                    <a:pt x="33193" y="19553"/>
                    <a:pt x="33382" y="19378"/>
                  </a:cubicBezTo>
                  <a:cubicBezTo>
                    <a:pt x="33574" y="19205"/>
                    <a:pt x="33765" y="19030"/>
                    <a:pt x="33954" y="18859"/>
                  </a:cubicBezTo>
                  <a:cubicBezTo>
                    <a:pt x="34720" y="18152"/>
                    <a:pt x="35408" y="17460"/>
                    <a:pt x="36096" y="16843"/>
                  </a:cubicBezTo>
                  <a:cubicBezTo>
                    <a:pt x="36740" y="16264"/>
                    <a:pt x="37383" y="15749"/>
                    <a:pt x="38041" y="15336"/>
                  </a:cubicBezTo>
                  <a:cubicBezTo>
                    <a:pt x="38697" y="14923"/>
                    <a:pt x="39367" y="14620"/>
                    <a:pt x="40031" y="14454"/>
                  </a:cubicBezTo>
                  <a:cubicBezTo>
                    <a:pt x="40358" y="14371"/>
                    <a:pt x="40681" y="14320"/>
                    <a:pt x="40998" y="14299"/>
                  </a:cubicBezTo>
                  <a:cubicBezTo>
                    <a:pt x="41077" y="14295"/>
                    <a:pt x="41155" y="14290"/>
                    <a:pt x="41234" y="14288"/>
                  </a:cubicBezTo>
                  <a:cubicBezTo>
                    <a:pt x="41309" y="14288"/>
                    <a:pt x="41376" y="14288"/>
                    <a:pt x="41447" y="14292"/>
                  </a:cubicBezTo>
                  <a:cubicBezTo>
                    <a:pt x="41586" y="14299"/>
                    <a:pt x="41724" y="14319"/>
                    <a:pt x="41859" y="14346"/>
                  </a:cubicBezTo>
                  <a:cubicBezTo>
                    <a:pt x="42394" y="14461"/>
                    <a:pt x="42865" y="14737"/>
                    <a:pt x="43221" y="15092"/>
                  </a:cubicBezTo>
                  <a:cubicBezTo>
                    <a:pt x="43579" y="15446"/>
                    <a:pt x="43825" y="15877"/>
                    <a:pt x="43955" y="16317"/>
                  </a:cubicBezTo>
                  <a:cubicBezTo>
                    <a:pt x="44020" y="16536"/>
                    <a:pt x="44057" y="16762"/>
                    <a:pt x="44068" y="16982"/>
                  </a:cubicBezTo>
                  <a:cubicBezTo>
                    <a:pt x="44074" y="17238"/>
                    <a:pt x="44081" y="17489"/>
                    <a:pt x="44087" y="17737"/>
                  </a:cubicBezTo>
                  <a:cubicBezTo>
                    <a:pt x="44114" y="18733"/>
                    <a:pt x="44138" y="19658"/>
                    <a:pt x="44161" y="20559"/>
                  </a:cubicBezTo>
                  <a:cubicBezTo>
                    <a:pt x="44167" y="20783"/>
                    <a:pt x="44174" y="21006"/>
                    <a:pt x="44179" y="21228"/>
                  </a:cubicBezTo>
                  <a:cubicBezTo>
                    <a:pt x="44181" y="21279"/>
                    <a:pt x="44183" y="21351"/>
                    <a:pt x="44188" y="21412"/>
                  </a:cubicBezTo>
                  <a:cubicBezTo>
                    <a:pt x="44192" y="21475"/>
                    <a:pt x="44199" y="21540"/>
                    <a:pt x="44208" y="21603"/>
                  </a:cubicBezTo>
                  <a:cubicBezTo>
                    <a:pt x="44226" y="21729"/>
                    <a:pt x="44251" y="21854"/>
                    <a:pt x="44286" y="21975"/>
                  </a:cubicBezTo>
                  <a:cubicBezTo>
                    <a:pt x="44421" y="22461"/>
                    <a:pt x="44673" y="22894"/>
                    <a:pt x="44984" y="23266"/>
                  </a:cubicBezTo>
                  <a:cubicBezTo>
                    <a:pt x="45504" y="23884"/>
                    <a:pt x="46224" y="24380"/>
                    <a:pt x="47027" y="24697"/>
                  </a:cubicBezTo>
                  <a:cubicBezTo>
                    <a:pt x="47430" y="24856"/>
                    <a:pt x="47855" y="24969"/>
                    <a:pt x="48288" y="25022"/>
                  </a:cubicBezTo>
                  <a:cubicBezTo>
                    <a:pt x="48505" y="25047"/>
                    <a:pt x="48728" y="25056"/>
                    <a:pt x="48940" y="25049"/>
                  </a:cubicBezTo>
                  <a:cubicBezTo>
                    <a:pt x="49147" y="25043"/>
                    <a:pt x="49351" y="25036"/>
                    <a:pt x="49556" y="25025"/>
                  </a:cubicBezTo>
                  <a:cubicBezTo>
                    <a:pt x="49657" y="25020"/>
                    <a:pt x="49759" y="25014"/>
                    <a:pt x="49861" y="25009"/>
                  </a:cubicBezTo>
                  <a:cubicBezTo>
                    <a:pt x="49965" y="25000"/>
                    <a:pt x="50070" y="24993"/>
                    <a:pt x="50174" y="24986"/>
                  </a:cubicBezTo>
                  <a:cubicBezTo>
                    <a:pt x="50405" y="24964"/>
                    <a:pt x="50636" y="24939"/>
                    <a:pt x="50841" y="24879"/>
                  </a:cubicBezTo>
                  <a:cubicBezTo>
                    <a:pt x="50892" y="24863"/>
                    <a:pt x="50942" y="24845"/>
                    <a:pt x="50989" y="24822"/>
                  </a:cubicBezTo>
                  <a:cubicBezTo>
                    <a:pt x="51036" y="24798"/>
                    <a:pt x="51079" y="24764"/>
                    <a:pt x="51117" y="24726"/>
                  </a:cubicBezTo>
                  <a:cubicBezTo>
                    <a:pt x="51193" y="24650"/>
                    <a:pt x="51237" y="24549"/>
                    <a:pt x="51260" y="24450"/>
                  </a:cubicBezTo>
                  <a:cubicBezTo>
                    <a:pt x="51304" y="24248"/>
                    <a:pt x="51285" y="24035"/>
                    <a:pt x="51284" y="23835"/>
                  </a:cubicBezTo>
                  <a:cubicBezTo>
                    <a:pt x="51281" y="23742"/>
                    <a:pt x="51280" y="23648"/>
                    <a:pt x="51278" y="2355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40">
              <a:extLst>
                <a:ext uri="{FF2B5EF4-FFF2-40B4-BE49-F238E27FC236}">
                  <a16:creationId xmlns:a16="http://schemas.microsoft.com/office/drawing/2014/main" id="{F58EEFB3-0B39-4C09-86BE-AF78B1BDC3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38 w 46525"/>
                <a:gd name="T3" fmla="*/ 21302 h 25428"/>
                <a:gd name="T4" fmla="*/ 44248 w 46525"/>
                <a:gd name="T5" fmla="*/ 18713 h 25428"/>
                <a:gd name="T6" fmla="*/ 44198 w 46525"/>
                <a:gd name="T7" fmla="*/ 16820 h 25428"/>
                <a:gd name="T8" fmla="*/ 43209 w 46525"/>
                <a:gd name="T9" fmla="*/ 14732 h 25428"/>
                <a:gd name="T10" fmla="*/ 41000 w 46525"/>
                <a:gd name="T11" fmla="*/ 13928 h 25428"/>
                <a:gd name="T12" fmla="*/ 36673 w 46525"/>
                <a:gd name="T13" fmla="*/ 15821 h 25428"/>
                <a:gd name="T14" fmla="*/ 31594 w 46525"/>
                <a:gd name="T15" fmla="*/ 20500 h 25428"/>
                <a:gd name="T16" fmla="*/ 27186 w 46525"/>
                <a:gd name="T17" fmla="*/ 23435 h 25428"/>
                <a:gd name="T18" fmla="*/ 22870 w 46525"/>
                <a:gd name="T19" fmla="*/ 22741 h 25428"/>
                <a:gd name="T20" fmla="*/ 18427 w 46525"/>
                <a:gd name="T21" fmla="*/ 19131 h 25428"/>
                <a:gd name="T22" fmla="*/ 15190 w 46525"/>
                <a:gd name="T23" fmla="*/ 16239 h 25428"/>
                <a:gd name="T24" fmla="*/ 10883 w 46525"/>
                <a:gd name="T25" fmla="*/ 14279 h 25428"/>
                <a:gd name="T26" fmla="*/ 9150 w 46525"/>
                <a:gd name="T27" fmla="*/ 14730 h 25428"/>
                <a:gd name="T28" fmla="*/ 7993 w 46525"/>
                <a:gd name="T29" fmla="*/ 16935 h 25428"/>
                <a:gd name="T30" fmla="*/ 7995 w 46525"/>
                <a:gd name="T31" fmla="*/ 18300 h 25428"/>
                <a:gd name="T32" fmla="*/ 8002 w 46525"/>
                <a:gd name="T33" fmla="*/ 23415 h 25428"/>
                <a:gd name="T34" fmla="*/ 8001 w 46525"/>
                <a:gd name="T35" fmla="*/ 23646 h 25428"/>
                <a:gd name="T36" fmla="*/ 7908 w 46525"/>
                <a:gd name="T37" fmla="*/ 24587 h 25428"/>
                <a:gd name="T38" fmla="*/ 6120 w 46525"/>
                <a:gd name="T39" fmla="*/ 25410 h 25428"/>
                <a:gd name="T40" fmla="*/ 5092 w 46525"/>
                <a:gd name="T41" fmla="*/ 25428 h 25428"/>
                <a:gd name="T42" fmla="*/ 3723 w 46525"/>
                <a:gd name="T43" fmla="*/ 25264 h 25428"/>
                <a:gd name="T44" fmla="*/ 232 w 46525"/>
                <a:gd name="T45" fmla="*/ 22380 h 25428"/>
                <a:gd name="T46" fmla="*/ 0 w 46525"/>
                <a:gd name="T47" fmla="*/ 21138 h 25428"/>
                <a:gd name="T48" fmla="*/ 3 w 46525"/>
                <a:gd name="T49" fmla="*/ 19732 h 25428"/>
                <a:gd name="T50" fmla="*/ 1172 w 46525"/>
                <a:gd name="T51" fmla="*/ 0 h 25428"/>
                <a:gd name="T52" fmla="*/ 6138 w 46525"/>
                <a:gd name="T53" fmla="*/ 40 h 25428"/>
                <a:gd name="T54" fmla="*/ 7478 w 46525"/>
                <a:gd name="T55" fmla="*/ 250 h 25428"/>
                <a:gd name="T56" fmla="*/ 10550 w 46525"/>
                <a:gd name="T57" fmla="*/ 1974 h 25428"/>
                <a:gd name="T58" fmla="*/ 12103 w 46525"/>
                <a:gd name="T59" fmla="*/ 3460 h 25428"/>
                <a:gd name="T60" fmla="*/ 15899 w 46525"/>
                <a:gd name="T61" fmla="*/ 7099 h 25428"/>
                <a:gd name="T62" fmla="*/ 16518 w 46525"/>
                <a:gd name="T63" fmla="*/ 7699 h 25428"/>
                <a:gd name="T64" fmla="*/ 24413 w 46525"/>
                <a:gd name="T65" fmla="*/ 11240 h 25428"/>
                <a:gd name="T66" fmla="*/ 33252 w 46525"/>
                <a:gd name="T67" fmla="*/ 9663 h 25428"/>
                <a:gd name="T68" fmla="*/ 31776 w 46525"/>
                <a:gd name="T69" fmla="*/ 10761 h 25428"/>
                <a:gd name="T70" fmla="*/ 24737 w 46525"/>
                <a:gd name="T71" fmla="*/ 12098 h 25428"/>
                <a:gd name="T72" fmla="*/ 15373 w 46525"/>
                <a:gd name="T73" fmla="*/ 8037 h 25428"/>
                <a:gd name="T74" fmla="*/ 15133 w 46525"/>
                <a:gd name="T75" fmla="*/ 7811 h 25428"/>
                <a:gd name="T76" fmla="*/ 11552 w 46525"/>
                <a:gd name="T77" fmla="*/ 4476 h 25428"/>
                <a:gd name="T78" fmla="*/ 9726 w 46525"/>
                <a:gd name="T79" fmla="*/ 2773 h 25428"/>
                <a:gd name="T80" fmla="*/ 9481 w 46525"/>
                <a:gd name="T81" fmla="*/ 2558 h 25428"/>
                <a:gd name="T82" fmla="*/ 4383 w 46525"/>
                <a:gd name="T83" fmla="*/ 1236 h 25428"/>
                <a:gd name="T84" fmla="*/ 1401 w 46525"/>
                <a:gd name="T85" fmla="*/ 19072 h 25428"/>
                <a:gd name="T86" fmla="*/ 1408 w 46525"/>
                <a:gd name="T87" fmla="*/ 21014 h 25428"/>
                <a:gd name="T88" fmla="*/ 2150 w 46525"/>
                <a:gd name="T89" fmla="*/ 22770 h 25428"/>
                <a:gd name="T90" fmla="*/ 4852 w 46525"/>
                <a:gd name="T91" fmla="*/ 23987 h 25428"/>
                <a:gd name="T92" fmla="*/ 5638 w 46525"/>
                <a:gd name="T93" fmla="*/ 23980 h 25428"/>
                <a:gd name="T94" fmla="*/ 6271 w 46525"/>
                <a:gd name="T95" fmla="*/ 23951 h 25428"/>
                <a:gd name="T96" fmla="*/ 6527 w 46525"/>
                <a:gd name="T97" fmla="*/ 23854 h 25428"/>
                <a:gd name="T98" fmla="*/ 6511 w 46525"/>
                <a:gd name="T99" fmla="*/ 17404 h 25428"/>
                <a:gd name="T100" fmla="*/ 7014 w 46525"/>
                <a:gd name="T101" fmla="*/ 14932 h 25428"/>
                <a:gd name="T102" fmla="*/ 10633 w 46525"/>
                <a:gd name="T103" fmla="*/ 12779 h 25428"/>
                <a:gd name="T104" fmla="*/ 13931 w 46525"/>
                <a:gd name="T105" fmla="*/ 13628 h 25428"/>
                <a:gd name="T106" fmla="*/ 18455 w 46525"/>
                <a:gd name="T107" fmla="*/ 17222 h 25428"/>
                <a:gd name="T108" fmla="*/ 20887 w 46525"/>
                <a:gd name="T109" fmla="*/ 19441 h 25428"/>
                <a:gd name="T110" fmla="*/ 25829 w 46525"/>
                <a:gd name="T111" fmla="*/ 22317 h 25428"/>
                <a:gd name="T112" fmla="*/ 30470 w 46525"/>
                <a:gd name="T113" fmla="*/ 19910 h 25428"/>
                <a:gd name="T114" fmla="*/ 32789 w 46525"/>
                <a:gd name="T115" fmla="*/ 17876 h 25428"/>
                <a:gd name="T116" fmla="*/ 37500 w 46525"/>
                <a:gd name="T117" fmla="*/ 14056 h 25428"/>
                <a:gd name="T118" fmla="*/ 43119 w 46525"/>
                <a:gd name="T119" fmla="*/ 13639 h 25428"/>
                <a:gd name="T120" fmla="*/ 44875 w 46525"/>
                <a:gd name="T121" fmla="*/ 19688 h 25428"/>
                <a:gd name="T122" fmla="*/ 44856 w 46525"/>
                <a:gd name="T123" fmla="*/ 21421 h 25428"/>
                <a:gd name="T124" fmla="*/ 46280 w 46525"/>
                <a:gd name="T125" fmla="*/ 23599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525" h="25428">
                  <a:moveTo>
                    <a:pt x="46364" y="23837"/>
                  </a:move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497"/>
                    <a:pt x="93" y="1070"/>
                  </a:cubicBezTo>
                  <a:cubicBezTo>
                    <a:pt x="93" y="643"/>
                    <a:pt x="258" y="0"/>
                    <a:pt x="1172" y="0"/>
                  </a:cubicBezTo>
                  <a:cubicBezTo>
                    <a:pt x="2081" y="0"/>
                    <a:pt x="3400" y="13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2017" y="1245"/>
                    <a:pt x="1688" y="1245"/>
                  </a:cubicBezTo>
                  <a:cubicBezTo>
                    <a:pt x="1360" y="1245"/>
                    <a:pt x="1347" y="1468"/>
                    <a:pt x="1347" y="1590"/>
                  </a:cubicBezTo>
                  <a:cubicBezTo>
                    <a:pt x="1347" y="1712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ubicBezTo>
                    <a:pt x="46525" y="23872"/>
                    <a:pt x="46476" y="23875"/>
                    <a:pt x="46364" y="2383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41">
              <a:extLst>
                <a:ext uri="{FF2B5EF4-FFF2-40B4-BE49-F238E27FC236}">
                  <a16:creationId xmlns:a16="http://schemas.microsoft.com/office/drawing/2014/main" id="{EAA539C0-5C51-45B7-B5BD-8A8867B5C7F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7 w 36820"/>
                <a:gd name="T29" fmla="*/ 1406 h 25129"/>
                <a:gd name="T30" fmla="*/ 4890 w 36820"/>
                <a:gd name="T31" fmla="*/ 979 h 25129"/>
                <a:gd name="T32" fmla="*/ 6055 w 36820"/>
                <a:gd name="T33" fmla="*/ 990 h 25129"/>
                <a:gd name="T34" fmla="*/ 9525 w 36820"/>
                <a:gd name="T35" fmla="*/ 2439 h 25129"/>
                <a:gd name="T36" fmla="*/ 14951 w 36820"/>
                <a:gd name="T37" fmla="*/ 7491 h 25129"/>
                <a:gd name="T38" fmla="*/ 15349 w 36820"/>
                <a:gd name="T39" fmla="*/ 7866 h 25129"/>
                <a:gd name="T40" fmla="*/ 19828 w 36820"/>
                <a:gd name="T41" fmla="*/ 10768 h 25129"/>
                <a:gd name="T42" fmla="*/ 25667 w 36820"/>
                <a:gd name="T43" fmla="*/ 11755 h 25129"/>
                <a:gd name="T44" fmla="*/ 27175 w 36820"/>
                <a:gd name="T45" fmla="*/ 11422 h 25129"/>
                <a:gd name="T46" fmla="*/ 19925 w 36820"/>
                <a:gd name="T47" fmla="*/ 10078 h 25129"/>
                <a:gd name="T48" fmla="*/ 15813 w 36820"/>
                <a:gd name="T49" fmla="*/ 7218 h 25129"/>
                <a:gd name="T50" fmla="*/ 12067 w 36820"/>
                <a:gd name="T51" fmla="*/ 3623 h 25129"/>
                <a:gd name="T52" fmla="*/ 9771 w 36820"/>
                <a:gd name="T53" fmla="*/ 1472 h 25129"/>
                <a:gd name="T54" fmla="*/ 5986 w 36820"/>
                <a:gd name="T55" fmla="*/ 39 h 25129"/>
                <a:gd name="T56" fmla="*/ 5400 w 36820"/>
                <a:gd name="T57" fmla="*/ 27 h 25129"/>
                <a:gd name="T58" fmla="*/ 71 w 36820"/>
                <a:gd name="T59" fmla="*/ 993 h 25129"/>
                <a:gd name="T60" fmla="*/ 1 w 36820"/>
                <a:gd name="T61" fmla="*/ 20107 h 25129"/>
                <a:gd name="T62" fmla="*/ 32 w 36820"/>
                <a:gd name="T63" fmla="*/ 21470 h 25129"/>
                <a:gd name="T64" fmla="*/ 2779 w 36820"/>
                <a:gd name="T65" fmla="*/ 24682 h 25129"/>
                <a:gd name="T66" fmla="*/ 4684 w 36820"/>
                <a:gd name="T67" fmla="*/ 25127 h 25129"/>
                <a:gd name="T68" fmla="*/ 5826 w 36820"/>
                <a:gd name="T69" fmla="*/ 25114 h 25129"/>
                <a:gd name="T70" fmla="*/ 7084 w 36820"/>
                <a:gd name="T71" fmla="*/ 24932 h 25129"/>
                <a:gd name="T72" fmla="*/ 7660 w 36820"/>
                <a:gd name="T73" fmla="*/ 24067 h 25129"/>
                <a:gd name="T74" fmla="*/ 7660 w 36820"/>
                <a:gd name="T75" fmla="*/ 18425 h 25129"/>
                <a:gd name="T76" fmla="*/ 7731 w 36820"/>
                <a:gd name="T77" fmla="*/ 16128 h 25129"/>
                <a:gd name="T78" fmla="*/ 10204 w 36820"/>
                <a:gd name="T79" fmla="*/ 13959 h 25129"/>
                <a:gd name="T80" fmla="*/ 12766 w 36820"/>
                <a:gd name="T81" fmla="*/ 14442 h 25129"/>
                <a:gd name="T82" fmla="*/ 17826 w 36820"/>
                <a:gd name="T83" fmla="*/ 18324 h 25129"/>
                <a:gd name="T84" fmla="*/ 22447 w 36820"/>
                <a:gd name="T85" fmla="*/ 22172 h 25129"/>
                <a:gd name="T86" fmla="*/ 27714 w 36820"/>
                <a:gd name="T87" fmla="*/ 22778 h 25129"/>
                <a:gd name="T88" fmla="*/ 32962 w 36820"/>
                <a:gd name="T89" fmla="*/ 18513 h 25129"/>
                <a:gd name="T90" fmla="*/ 36667 w 36820"/>
                <a:gd name="T91" fmla="*/ 14875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2" y="10331"/>
                    <a:pt x="1067" y="1568"/>
                    <a:pt x="1067" y="1406"/>
                  </a:cubicBezTo>
                  <a:cubicBezTo>
                    <a:pt x="1067" y="1081"/>
                    <a:pt x="1164" y="988"/>
                    <a:pt x="1480" y="988"/>
                  </a:cubicBezTo>
                  <a:cubicBezTo>
                    <a:pt x="193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1826" y="0"/>
                    <a:pt x="1071" y="0"/>
                  </a:cubicBezTo>
                  <a:cubicBezTo>
                    <a:pt x="316" y="0"/>
                    <a:pt x="71" y="462"/>
                    <a:pt x="71" y="993"/>
                  </a:cubicBezTo>
                  <a:cubicBezTo>
                    <a:pt x="71" y="148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FFD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42">
              <a:extLst>
                <a:ext uri="{FF2B5EF4-FFF2-40B4-BE49-F238E27FC236}">
                  <a16:creationId xmlns:a16="http://schemas.microsoft.com/office/drawing/2014/main" id="{39D52198-F5D4-4A57-95FF-950261A8EA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503 w 20899"/>
                <a:gd name="T1" fmla="*/ 18446 h 24816"/>
                <a:gd name="T2" fmla="*/ 15976 w 20899"/>
                <a:gd name="T3" fmla="*/ 16248 h 24816"/>
                <a:gd name="T4" fmla="*/ 12171 w 20899"/>
                <a:gd name="T5" fmla="*/ 13872 h 24816"/>
                <a:gd name="T6" fmla="*/ 10285 w 20899"/>
                <a:gd name="T7" fmla="*/ 13576 h 24816"/>
                <a:gd name="T8" fmla="*/ 8479 w 20899"/>
                <a:gd name="T9" fmla="*/ 14214 h 24816"/>
                <a:gd name="T10" fmla="*/ 7287 w 20899"/>
                <a:gd name="T11" fmla="*/ 16594 h 24816"/>
                <a:gd name="T12" fmla="*/ 7321 w 20899"/>
                <a:gd name="T13" fmla="*/ 21479 h 24816"/>
                <a:gd name="T14" fmla="*/ 7331 w 20899"/>
                <a:gd name="T15" fmla="*/ 23294 h 24816"/>
                <a:gd name="T16" fmla="*/ 7327 w 20899"/>
                <a:gd name="T17" fmla="*/ 23725 h 24816"/>
                <a:gd name="T18" fmla="*/ 6843 w 20899"/>
                <a:gd name="T19" fmla="*/ 24634 h 24816"/>
                <a:gd name="T20" fmla="*/ 5998 w 20899"/>
                <a:gd name="T21" fmla="*/ 24782 h 24816"/>
                <a:gd name="T22" fmla="*/ 5305 w 20899"/>
                <a:gd name="T23" fmla="*/ 24811 h 24816"/>
                <a:gd name="T24" fmla="*/ 4633 w 20899"/>
                <a:gd name="T25" fmla="*/ 24816 h 24816"/>
                <a:gd name="T26" fmla="*/ 2519 w 20899"/>
                <a:gd name="T27" fmla="*/ 24311 h 24816"/>
                <a:gd name="T28" fmla="*/ 364 w 20899"/>
                <a:gd name="T29" fmla="*/ 22315 h 24816"/>
                <a:gd name="T30" fmla="*/ 12 w 20899"/>
                <a:gd name="T31" fmla="*/ 21057 h 24816"/>
                <a:gd name="T32" fmla="*/ 6 w 20899"/>
                <a:gd name="T33" fmla="*/ 20803 h 24816"/>
                <a:gd name="T34" fmla="*/ 4 w 20899"/>
                <a:gd name="T35" fmla="*/ 19416 h 24816"/>
                <a:gd name="T36" fmla="*/ 39 w 20899"/>
                <a:gd name="T37" fmla="*/ 2693 h 24816"/>
                <a:gd name="T38" fmla="*/ 969 w 20899"/>
                <a:gd name="T39" fmla="*/ 0 h 24816"/>
                <a:gd name="T40" fmla="*/ 4865 w 20899"/>
                <a:gd name="T41" fmla="*/ 22 h 24816"/>
                <a:gd name="T42" fmla="*/ 5488 w 20899"/>
                <a:gd name="T43" fmla="*/ 27 h 24816"/>
                <a:gd name="T44" fmla="*/ 5702 w 20899"/>
                <a:gd name="T45" fmla="*/ 30 h 24816"/>
                <a:gd name="T46" fmla="*/ 8881 w 20899"/>
                <a:gd name="T47" fmla="*/ 990 h 24816"/>
                <a:gd name="T48" fmla="*/ 10126 w 20899"/>
                <a:gd name="T49" fmla="*/ 1964 h 24816"/>
                <a:gd name="T50" fmla="*/ 14916 w 20899"/>
                <a:gd name="T51" fmla="*/ 6565 h 24816"/>
                <a:gd name="T52" fmla="*/ 15519 w 20899"/>
                <a:gd name="T53" fmla="*/ 7149 h 24816"/>
                <a:gd name="T54" fmla="*/ 17174 w 20899"/>
                <a:gd name="T55" fmla="*/ 8604 h 24816"/>
                <a:gd name="T56" fmla="*/ 20445 w 20899"/>
                <a:gd name="T57" fmla="*/ 10489 h 24816"/>
                <a:gd name="T58" fmla="*/ 20309 w 20899"/>
                <a:gd name="T59" fmla="*/ 10584 h 24816"/>
                <a:gd name="T60" fmla="*/ 18552 w 20899"/>
                <a:gd name="T61" fmla="*/ 9919 h 24816"/>
                <a:gd name="T62" fmla="*/ 15458 w 20899"/>
                <a:gd name="T63" fmla="*/ 7802 h 24816"/>
                <a:gd name="T64" fmla="*/ 15171 w 20899"/>
                <a:gd name="T65" fmla="*/ 7529 h 24816"/>
                <a:gd name="T66" fmla="*/ 15000 w 20899"/>
                <a:gd name="T67" fmla="*/ 7373 h 24816"/>
                <a:gd name="T68" fmla="*/ 13487 w 20899"/>
                <a:gd name="T69" fmla="*/ 5972 h 24816"/>
                <a:gd name="T70" fmla="*/ 9619 w 20899"/>
                <a:gd name="T71" fmla="*/ 2367 h 24816"/>
                <a:gd name="T72" fmla="*/ 6604 w 20899"/>
                <a:gd name="T73" fmla="*/ 823 h 24816"/>
                <a:gd name="T74" fmla="*/ 5295 w 20899"/>
                <a:gd name="T75" fmla="*/ 720 h 24816"/>
                <a:gd name="T76" fmla="*/ 1271 w 20899"/>
                <a:gd name="T77" fmla="*/ 729 h 24816"/>
                <a:gd name="T78" fmla="*/ 810 w 20899"/>
                <a:gd name="T79" fmla="*/ 10472 h 24816"/>
                <a:gd name="T80" fmla="*/ 869 w 20899"/>
                <a:gd name="T81" fmla="*/ 20931 h 24816"/>
                <a:gd name="T82" fmla="*/ 2799 w 20899"/>
                <a:gd name="T83" fmla="*/ 23486 h 24816"/>
                <a:gd name="T84" fmla="*/ 4472 w 20899"/>
                <a:gd name="T85" fmla="*/ 23956 h 24816"/>
                <a:gd name="T86" fmla="*/ 4774 w 20899"/>
                <a:gd name="T87" fmla="*/ 23960 h 24816"/>
                <a:gd name="T88" fmla="*/ 5730 w 20899"/>
                <a:gd name="T89" fmla="*/ 23945 h 24816"/>
                <a:gd name="T90" fmla="*/ 5979 w 20899"/>
                <a:gd name="T91" fmla="*/ 23933 h 24816"/>
                <a:gd name="T92" fmla="*/ 6349 w 20899"/>
                <a:gd name="T93" fmla="*/ 23873 h 24816"/>
                <a:gd name="T94" fmla="*/ 6495 w 20899"/>
                <a:gd name="T95" fmla="*/ 23550 h 24816"/>
                <a:gd name="T96" fmla="*/ 6526 w 20899"/>
                <a:gd name="T97" fmla="*/ 18358 h 24816"/>
                <a:gd name="T98" fmla="*/ 6538 w 20899"/>
                <a:gd name="T99" fmla="*/ 16843 h 24816"/>
                <a:gd name="T100" fmla="*/ 6544 w 20899"/>
                <a:gd name="T101" fmla="*/ 16529 h 24816"/>
                <a:gd name="T102" fmla="*/ 7957 w 20899"/>
                <a:gd name="T103" fmla="*/ 13747 h 24816"/>
                <a:gd name="T104" fmla="*/ 9723 w 20899"/>
                <a:gd name="T105" fmla="*/ 12968 h 24816"/>
                <a:gd name="T106" fmla="*/ 12823 w 20899"/>
                <a:gd name="T107" fmla="*/ 13479 h 24816"/>
                <a:gd name="T108" fmla="*/ 16704 w 20899"/>
                <a:gd name="T109" fmla="*/ 16252 h 24816"/>
                <a:gd name="T110" fmla="*/ 18726 w 20899"/>
                <a:gd name="T111" fmla="*/ 18165 h 24816"/>
                <a:gd name="T112" fmla="*/ 20529 w 20899"/>
                <a:gd name="T113" fmla="*/ 1988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899" h="24816">
                  <a:moveTo>
                    <a:pt x="19639" y="19376"/>
                  </a:moveTo>
                  <a:cubicBezTo>
                    <a:pt x="19326" y="19126"/>
                    <a:pt x="19023" y="18881"/>
                    <a:pt x="18503" y="18446"/>
                  </a:cubicBezTo>
                  <a:cubicBezTo>
                    <a:pt x="18164" y="18167"/>
                    <a:pt x="17774" y="17842"/>
                    <a:pt x="17357" y="17469"/>
                  </a:cubicBezTo>
                  <a:cubicBezTo>
                    <a:pt x="16937" y="17097"/>
                    <a:pt x="16481" y="16683"/>
                    <a:pt x="15976" y="16248"/>
                  </a:cubicBezTo>
                  <a:cubicBezTo>
                    <a:pt x="15471" y="15817"/>
                    <a:pt x="14916" y="15365"/>
                    <a:pt x="14288" y="14941"/>
                  </a:cubicBezTo>
                  <a:cubicBezTo>
                    <a:pt x="13662" y="14521"/>
                    <a:pt x="12959" y="14129"/>
                    <a:pt x="12171" y="13872"/>
                  </a:cubicBezTo>
                  <a:cubicBezTo>
                    <a:pt x="11777" y="13744"/>
                    <a:pt x="11364" y="13652"/>
                    <a:pt x="10936" y="13607"/>
                  </a:cubicBezTo>
                  <a:cubicBezTo>
                    <a:pt x="10722" y="13585"/>
                    <a:pt x="10504" y="13574"/>
                    <a:pt x="10285" y="13576"/>
                  </a:cubicBezTo>
                  <a:cubicBezTo>
                    <a:pt x="10074" y="13579"/>
                    <a:pt x="9862" y="13603"/>
                    <a:pt x="9653" y="13652"/>
                  </a:cubicBezTo>
                  <a:cubicBezTo>
                    <a:pt x="9235" y="13747"/>
                    <a:pt x="8830" y="13938"/>
                    <a:pt x="8479" y="14214"/>
                  </a:cubicBezTo>
                  <a:cubicBezTo>
                    <a:pt x="8128" y="14486"/>
                    <a:pt x="7829" y="14842"/>
                    <a:pt x="7621" y="15253"/>
                  </a:cubicBezTo>
                  <a:cubicBezTo>
                    <a:pt x="7411" y="15660"/>
                    <a:pt x="7293" y="16122"/>
                    <a:pt x="7287" y="16594"/>
                  </a:cubicBezTo>
                  <a:cubicBezTo>
                    <a:pt x="7291" y="17114"/>
                    <a:pt x="7295" y="17642"/>
                    <a:pt x="7299" y="18175"/>
                  </a:cubicBezTo>
                  <a:cubicBezTo>
                    <a:pt x="7306" y="19250"/>
                    <a:pt x="7313" y="20354"/>
                    <a:pt x="7321" y="21479"/>
                  </a:cubicBezTo>
                  <a:cubicBezTo>
                    <a:pt x="7324" y="22041"/>
                    <a:pt x="7327" y="22611"/>
                    <a:pt x="7330" y="23186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27" y="23725"/>
                    <a:pt x="7327" y="23725"/>
                    <a:pt x="7327" y="23725"/>
                  </a:cubicBezTo>
                  <a:cubicBezTo>
                    <a:pt x="7327" y="23918"/>
                    <a:pt x="7306" y="24099"/>
                    <a:pt x="7234" y="24266"/>
                  </a:cubicBezTo>
                  <a:cubicBezTo>
                    <a:pt x="7164" y="24436"/>
                    <a:pt x="7012" y="24575"/>
                    <a:pt x="6843" y="24634"/>
                  </a:cubicBezTo>
                  <a:cubicBezTo>
                    <a:pt x="6675" y="24703"/>
                    <a:pt x="6485" y="24735"/>
                    <a:pt x="6291" y="24757"/>
                  </a:cubicBezTo>
                  <a:cubicBezTo>
                    <a:pt x="6194" y="24768"/>
                    <a:pt x="6096" y="24777"/>
                    <a:pt x="5998" y="24782"/>
                  </a:cubicBezTo>
                  <a:cubicBezTo>
                    <a:pt x="5756" y="24796"/>
                    <a:pt x="5756" y="24796"/>
                    <a:pt x="5756" y="24796"/>
                  </a:cubicBezTo>
                  <a:cubicBezTo>
                    <a:pt x="5605" y="24804"/>
                    <a:pt x="5455" y="24807"/>
                    <a:pt x="5305" y="24811"/>
                  </a:cubicBezTo>
                  <a:cubicBezTo>
                    <a:pt x="5156" y="24813"/>
                    <a:pt x="5006" y="24814"/>
                    <a:pt x="4856" y="24816"/>
                  </a:cubicBezTo>
                  <a:cubicBezTo>
                    <a:pt x="4633" y="24816"/>
                    <a:pt x="4633" y="24816"/>
                    <a:pt x="4633" y="24816"/>
                  </a:cubicBezTo>
                  <a:cubicBezTo>
                    <a:pt x="4551" y="24816"/>
                    <a:pt x="4469" y="24816"/>
                    <a:pt x="4388" y="24811"/>
                  </a:cubicBezTo>
                  <a:cubicBezTo>
                    <a:pt x="3734" y="24773"/>
                    <a:pt x="3103" y="24591"/>
                    <a:pt x="2519" y="24311"/>
                  </a:cubicBezTo>
                  <a:cubicBezTo>
                    <a:pt x="1935" y="24028"/>
                    <a:pt x="1393" y="23644"/>
                    <a:pt x="944" y="23148"/>
                  </a:cubicBezTo>
                  <a:cubicBezTo>
                    <a:pt x="721" y="22900"/>
                    <a:pt x="521" y="22622"/>
                    <a:pt x="364" y="22315"/>
                  </a:cubicBezTo>
                  <a:cubicBezTo>
                    <a:pt x="206" y="22009"/>
                    <a:pt x="91" y="21673"/>
                    <a:pt x="38" y="21322"/>
                  </a:cubicBezTo>
                  <a:cubicBezTo>
                    <a:pt x="26" y="21233"/>
                    <a:pt x="16" y="21145"/>
                    <a:pt x="12" y="21057"/>
                  </a:cubicBezTo>
                  <a:cubicBezTo>
                    <a:pt x="8" y="21012"/>
                    <a:pt x="7" y="20967"/>
                    <a:pt x="6" y="20923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5" y="20341"/>
                    <a:pt x="5" y="20341"/>
                    <a:pt x="5" y="20341"/>
                  </a:cubicBezTo>
                  <a:cubicBezTo>
                    <a:pt x="5" y="20033"/>
                    <a:pt x="5" y="19724"/>
                    <a:pt x="4" y="19416"/>
                  </a:cubicBezTo>
                  <a:cubicBezTo>
                    <a:pt x="3" y="18796"/>
                    <a:pt x="3" y="18177"/>
                    <a:pt x="2" y="17555"/>
                  </a:cubicBezTo>
                  <a:cubicBezTo>
                    <a:pt x="0" y="12582"/>
                    <a:pt x="12" y="7527"/>
                    <a:pt x="39" y="2693"/>
                  </a:cubicBezTo>
                  <a:cubicBezTo>
                    <a:pt x="42" y="2101"/>
                    <a:pt x="47" y="1358"/>
                    <a:pt x="47" y="915"/>
                  </a:cubicBezTo>
                  <a:cubicBezTo>
                    <a:pt x="47" y="472"/>
                    <a:pt x="318" y="0"/>
                    <a:pt x="969" y="0"/>
                  </a:cubicBezTo>
                  <a:cubicBezTo>
                    <a:pt x="1621" y="0"/>
                    <a:pt x="3027" y="11"/>
                    <a:pt x="4025" y="17"/>
                  </a:cubicBezTo>
                  <a:cubicBezTo>
                    <a:pt x="4306" y="19"/>
                    <a:pt x="4587" y="20"/>
                    <a:pt x="4865" y="22"/>
                  </a:cubicBezTo>
                  <a:cubicBezTo>
                    <a:pt x="5004" y="23"/>
                    <a:pt x="5143" y="24"/>
                    <a:pt x="5281" y="25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702" y="30"/>
                    <a:pt x="5702" y="30"/>
                    <a:pt x="5702" y="30"/>
                  </a:cubicBezTo>
                  <a:cubicBezTo>
                    <a:pt x="6278" y="55"/>
                    <a:pt x="6844" y="152"/>
                    <a:pt x="7379" y="317"/>
                  </a:cubicBezTo>
                  <a:cubicBezTo>
                    <a:pt x="7914" y="480"/>
                    <a:pt x="8419" y="709"/>
                    <a:pt x="8881" y="990"/>
                  </a:cubicBezTo>
                  <a:cubicBezTo>
                    <a:pt x="9112" y="1130"/>
                    <a:pt x="9332" y="1283"/>
                    <a:pt x="9540" y="1447"/>
                  </a:cubicBezTo>
                  <a:cubicBezTo>
                    <a:pt x="9748" y="1609"/>
                    <a:pt x="9948" y="1791"/>
                    <a:pt x="10126" y="1964"/>
                  </a:cubicBezTo>
                  <a:cubicBezTo>
                    <a:pt x="11557" y="3337"/>
                    <a:pt x="12879" y="4606"/>
                    <a:pt x="14062" y="5741"/>
                  </a:cubicBezTo>
                  <a:cubicBezTo>
                    <a:pt x="14355" y="6024"/>
                    <a:pt x="14640" y="6299"/>
                    <a:pt x="14916" y="6565"/>
                  </a:cubicBezTo>
                  <a:cubicBezTo>
                    <a:pt x="15053" y="6698"/>
                    <a:pt x="15188" y="6829"/>
                    <a:pt x="15321" y="6958"/>
                  </a:cubicBezTo>
                  <a:cubicBezTo>
                    <a:pt x="15388" y="7022"/>
                    <a:pt x="15453" y="7086"/>
                    <a:pt x="15519" y="7149"/>
                  </a:cubicBezTo>
                  <a:cubicBezTo>
                    <a:pt x="15583" y="7214"/>
                    <a:pt x="15647" y="7278"/>
                    <a:pt x="15710" y="7341"/>
                  </a:cubicBezTo>
                  <a:cubicBezTo>
                    <a:pt x="16207" y="7835"/>
                    <a:pt x="16703" y="8251"/>
                    <a:pt x="17174" y="8604"/>
                  </a:cubicBezTo>
                  <a:cubicBezTo>
                    <a:pt x="18115" y="9307"/>
                    <a:pt x="18945" y="9752"/>
                    <a:pt x="19526" y="10044"/>
                  </a:cubicBezTo>
                  <a:cubicBezTo>
                    <a:pt x="19988" y="10273"/>
                    <a:pt x="20247" y="10392"/>
                    <a:pt x="20445" y="10489"/>
                  </a:cubicBezTo>
                  <a:cubicBezTo>
                    <a:pt x="20641" y="10584"/>
                    <a:pt x="20728" y="10635"/>
                    <a:pt x="20704" y="10652"/>
                  </a:cubicBezTo>
                  <a:cubicBezTo>
                    <a:pt x="20681" y="10667"/>
                    <a:pt x="20549" y="10648"/>
                    <a:pt x="20309" y="10584"/>
                  </a:cubicBezTo>
                  <a:cubicBezTo>
                    <a:pt x="20068" y="10518"/>
                    <a:pt x="19727" y="10410"/>
                    <a:pt x="19276" y="10228"/>
                  </a:cubicBezTo>
                  <a:cubicBezTo>
                    <a:pt x="19159" y="10190"/>
                    <a:pt x="18909" y="10091"/>
                    <a:pt x="18552" y="9919"/>
                  </a:cubicBezTo>
                  <a:cubicBezTo>
                    <a:pt x="18195" y="9748"/>
                    <a:pt x="17732" y="9501"/>
                    <a:pt x="17201" y="9156"/>
                  </a:cubicBezTo>
                  <a:cubicBezTo>
                    <a:pt x="16670" y="8810"/>
                    <a:pt x="16071" y="8367"/>
                    <a:pt x="15458" y="7802"/>
                  </a:cubicBezTo>
                  <a:cubicBezTo>
                    <a:pt x="15381" y="7731"/>
                    <a:pt x="15305" y="7659"/>
                    <a:pt x="15228" y="7584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118" y="7482"/>
                    <a:pt x="15118" y="7482"/>
                    <a:pt x="15118" y="7482"/>
                  </a:cubicBezTo>
                  <a:cubicBezTo>
                    <a:pt x="15079" y="7445"/>
                    <a:pt x="15040" y="7409"/>
                    <a:pt x="15000" y="7373"/>
                  </a:cubicBezTo>
                  <a:cubicBezTo>
                    <a:pt x="14843" y="7227"/>
                    <a:pt x="14681" y="7078"/>
                    <a:pt x="14516" y="6926"/>
                  </a:cubicBezTo>
                  <a:cubicBezTo>
                    <a:pt x="14186" y="6620"/>
                    <a:pt x="13843" y="6302"/>
                    <a:pt x="13487" y="5972"/>
                  </a:cubicBezTo>
                  <a:cubicBezTo>
                    <a:pt x="12646" y="5189"/>
                    <a:pt x="11791" y="4393"/>
                    <a:pt x="10925" y="3587"/>
                  </a:cubicBezTo>
                  <a:cubicBezTo>
                    <a:pt x="10493" y="3183"/>
                    <a:pt x="10057" y="2776"/>
                    <a:pt x="9619" y="2367"/>
                  </a:cubicBezTo>
                  <a:cubicBezTo>
                    <a:pt x="9203" y="1975"/>
                    <a:pt x="8737" y="1644"/>
                    <a:pt x="8228" y="1382"/>
                  </a:cubicBezTo>
                  <a:cubicBezTo>
                    <a:pt x="7719" y="1119"/>
                    <a:pt x="7171" y="930"/>
                    <a:pt x="6604" y="823"/>
                  </a:cubicBezTo>
                  <a:cubicBezTo>
                    <a:pt x="6320" y="770"/>
                    <a:pt x="6032" y="736"/>
                    <a:pt x="5743" y="723"/>
                  </a:cubicBezTo>
                  <a:cubicBezTo>
                    <a:pt x="5605" y="716"/>
                    <a:pt x="5448" y="720"/>
                    <a:pt x="5295" y="720"/>
                  </a:cubicBezTo>
                  <a:cubicBezTo>
                    <a:pt x="4833" y="721"/>
                    <a:pt x="4833" y="721"/>
                    <a:pt x="4833" y="721"/>
                  </a:cubicBezTo>
                  <a:cubicBezTo>
                    <a:pt x="3653" y="724"/>
                    <a:pt x="1519" y="729"/>
                    <a:pt x="1271" y="729"/>
                  </a:cubicBezTo>
                  <a:cubicBezTo>
                    <a:pt x="1024" y="729"/>
                    <a:pt x="784" y="724"/>
                    <a:pt x="784" y="1219"/>
                  </a:cubicBezTo>
                  <a:cubicBezTo>
                    <a:pt x="784" y="1715"/>
                    <a:pt x="801" y="7400"/>
                    <a:pt x="810" y="10472"/>
                  </a:cubicBezTo>
                  <a:cubicBezTo>
                    <a:pt x="827" y="13590"/>
                    <a:pt x="843" y="16677"/>
                    <a:pt x="859" y="19679"/>
                  </a:cubicBezTo>
                  <a:cubicBezTo>
                    <a:pt x="862" y="20094"/>
                    <a:pt x="865" y="20510"/>
                    <a:pt x="869" y="20931"/>
                  </a:cubicBezTo>
                  <a:cubicBezTo>
                    <a:pt x="876" y="21277"/>
                    <a:pt x="975" y="21621"/>
                    <a:pt x="1146" y="21942"/>
                  </a:cubicBezTo>
                  <a:cubicBezTo>
                    <a:pt x="1490" y="22589"/>
                    <a:pt x="2104" y="23129"/>
                    <a:pt x="2799" y="23486"/>
                  </a:cubicBezTo>
                  <a:cubicBezTo>
                    <a:pt x="3148" y="23664"/>
                    <a:pt x="3522" y="23799"/>
                    <a:pt x="3901" y="23879"/>
                  </a:cubicBezTo>
                  <a:cubicBezTo>
                    <a:pt x="4091" y="23920"/>
                    <a:pt x="4282" y="23945"/>
                    <a:pt x="4472" y="23956"/>
                  </a:cubicBezTo>
                  <a:cubicBezTo>
                    <a:pt x="4520" y="23958"/>
                    <a:pt x="4567" y="23960"/>
                    <a:pt x="4615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5096" y="23960"/>
                    <a:pt x="5096" y="23960"/>
                    <a:pt x="5096" y="23960"/>
                  </a:cubicBezTo>
                  <a:cubicBezTo>
                    <a:pt x="5309" y="23958"/>
                    <a:pt x="5521" y="23954"/>
                    <a:pt x="5730" y="23945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979" y="23933"/>
                    <a:pt x="5979" y="23933"/>
                    <a:pt x="5979" y="23933"/>
                  </a:cubicBezTo>
                  <a:cubicBezTo>
                    <a:pt x="6041" y="23927"/>
                    <a:pt x="6104" y="23924"/>
                    <a:pt x="6166" y="23915"/>
                  </a:cubicBezTo>
                  <a:cubicBezTo>
                    <a:pt x="6228" y="23906"/>
                    <a:pt x="6292" y="23897"/>
                    <a:pt x="6349" y="23873"/>
                  </a:cubicBezTo>
                  <a:cubicBezTo>
                    <a:pt x="6407" y="23846"/>
                    <a:pt x="6452" y="23796"/>
                    <a:pt x="6471" y="23736"/>
                  </a:cubicBezTo>
                  <a:cubicBezTo>
                    <a:pt x="6492" y="23677"/>
                    <a:pt x="6494" y="23614"/>
                    <a:pt x="6495" y="23550"/>
                  </a:cubicBezTo>
                  <a:cubicBezTo>
                    <a:pt x="6496" y="23363"/>
                    <a:pt x="6496" y="23363"/>
                    <a:pt x="6496" y="23363"/>
                  </a:cubicBezTo>
                  <a:cubicBezTo>
                    <a:pt x="6506" y="21661"/>
                    <a:pt x="6516" y="19980"/>
                    <a:pt x="6526" y="18358"/>
                  </a:cubicBezTo>
                  <a:cubicBezTo>
                    <a:pt x="6529" y="17948"/>
                    <a:pt x="6532" y="17543"/>
                    <a:pt x="6535" y="17142"/>
                  </a:cubicBezTo>
                  <a:cubicBezTo>
                    <a:pt x="6536" y="17041"/>
                    <a:pt x="6537" y="16942"/>
                    <a:pt x="6538" y="16843"/>
                  </a:cubicBezTo>
                  <a:cubicBezTo>
                    <a:pt x="6539" y="16693"/>
                    <a:pt x="6539" y="16693"/>
                    <a:pt x="6539" y="16693"/>
                  </a:cubicBezTo>
                  <a:cubicBezTo>
                    <a:pt x="6539" y="16645"/>
                    <a:pt x="6540" y="16583"/>
                    <a:pt x="6544" y="16529"/>
                  </a:cubicBezTo>
                  <a:cubicBezTo>
                    <a:pt x="6553" y="16308"/>
                    <a:pt x="6582" y="16088"/>
                    <a:pt x="6630" y="15873"/>
                  </a:cubicBezTo>
                  <a:cubicBezTo>
                    <a:pt x="6820" y="15011"/>
                    <a:pt x="7315" y="14259"/>
                    <a:pt x="7957" y="13747"/>
                  </a:cubicBezTo>
                  <a:cubicBezTo>
                    <a:pt x="8286" y="13480"/>
                    <a:pt x="8669" y="13266"/>
                    <a:pt x="9083" y="13125"/>
                  </a:cubicBezTo>
                  <a:cubicBezTo>
                    <a:pt x="9290" y="13055"/>
                    <a:pt x="9505" y="13002"/>
                    <a:pt x="9723" y="12968"/>
                  </a:cubicBezTo>
                  <a:cubicBezTo>
                    <a:pt x="9940" y="12936"/>
                    <a:pt x="10169" y="12927"/>
                    <a:pt x="10381" y="12932"/>
                  </a:cubicBezTo>
                  <a:cubicBezTo>
                    <a:pt x="11228" y="12950"/>
                    <a:pt x="12070" y="13154"/>
                    <a:pt x="12823" y="13479"/>
                  </a:cubicBezTo>
                  <a:cubicBezTo>
                    <a:pt x="13579" y="13801"/>
                    <a:pt x="14267" y="14236"/>
                    <a:pt x="14905" y="14714"/>
                  </a:cubicBezTo>
                  <a:cubicBezTo>
                    <a:pt x="15543" y="15193"/>
                    <a:pt x="16133" y="15720"/>
                    <a:pt x="16704" y="16252"/>
                  </a:cubicBezTo>
                  <a:cubicBezTo>
                    <a:pt x="17188" y="16713"/>
                    <a:pt x="17662" y="17168"/>
                    <a:pt x="18099" y="17586"/>
                  </a:cubicBezTo>
                  <a:cubicBezTo>
                    <a:pt x="18315" y="17790"/>
                    <a:pt x="18527" y="17981"/>
                    <a:pt x="18726" y="18165"/>
                  </a:cubicBezTo>
                  <a:cubicBezTo>
                    <a:pt x="18922" y="18349"/>
                    <a:pt x="19104" y="18520"/>
                    <a:pt x="19270" y="18677"/>
                  </a:cubicBezTo>
                  <a:cubicBezTo>
                    <a:pt x="19773" y="19160"/>
                    <a:pt x="20142" y="19515"/>
                    <a:pt x="20529" y="19887"/>
                  </a:cubicBezTo>
                  <a:cubicBezTo>
                    <a:pt x="20899" y="20301"/>
                    <a:pt x="20570" y="20123"/>
                    <a:pt x="19639" y="193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1" name="Text Placeholder AP1 Details">
            <a:extLst>
              <a:ext uri="{FF2B5EF4-FFF2-40B4-BE49-F238E27FC236}">
                <a16:creationId xmlns:a16="http://schemas.microsoft.com/office/drawing/2014/main" id="{C79BA157-337C-448E-BD06-F2E6059814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680"/>
            <a:ext cx="2519767" cy="1655976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22" name="Text Placeholder AP1 Name">
            <a:extLst>
              <a:ext uri="{FF2B5EF4-FFF2-40B4-BE49-F238E27FC236}">
                <a16:creationId xmlns:a16="http://schemas.microsoft.com/office/drawing/2014/main" id="{4767AE3E-BA55-4D0F-9B00-7507CE2530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484784"/>
            <a:ext cx="251985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cap="none" baseline="0" noProof="0" dirty="0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23" name="Text Placeholder AP1 Details">
            <a:extLst>
              <a:ext uri="{FF2B5EF4-FFF2-40B4-BE49-F238E27FC236}">
                <a16:creationId xmlns:a16="http://schemas.microsoft.com/office/drawing/2014/main" id="{4E25AFD2-BC03-4CA9-ADA6-9259311CEB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3483" y="4437320"/>
            <a:ext cx="2519767" cy="1655976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24" name="Text Placeholder AP1 Name">
            <a:extLst>
              <a:ext uri="{FF2B5EF4-FFF2-40B4-BE49-F238E27FC236}">
                <a16:creationId xmlns:a16="http://schemas.microsoft.com/office/drawing/2014/main" id="{E99B597B-5A5D-453D-BA59-9E21430B97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392" y="3933424"/>
            <a:ext cx="251985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cap="none" baseline="0" noProof="0" dirty="0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  <p:sp>
        <p:nvSpPr>
          <p:cNvPr id="36" name="Text Placeholder AP1 Details">
            <a:extLst>
              <a:ext uri="{FF2B5EF4-FFF2-40B4-BE49-F238E27FC236}">
                <a16:creationId xmlns:a16="http://schemas.microsoft.com/office/drawing/2014/main" id="{5D01E36C-135A-4222-8595-E9375AA04E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31795" y="4436952"/>
            <a:ext cx="2519767" cy="1655976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 dirty="0"/>
              <a:t>Add your contact details here.</a:t>
            </a:r>
          </a:p>
        </p:txBody>
      </p:sp>
      <p:sp>
        <p:nvSpPr>
          <p:cNvPr id="37" name="Text Placeholder AP1 Name">
            <a:extLst>
              <a:ext uri="{FF2B5EF4-FFF2-40B4-BE49-F238E27FC236}">
                <a16:creationId xmlns:a16="http://schemas.microsoft.com/office/drawing/2014/main" id="{02417E19-3B69-4B9D-845C-6895CBD40AD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431704" y="3933056"/>
            <a:ext cx="251985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cap="none" baseline="0" noProof="0" dirty="0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US" noProof="0" dirty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1558025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srgbClr val="503291"/>
                </a:solidFill>
              </a:rPr>
              <a:t>*Two patients in the cet + FOLFOXIRI arm and one patient in the FOLFOXIRI arm had a CR according to imaging. Bev, bevacizumab; cet, cetuximab; CR, complete response; PD, progressive disease; PR, partial response; SD, stable disease.  Folprecht G, et al. ASCO 2020 (Abstract No. 4024).</a:t>
            </a:r>
            <a:endParaRPr lang="en-US" dirty="0">
              <a:solidFill>
                <a:srgbClr val="503291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623888" y="1412775"/>
            <a:ext cx="10944227" cy="468004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406224"/>
            <a:ext cx="10944225" cy="316800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5317230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B01090B-2979-4E16-A570-6C754DAAF3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ADCDFC2-A01F-4A4E-B777-F65C731E0B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1730CBE-274D-4167-BE41-29FFD97E0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B4BC7-ED37-4644-9DF5-A62D1FDFE56C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17051-FE8B-424C-98DA-14766344D5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2CC2C57-FD84-4558-9CD2-FEF1A3773B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548D5-8399-4C89-99C9-1500AE18A46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2505575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tex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17FD59C3-1F10-A241-B244-773E743E3304}"/>
              </a:ext>
            </a:extLst>
          </p:cNvPr>
          <p:cNvSpPr/>
          <p:nvPr userDrawn="1"/>
        </p:nvSpPr>
        <p:spPr>
          <a:xfrm>
            <a:off x="0" y="4581524"/>
            <a:ext cx="12191999" cy="2276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n>
                <a:noFill/>
              </a:ln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C747A3F6-6791-8848-983C-10E5A619F252}"/>
              </a:ext>
            </a:extLst>
          </p:cNvPr>
          <p:cNvSpPr/>
          <p:nvPr userDrawn="1"/>
        </p:nvSpPr>
        <p:spPr>
          <a:xfrm>
            <a:off x="1" y="0"/>
            <a:ext cx="12192000" cy="45815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n>
                <a:noFill/>
              </a:ln>
            </a:endParaRPr>
          </a:p>
        </p:txBody>
      </p:sp>
      <p:sp>
        <p:nvSpPr>
          <p:cNvPr id="14" name="Zástupný text 13">
            <a:extLst>
              <a:ext uri="{FF2B5EF4-FFF2-40B4-BE49-F238E27FC236}">
                <a16:creationId xmlns:a16="http://schemas.microsoft.com/office/drawing/2014/main" id="{B96B24D6-942D-4046-B628-D60D6CD0B2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1475" y="2097088"/>
            <a:ext cx="11628438" cy="230346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fontAlgn="t">
              <a:lnSpc>
                <a:spcPts val="4800"/>
              </a:lnSpc>
              <a:spcBef>
                <a:spcPts val="0"/>
              </a:spcBef>
              <a:buNone/>
              <a:defRPr sz="40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cs-CZ" dirty="0"/>
              <a:t>Prostor pro název prezentace</a:t>
            </a:r>
          </a:p>
        </p:txBody>
      </p:sp>
      <p:sp>
        <p:nvSpPr>
          <p:cNvPr id="16" name="Zástupný text 4">
            <a:extLst>
              <a:ext uri="{FF2B5EF4-FFF2-40B4-BE49-F238E27FC236}">
                <a16:creationId xmlns:a16="http://schemas.microsoft.com/office/drawing/2014/main" id="{55F73376-05F6-4D4A-963F-1E953E151E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4760912"/>
            <a:ext cx="3529013" cy="550761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12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cs-CZ" dirty="0"/>
              <a:t>Jméno autora prezentace</a:t>
            </a:r>
          </a:p>
        </p:txBody>
      </p:sp>
      <p:pic>
        <p:nvPicPr>
          <p:cNvPr id="10" name="Obrázek 9" descr="Obsah obrázku kreslení&#10;&#10;Popis byl vytvořen automaticky">
            <a:extLst>
              <a:ext uri="{FF2B5EF4-FFF2-40B4-BE49-F238E27FC236}">
                <a16:creationId xmlns:a16="http://schemas.microsoft.com/office/drawing/2014/main" id="{E1C4973B-ECD4-9643-BD27-331DC465CD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1414" y="368300"/>
            <a:ext cx="1565275" cy="907085"/>
          </a:xfrm>
          <a:prstGeom prst="rect">
            <a:avLst/>
          </a:prstGeom>
        </p:spPr>
      </p:pic>
      <p:sp>
        <p:nvSpPr>
          <p:cNvPr id="18" name="Obdélník 17">
            <a:extLst>
              <a:ext uri="{FF2B5EF4-FFF2-40B4-BE49-F238E27FC236}">
                <a16:creationId xmlns:a16="http://schemas.microsoft.com/office/drawing/2014/main" id="{C2D86044-D099-FC41-BAAB-9AB1B36262F3}"/>
              </a:ext>
            </a:extLst>
          </p:cNvPr>
          <p:cNvSpPr/>
          <p:nvPr userDrawn="1"/>
        </p:nvSpPr>
        <p:spPr>
          <a:xfrm>
            <a:off x="371475" y="6181923"/>
            <a:ext cx="1567384" cy="3077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lvl="0"/>
            <a:r>
              <a:rPr lang="cs-CZ" sz="1000" b="0" i="0" dirty="0">
                <a:solidFill>
                  <a:schemeClr val="bg1"/>
                </a:solidFill>
                <a:latin typeface="+mn-lt"/>
              </a:rPr>
              <a:t>Žlutý kopec 7, 656 53 Brno</a:t>
            </a:r>
          </a:p>
          <a:p>
            <a:pPr lvl="0"/>
            <a:r>
              <a:rPr lang="cs-CZ" sz="1000" b="0" i="0" dirty="0" err="1">
                <a:solidFill>
                  <a:schemeClr val="bg1"/>
                </a:solidFill>
                <a:latin typeface="+mn-lt"/>
              </a:rPr>
              <a:t>www.mou.cz</a:t>
            </a:r>
            <a:endParaRPr lang="cs-CZ" sz="1000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0FE05B16-477A-A943-A81B-B0BD47DCF7D2}"/>
              </a:ext>
            </a:extLst>
          </p:cNvPr>
          <p:cNvSpPr/>
          <p:nvPr userDrawn="1"/>
        </p:nvSpPr>
        <p:spPr>
          <a:xfrm>
            <a:off x="4259264" y="6181923"/>
            <a:ext cx="22058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0000" algn="l"/>
              </a:tabLst>
              <a:defRPr/>
            </a:pPr>
            <a:r>
              <a:rPr lang="cs-CZ" sz="1000" b="0" i="0" dirty="0">
                <a:solidFill>
                  <a:schemeClr val="bg1"/>
                </a:solidFill>
                <a:latin typeface="+mn-lt"/>
              </a:rPr>
              <a:t>T</a:t>
            </a:r>
          </a:p>
          <a:p>
            <a:pPr marL="0" marR="0" lvl="0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0000" algn="l"/>
              </a:tabLst>
              <a:defRPr/>
            </a:pPr>
            <a:r>
              <a:rPr lang="cs-CZ" sz="1000" b="0" i="0" dirty="0">
                <a:solidFill>
                  <a:schemeClr val="bg1"/>
                </a:solidFill>
                <a:latin typeface="+mn-lt"/>
              </a:rPr>
              <a:t>@</a:t>
            </a: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5C857465-270D-DD4C-BF11-A477B10C4303}"/>
              </a:ext>
            </a:extLst>
          </p:cNvPr>
          <p:cNvSpPr/>
          <p:nvPr userDrawn="1"/>
        </p:nvSpPr>
        <p:spPr>
          <a:xfrm>
            <a:off x="8291513" y="6028035"/>
            <a:ext cx="3529012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000" b="0" i="0" dirty="0">
                <a:solidFill>
                  <a:schemeClr val="bg1"/>
                </a:solidFill>
                <a:latin typeface="+mn-lt"/>
              </a:rPr>
              <a:t>Poskytovatel zdravotních služeb akreditovaný Organizac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000" b="0" i="0" dirty="0">
                <a:solidFill>
                  <a:schemeClr val="bg1"/>
                </a:solidFill>
                <a:latin typeface="+mn-lt"/>
              </a:rPr>
              <a:t>evropských onkologických ústavů (OECI) a Českou společností pro akreditaci ve zdravotnictví.</a:t>
            </a:r>
          </a:p>
        </p:txBody>
      </p:sp>
      <p:sp>
        <p:nvSpPr>
          <p:cNvPr id="25" name="Zástupný text 4">
            <a:extLst>
              <a:ext uri="{FF2B5EF4-FFF2-40B4-BE49-F238E27FC236}">
                <a16:creationId xmlns:a16="http://schemas.microsoft.com/office/drawing/2014/main" id="{7612BA62-1876-0347-B914-1239E9DCB3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46171" y="6193498"/>
            <a:ext cx="3186567" cy="13741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buNone/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cs-CZ" dirty="0"/>
              <a:t>Sem zadejte Váš telefon</a:t>
            </a:r>
          </a:p>
        </p:txBody>
      </p:sp>
      <p:sp>
        <p:nvSpPr>
          <p:cNvPr id="26" name="Zástupný text 4">
            <a:extLst>
              <a:ext uri="{FF2B5EF4-FFF2-40B4-BE49-F238E27FC236}">
                <a16:creationId xmlns:a16="http://schemas.microsoft.com/office/drawing/2014/main" id="{F3B2EA4F-2A45-2E47-8FEC-5512D2CBF0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46171" y="6362400"/>
            <a:ext cx="3186567" cy="137411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buNone/>
              <a:defRPr sz="1000">
                <a:solidFill>
                  <a:schemeClr val="bg1"/>
                </a:solidFill>
              </a:defRPr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cs-CZ" dirty="0"/>
              <a:t>Sem zadejte Váš email</a:t>
            </a:r>
          </a:p>
        </p:txBody>
      </p:sp>
    </p:spTree>
    <p:extLst>
      <p:ext uri="{BB962C8B-B14F-4D97-AF65-F5344CB8AC3E}">
        <p14:creationId xmlns:p14="http://schemas.microsoft.com/office/powerpoint/2010/main" val="223561681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18"/>
            <a:ext cx="12192000" cy="5979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18"/>
            <a:ext cx="12192000" cy="6853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9101" y="1557960"/>
            <a:ext cx="7385048" cy="1470025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32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9101" y="2922449"/>
            <a:ext cx="7385048" cy="17526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pic>
        <p:nvPicPr>
          <p:cNvPr id="10" name="Picture 14">
            <a:extLst>
              <a:ext uri="{FF2B5EF4-FFF2-40B4-BE49-F238E27FC236}">
                <a16:creationId xmlns:a16="http://schemas.microsoft.com/office/drawing/2014/main" id="{3E117AF7-736C-37AC-8CC4-D7685C7865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492" r="65717" b="4254"/>
          <a:stretch/>
        </p:blipFill>
        <p:spPr bwMode="auto">
          <a:xfrm>
            <a:off x="10856385" y="6221002"/>
            <a:ext cx="1138767" cy="484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19">
            <a:extLst>
              <a:ext uri="{FF2B5EF4-FFF2-40B4-BE49-F238E27FC236}">
                <a16:creationId xmlns:a16="http://schemas.microsoft.com/office/drawing/2014/main" id="{7BEA5F62-860C-585D-62A8-B7049BE3F24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33200" y="6616800"/>
            <a:ext cx="47256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0960" rIns="6096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en-US" sz="800" dirty="0">
                <a:solidFill>
                  <a:schemeClr val="bg2"/>
                </a:solidFill>
                <a:cs typeface="Arial" charset="0"/>
              </a:rPr>
              <a:t>For medical scientific exchange with Healthcare Professionals and non-promotional use only </a:t>
            </a:r>
          </a:p>
        </p:txBody>
      </p:sp>
    </p:spTree>
    <p:extLst>
      <p:ext uri="{BB962C8B-B14F-4D97-AF65-F5344CB8AC3E}">
        <p14:creationId xmlns:p14="http://schemas.microsoft.com/office/powerpoint/2010/main" val="2694624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6535CE5-AA72-E0CB-971C-668F9B30C7CF}"/>
              </a:ext>
            </a:extLst>
          </p:cNvPr>
          <p:cNvSpPr/>
          <p:nvPr userDrawn="1"/>
        </p:nvSpPr>
        <p:spPr>
          <a:xfrm>
            <a:off x="0" y="2267307"/>
            <a:ext cx="12192000" cy="23198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n-US" dirty="0" err="1"/>
          </a:p>
        </p:txBody>
      </p:sp>
      <p:pic>
        <p:nvPicPr>
          <p:cNvPr id="5" name="Picture 11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18"/>
            <a:ext cx="12192000" cy="6853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799" y="2267307"/>
            <a:ext cx="7148349" cy="2319866"/>
          </a:xfrm>
        </p:spPr>
        <p:txBody>
          <a:bodyPr bIns="0" anchor="ctr" anchorCtr="0">
            <a:noAutofit/>
          </a:bodyPr>
          <a:lstStyle>
            <a:lvl1pPr algn="l">
              <a:lnSpc>
                <a:spcPct val="90000"/>
              </a:lnSpc>
              <a:defRPr sz="32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pic>
        <p:nvPicPr>
          <p:cNvPr id="10" name="Picture 14">
            <a:extLst>
              <a:ext uri="{FF2B5EF4-FFF2-40B4-BE49-F238E27FC236}">
                <a16:creationId xmlns:a16="http://schemas.microsoft.com/office/drawing/2014/main" id="{0D3CEC5A-A9AA-2E40-C746-C12B4CFA7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492" r="65717" b="4254"/>
          <a:stretch/>
        </p:blipFill>
        <p:spPr bwMode="auto">
          <a:xfrm>
            <a:off x="10856385" y="6221002"/>
            <a:ext cx="1138767" cy="484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19">
            <a:extLst>
              <a:ext uri="{FF2B5EF4-FFF2-40B4-BE49-F238E27FC236}">
                <a16:creationId xmlns:a16="http://schemas.microsoft.com/office/drawing/2014/main" id="{322F4DE2-FDFD-053B-4534-1AF8D328AE1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733200" y="6616800"/>
            <a:ext cx="47256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0960" rIns="6096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en-US" sz="800" dirty="0">
                <a:solidFill>
                  <a:schemeClr val="bg2"/>
                </a:solidFill>
                <a:cs typeface="Arial" charset="0"/>
              </a:rPr>
              <a:t>For medical scientific exchange with Healthcare Professionals and non-promotional use only </a:t>
            </a:r>
          </a:p>
        </p:txBody>
      </p:sp>
    </p:spTree>
    <p:extLst>
      <p:ext uri="{BB962C8B-B14F-4D97-AF65-F5344CB8AC3E}">
        <p14:creationId xmlns:p14="http://schemas.microsoft.com/office/powerpoint/2010/main" val="2250236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D6F0BF0B-B928-B690-6E54-1B7CE8D65C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21C45C58-FB06-9035-076B-E7FDF70702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0DB3B3E-E1DC-2FE7-CB5F-C3A8495F71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64E03-B8D9-4FA7-89DA-B24DAF0BE8A7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B98DE6F-BBD4-23EC-CB06-E37A8E66A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3889087-00D3-31CA-781D-E4AB72804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8E09-8AC3-409D-9A37-A314A19285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8007263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6617" y="1286934"/>
            <a:ext cx="11082867" cy="458681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>
              <a:buClr>
                <a:schemeClr val="accent2"/>
              </a:buClr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0" indent="0">
              <a:buClr>
                <a:schemeClr val="accent2"/>
              </a:buClr>
              <a:buFont typeface="Arial" panose="020B0604020202020204" pitchFamily="34" charset="0"/>
              <a:buNone/>
              <a:defRPr/>
            </a:lvl2pPr>
            <a:lvl3pPr marL="342900" indent="-342900">
              <a:buClr>
                <a:schemeClr val="accent2"/>
              </a:buClr>
              <a:buFont typeface="Arial" panose="020B0604020202020204" pitchFamily="34" charset="0"/>
              <a:buChar char="•"/>
              <a:defRPr/>
            </a:lvl3pPr>
            <a:lvl4pPr marL="345017" indent="-342900">
              <a:buClr>
                <a:schemeClr val="accent2"/>
              </a:buClr>
              <a:buFont typeface="Arial" panose="020B0604020202020204" pitchFamily="34" charset="0"/>
              <a:buChar char="•"/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69899" y="6287137"/>
            <a:ext cx="10317706" cy="327025"/>
          </a:xfrm>
          <a:prstGeom prst="rect">
            <a:avLst/>
          </a:prstGeom>
        </p:spPr>
        <p:txBody>
          <a:bodyPr bIns="0" anchor="b">
            <a:noAutofit/>
          </a:bodyPr>
          <a:lstStyle>
            <a:lvl1pPr marL="0" indent="0">
              <a:buNone/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95973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8B06000-5ADB-D66D-BE03-254B51BCE55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72621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(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C59028F-B578-366C-10C9-3F6949E7A74E}"/>
              </a:ext>
            </a:extLst>
          </p:cNvPr>
          <p:cNvSpPr/>
          <p:nvPr userDrawn="1"/>
        </p:nvSpPr>
        <p:spPr>
          <a:xfrm>
            <a:off x="10714008" y="5848709"/>
            <a:ext cx="1337094" cy="9316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algn="ctr"/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B5C2BF8-1E78-912C-70D2-FAA2C4821D9B}"/>
              </a:ext>
            </a:extLst>
          </p:cNvPr>
          <p:cNvSpPr/>
          <p:nvPr userDrawn="1"/>
        </p:nvSpPr>
        <p:spPr>
          <a:xfrm>
            <a:off x="281797" y="923026"/>
            <a:ext cx="11545018" cy="163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25000" lnSpcReduction="20000"/>
          </a:bodyPr>
          <a:lstStyle/>
          <a:p>
            <a:pPr algn="ctr"/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A8135B5-9DA4-C896-5C08-2ABF0DBD969D}"/>
              </a:ext>
            </a:extLst>
          </p:cNvPr>
          <p:cNvSpPr/>
          <p:nvPr userDrawn="1"/>
        </p:nvSpPr>
        <p:spPr>
          <a:xfrm>
            <a:off x="5509405" y="6501442"/>
            <a:ext cx="1337094" cy="163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 fontScale="25000" lnSpcReduction="20000"/>
          </a:bodyPr>
          <a:lstStyle/>
          <a:p>
            <a:pPr algn="ctr"/>
            <a:endParaRPr lang="en-GB" dirty="0"/>
          </a:p>
        </p:txBody>
      </p:sp>
      <p:pic>
        <p:nvPicPr>
          <p:cNvPr id="2" name="Picture 14">
            <a:extLst>
              <a:ext uri="{FF2B5EF4-FFF2-40B4-BE49-F238E27FC236}">
                <a16:creationId xmlns:a16="http://schemas.microsoft.com/office/drawing/2014/main" id="{03DB0D16-4367-6925-03D0-7E2CC66485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492" r="65717" b="4254"/>
          <a:stretch/>
        </p:blipFill>
        <p:spPr bwMode="auto">
          <a:xfrm>
            <a:off x="10856385" y="6221002"/>
            <a:ext cx="1138767" cy="484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20308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4041650"/>
            <a:ext cx="5181600" cy="1120775"/>
          </a:xfrm>
        </p:spPr>
        <p:txBody>
          <a:bodyPr/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20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294B36-D511-4E23-A768-EAFA149B5CC7}"/>
              </a:ext>
            </a:extLst>
          </p:cNvPr>
          <p:cNvSpPr/>
          <p:nvPr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5B42F6D-719A-45C6-BB57-84887368226C}"/>
              </a:ext>
            </a:extLst>
          </p:cNvPr>
          <p:cNvCxnSpPr/>
          <p:nvPr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ACD6CB8-625C-44F5-9B90-77A60BCC4A2E}"/>
              </a:ext>
            </a:extLst>
          </p:cNvPr>
          <p:cNvCxnSpPr/>
          <p:nvPr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3" name="Rectangle 55">
            <a:extLst>
              <a:ext uri="{FF2B5EF4-FFF2-40B4-BE49-F238E27FC236}">
                <a16:creationId xmlns:a16="http://schemas.microsoft.com/office/drawing/2014/main" id="{078B106A-3121-420B-B2D9-854FF204BD0F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invGray">
          <a:xfrm>
            <a:off x="609600" y="1600200"/>
            <a:ext cx="11264901" cy="2057400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rgbClr val="45556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C33664-ACD6-44A3-95A5-32325CBC9685}"/>
              </a:ext>
            </a:extLst>
          </p:cNvPr>
          <p:cNvSpPr/>
          <p:nvPr userDrawn="1"/>
        </p:nvSpPr>
        <p:spPr>
          <a:xfrm>
            <a:off x="1" y="1620838"/>
            <a:ext cx="12192000" cy="2057400"/>
          </a:xfrm>
          <a:prstGeom prst="rect">
            <a:avLst/>
          </a:prstGeom>
          <a:solidFill>
            <a:srgbClr val="CDCDCF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EECCBFD-9ED3-4167-961B-65218739F1A5}"/>
              </a:ext>
            </a:extLst>
          </p:cNvPr>
          <p:cNvCxnSpPr/>
          <p:nvPr userDrawn="1"/>
        </p:nvCxnSpPr>
        <p:spPr bwMode="auto">
          <a:xfrm>
            <a:off x="-14291" y="1620838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95A2832-7EB2-44CE-B43D-FCA9D107E325}"/>
              </a:ext>
            </a:extLst>
          </p:cNvPr>
          <p:cNvCxnSpPr/>
          <p:nvPr userDrawn="1"/>
        </p:nvCxnSpPr>
        <p:spPr bwMode="auto">
          <a:xfrm>
            <a:off x="-14291" y="3662363"/>
            <a:ext cx="12214232" cy="0"/>
          </a:xfrm>
          <a:prstGeom prst="line">
            <a:avLst/>
          </a:prstGeom>
          <a:ln w="12700">
            <a:solidFill>
              <a:schemeClr val="bg2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24AE3BAF-9477-E807-8D18-24818F818B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45" y="239713"/>
            <a:ext cx="2020824" cy="699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2308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4675" y="1513047"/>
            <a:ext cx="10877529" cy="4650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2464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B519960E-635E-89FA-F946-11602A5C68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4666" y="5556666"/>
            <a:ext cx="3154680" cy="1092459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4352" y="330201"/>
            <a:ext cx="11244149" cy="5250792"/>
          </a:xfrm>
          <a:prstGeom prst="rect">
            <a:avLst/>
          </a:prstGeom>
        </p:spPr>
        <p:txBody>
          <a:bodyPr anchorCtr="1"/>
          <a:lstStyle>
            <a:lvl1pPr algn="ctr">
              <a:defRPr sz="4000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8F8BDA-1A03-445B-A76B-525DE8317C18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FA01F1A-8AE6-48F9-95F4-73790D6CA686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57781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7946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6762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>
          <a:xfrm>
            <a:off x="6252634" y="1510730"/>
            <a:ext cx="5229570" cy="466574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0872444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601820" y="1510730"/>
            <a:ext cx="5309278" cy="4678738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2488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759" y="238127"/>
            <a:ext cx="11141055" cy="11033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08769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69366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EA55F082-EC03-A809-8BF8-A1D3FC3CFD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4666" y="5556666"/>
            <a:ext cx="3154680" cy="109245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484" y="239715"/>
            <a:ext cx="11244016" cy="1674813"/>
          </a:xfrm>
          <a:prstGeom prst="rect">
            <a:avLst/>
          </a:prstGeom>
        </p:spPr>
        <p:txBody>
          <a:bodyPr/>
          <a:lstStyle>
            <a:lvl1pPr algn="ctr">
              <a:defRPr sz="39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609759" y="1895477"/>
            <a:ext cx="10872444" cy="260571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000" b="1">
                <a:solidFill>
                  <a:schemeClr val="bg2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FB50470-EA3D-49B4-8F28-4C9C1E0D226A}"/>
              </a:ext>
            </a:extLst>
          </p:cNvPr>
          <p:cNvCxnSpPr/>
          <p:nvPr userDrawn="1"/>
        </p:nvCxnSpPr>
        <p:spPr bwMode="auto">
          <a:xfrm>
            <a:off x="-22231" y="4605619"/>
            <a:ext cx="12214231" cy="0"/>
          </a:xfrm>
          <a:prstGeom prst="line">
            <a:avLst/>
          </a:prstGeom>
          <a:ln w="28575">
            <a:solidFill>
              <a:schemeClr val="tx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DF9EACC2-568A-498C-8601-A87328BD11D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4351" y="4856674"/>
            <a:ext cx="11283950" cy="115593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rgbClr val="E1471D"/>
                </a:solidFill>
              </a:defRPr>
            </a:lvl1pPr>
            <a:lvl2pPr>
              <a:buFontTx/>
              <a:buNone/>
              <a:defRPr sz="2400"/>
            </a:lvl2pPr>
            <a:lvl3pPr>
              <a:buFontTx/>
              <a:buNone/>
              <a:defRPr sz="2400"/>
            </a:lvl3pPr>
            <a:lvl4pPr>
              <a:buFontTx/>
              <a:buNone/>
              <a:defRPr sz="2400"/>
            </a:lvl4pPr>
            <a:lvl5pPr>
              <a:buFontTx/>
              <a:buNone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BD1E00-A2D3-4202-961C-9DF3DF2683C9}"/>
              </a:ext>
            </a:extLst>
          </p:cNvPr>
          <p:cNvSpPr/>
          <p:nvPr userDrawn="1"/>
        </p:nvSpPr>
        <p:spPr>
          <a:xfrm>
            <a:off x="1" y="6590270"/>
            <a:ext cx="12192000" cy="267732"/>
          </a:xfrm>
          <a:prstGeom prst="rect">
            <a:avLst/>
          </a:prstGeom>
          <a:solidFill>
            <a:schemeClr val="tx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590A4E9-08A7-4826-8D90-46B546D1F341}"/>
              </a:ext>
            </a:extLst>
          </p:cNvPr>
          <p:cNvCxnSpPr/>
          <p:nvPr userDrawn="1"/>
        </p:nvCxnSpPr>
        <p:spPr>
          <a:xfrm>
            <a:off x="1" y="6589713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9235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C42832-A21B-23F8-DD9F-0119967B6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C180CD1-0FCF-77A5-B328-A24B726328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F214B7B-690D-38C6-AEAB-D8C6EB4514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64E03-B8D9-4FA7-89DA-B24DAF0BE8A7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CE355D3-F9C3-16F9-881A-888031B63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64D724E-DFB5-3DA5-661C-91F778AA6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8E09-8AC3-409D-9A37-A314A19285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65598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149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885410"/>
            <a:ext cx="3967700" cy="2613421"/>
            <a:chOff x="1" y="1885410"/>
            <a:chExt cx="3967700" cy="2613421"/>
          </a:xfrm>
        </p:grpSpPr>
        <p:sp>
          <p:nvSpPr>
            <p:cNvPr id="8" name="Rectl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34"/>
            <p:cNvSpPr>
              <a:spLocks/>
            </p:cNvSpPr>
            <p:nvPr userDrawn="1"/>
          </p:nvSpPr>
          <p:spPr bwMode="gray">
            <a:xfrm>
              <a:off x="3009726" y="3438341"/>
              <a:ext cx="957975" cy="1060490"/>
            </a:xfrm>
            <a:custGeom>
              <a:avLst/>
              <a:gdLst>
                <a:gd name="T0" fmla="*/ 1071 w 3325"/>
                <a:gd name="T1" fmla="*/ 3118 h 3410"/>
                <a:gd name="T2" fmla="*/ 1238 w 3325"/>
                <a:gd name="T3" fmla="*/ 3410 h 3410"/>
                <a:gd name="T4" fmla="*/ 1068 w 3325"/>
                <a:gd name="T5" fmla="*/ 3410 h 3410"/>
                <a:gd name="T6" fmla="*/ 52 w 3325"/>
                <a:gd name="T7" fmla="*/ 1638 h 3410"/>
                <a:gd name="T8" fmla="*/ 52 w 3325"/>
                <a:gd name="T9" fmla="*/ 1311 h 3410"/>
                <a:gd name="T10" fmla="*/ 719 w 3325"/>
                <a:gd name="T11" fmla="*/ 163 h 3410"/>
                <a:gd name="T12" fmla="*/ 1002 w 3325"/>
                <a:gd name="T13" fmla="*/ 0 h 3410"/>
                <a:gd name="T14" fmla="*/ 2330 w 3325"/>
                <a:gd name="T15" fmla="*/ 3 h 3410"/>
                <a:gd name="T16" fmla="*/ 2613 w 3325"/>
                <a:gd name="T17" fmla="*/ 167 h 3410"/>
                <a:gd name="T18" fmla="*/ 3274 w 3325"/>
                <a:gd name="T19" fmla="*/ 1318 h 3410"/>
                <a:gd name="T20" fmla="*/ 3273 w 3325"/>
                <a:gd name="T21" fmla="*/ 1645 h 3410"/>
                <a:gd name="T22" fmla="*/ 2607 w 3325"/>
                <a:gd name="T23" fmla="*/ 2793 h 3410"/>
                <a:gd name="T24" fmla="*/ 2323 w 3325"/>
                <a:gd name="T25" fmla="*/ 2956 h 3410"/>
                <a:gd name="T26" fmla="*/ 1166 w 3325"/>
                <a:gd name="T27" fmla="*/ 2955 h 3410"/>
                <a:gd name="T28" fmla="*/ 1071 w 3325"/>
                <a:gd name="T29" fmla="*/ 3118 h 3410"/>
                <a:gd name="connsiteX0" fmla="*/ 3065 w 9805"/>
                <a:gd name="connsiteY0" fmla="*/ 9144 h 10585"/>
                <a:gd name="connsiteX1" fmla="*/ 3567 w 9805"/>
                <a:gd name="connsiteY1" fmla="*/ 10000 h 10585"/>
                <a:gd name="connsiteX2" fmla="*/ 3674 w 9805"/>
                <a:gd name="connsiteY2" fmla="*/ 10460 h 10585"/>
                <a:gd name="connsiteX3" fmla="*/ 3056 w 9805"/>
                <a:gd name="connsiteY3" fmla="*/ 10000 h 10585"/>
                <a:gd name="connsiteX4" fmla="*/ 0 w 9805"/>
                <a:gd name="connsiteY4" fmla="*/ 4804 h 10585"/>
                <a:gd name="connsiteX5" fmla="*/ 0 w 9805"/>
                <a:gd name="connsiteY5" fmla="*/ 3845 h 10585"/>
                <a:gd name="connsiteX6" fmla="*/ 2006 w 9805"/>
                <a:gd name="connsiteY6" fmla="*/ 478 h 10585"/>
                <a:gd name="connsiteX7" fmla="*/ 2858 w 9805"/>
                <a:gd name="connsiteY7" fmla="*/ 0 h 10585"/>
                <a:gd name="connsiteX8" fmla="*/ 6852 w 9805"/>
                <a:gd name="connsiteY8" fmla="*/ 9 h 10585"/>
                <a:gd name="connsiteX9" fmla="*/ 7703 w 9805"/>
                <a:gd name="connsiteY9" fmla="*/ 490 h 10585"/>
                <a:gd name="connsiteX10" fmla="*/ 9691 w 9805"/>
                <a:gd name="connsiteY10" fmla="*/ 3865 h 10585"/>
                <a:gd name="connsiteX11" fmla="*/ 9688 w 9805"/>
                <a:gd name="connsiteY11" fmla="*/ 4824 h 10585"/>
                <a:gd name="connsiteX12" fmla="*/ 7685 w 9805"/>
                <a:gd name="connsiteY12" fmla="*/ 8191 h 10585"/>
                <a:gd name="connsiteX13" fmla="*/ 6830 w 9805"/>
                <a:gd name="connsiteY13" fmla="*/ 8669 h 10585"/>
                <a:gd name="connsiteX14" fmla="*/ 3351 w 9805"/>
                <a:gd name="connsiteY14" fmla="*/ 8666 h 10585"/>
                <a:gd name="connsiteX15" fmla="*/ 3065 w 9805"/>
                <a:gd name="connsiteY15" fmla="*/ 9144 h 1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805" h="10585">
                  <a:moveTo>
                    <a:pt x="3065" y="9144"/>
                  </a:moveTo>
                  <a:cubicBezTo>
                    <a:pt x="3567" y="10000"/>
                    <a:pt x="3466" y="9781"/>
                    <a:pt x="3567" y="10000"/>
                  </a:cubicBezTo>
                  <a:cubicBezTo>
                    <a:pt x="3668" y="10219"/>
                    <a:pt x="3768" y="10465"/>
                    <a:pt x="3674" y="10460"/>
                  </a:cubicBezTo>
                  <a:cubicBezTo>
                    <a:pt x="3598" y="10465"/>
                    <a:pt x="3668" y="10942"/>
                    <a:pt x="3056" y="10000"/>
                  </a:cubicBezTo>
                  <a:cubicBezTo>
                    <a:pt x="2444" y="9058"/>
                    <a:pt x="0" y="4804"/>
                    <a:pt x="0" y="4804"/>
                  </a:cubicBezTo>
                  <a:cubicBezTo>
                    <a:pt x="-156" y="4540"/>
                    <a:pt x="-156" y="4109"/>
                    <a:pt x="0" y="3845"/>
                  </a:cubicBezTo>
                  <a:lnTo>
                    <a:pt x="2006" y="478"/>
                  </a:lnTo>
                  <a:cubicBezTo>
                    <a:pt x="2163" y="214"/>
                    <a:pt x="2548" y="0"/>
                    <a:pt x="2858" y="0"/>
                  </a:cubicBezTo>
                  <a:lnTo>
                    <a:pt x="6852" y="9"/>
                  </a:lnTo>
                  <a:cubicBezTo>
                    <a:pt x="7164" y="9"/>
                    <a:pt x="7546" y="226"/>
                    <a:pt x="7703" y="490"/>
                  </a:cubicBezTo>
                  <a:lnTo>
                    <a:pt x="9691" y="3865"/>
                  </a:lnTo>
                  <a:cubicBezTo>
                    <a:pt x="9844" y="4129"/>
                    <a:pt x="9844" y="4560"/>
                    <a:pt x="9688" y="4824"/>
                  </a:cubicBezTo>
                  <a:lnTo>
                    <a:pt x="7685" y="8191"/>
                  </a:lnTo>
                  <a:cubicBezTo>
                    <a:pt x="7525" y="8455"/>
                    <a:pt x="7143" y="8669"/>
                    <a:pt x="6830" y="8669"/>
                  </a:cubicBezTo>
                  <a:lnTo>
                    <a:pt x="3351" y="8666"/>
                  </a:lnTo>
                  <a:cubicBezTo>
                    <a:pt x="3038" y="8663"/>
                    <a:pt x="2912" y="8880"/>
                    <a:pt x="3065" y="91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Rectangle 1"/>
          <p:cNvSpPr/>
          <p:nvPr userDrawn="1"/>
        </p:nvSpPr>
        <p:spPr bwMode="gray">
          <a:xfrm>
            <a:off x="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8" y="306722"/>
                  <a:pt x="4230365" y="306768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3" y="713203"/>
                  <a:pt x="4382282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8" y="78703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4" y="1362235"/>
                  <a:pt x="3578989" y="1359959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4" y="860305"/>
                  <a:pt x="3206540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6" y="930522"/>
                  <a:pt x="2514130" y="931884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4" y="1566804"/>
                  <a:pt x="2230056" y="1568766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56" y="2132859"/>
                  <a:pt x="2639393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5" y="2062343"/>
                  <a:pt x="3332608" y="2059331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3" y="1279274"/>
                  <a:pt x="3865905" y="1280575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88" y="1577240"/>
                  <a:pt x="4120602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6" y="1505272"/>
                  <a:pt x="4579567" y="1503279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4" y="1074122"/>
                  <a:pt x="4744341" y="1071144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4" y="425385"/>
                  <a:pt x="4455510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5" y="354582"/>
                  <a:pt x="5074601" y="353254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3798641" y="6858001"/>
                </a:lnTo>
                <a:lnTo>
                  <a:pt x="3808977" y="6840186"/>
                </a:lnTo>
                <a:cubicBezTo>
                  <a:pt x="3875779" y="6724581"/>
                  <a:pt x="3875779" y="6535759"/>
                  <a:pt x="3810262" y="6420154"/>
                </a:cubicBezTo>
                <a:cubicBezTo>
                  <a:pt x="3810262" y="6420154"/>
                  <a:pt x="3810262" y="6420154"/>
                  <a:pt x="2961102" y="4941694"/>
                </a:cubicBezTo>
                <a:lnTo>
                  <a:pt x="2937921" y="4908297"/>
                </a:lnTo>
                <a:lnTo>
                  <a:pt x="2918773" y="4875174"/>
                </a:lnTo>
                <a:cubicBezTo>
                  <a:pt x="2862729" y="4778222"/>
                  <a:pt x="2793752" y="4658897"/>
                  <a:pt x="2708856" y="4512036"/>
                </a:cubicBezTo>
                <a:cubicBezTo>
                  <a:pt x="2691937" y="4482974"/>
                  <a:pt x="2697960" y="4457890"/>
                  <a:pt x="2720946" y="4447178"/>
                </a:cubicBezTo>
                <a:lnTo>
                  <a:pt x="2746422" y="4442214"/>
                </a:lnTo>
                <a:lnTo>
                  <a:pt x="2756015" y="4442214"/>
                </a:lnTo>
                <a:cubicBezTo>
                  <a:pt x="2819224" y="4442214"/>
                  <a:pt x="3021494" y="4442214"/>
                  <a:pt x="3668758" y="4442214"/>
                </a:cubicBezTo>
                <a:cubicBezTo>
                  <a:pt x="3742436" y="4442214"/>
                  <a:pt x="3832751" y="4389919"/>
                  <a:pt x="3869590" y="4326034"/>
                </a:cubicBezTo>
                <a:cubicBezTo>
                  <a:pt x="3869590" y="4326034"/>
                  <a:pt x="3869590" y="4326034"/>
                  <a:pt x="4340180" y="3510692"/>
                </a:cubicBezTo>
                <a:cubicBezTo>
                  <a:pt x="4377018" y="3447105"/>
                  <a:pt x="4377018" y="3342810"/>
                  <a:pt x="4340180" y="3278926"/>
                </a:cubicBezTo>
                <a:cubicBezTo>
                  <a:pt x="4340180" y="3278926"/>
                  <a:pt x="4340180" y="3278926"/>
                  <a:pt x="3869590" y="2463584"/>
                </a:cubicBezTo>
                <a:cubicBezTo>
                  <a:pt x="3841961" y="2415671"/>
                  <a:pt x="3784252" y="2374444"/>
                  <a:pt x="3726041" y="2356825"/>
                </a:cubicBezTo>
                <a:lnTo>
                  <a:pt x="3668961" y="2347734"/>
                </a:lnTo>
                <a:lnTo>
                  <a:pt x="3505115" y="2347734"/>
                </a:lnTo>
                <a:cubicBezTo>
                  <a:pt x="2732636" y="2347734"/>
                  <a:pt x="2729377" y="2347734"/>
                  <a:pt x="2729363" y="2347734"/>
                </a:cubicBezTo>
                <a:cubicBezTo>
                  <a:pt x="2655982" y="2347734"/>
                  <a:pt x="2565667" y="2400030"/>
                  <a:pt x="2528828" y="2463914"/>
                </a:cubicBezTo>
                <a:cubicBezTo>
                  <a:pt x="2059864" y="3275928"/>
                  <a:pt x="2057950" y="3279243"/>
                  <a:pt x="2057942" y="3279256"/>
                </a:cubicBezTo>
                <a:cubicBezTo>
                  <a:pt x="2021103" y="3342843"/>
                  <a:pt x="2021103" y="3447138"/>
                  <a:pt x="2057942" y="3511022"/>
                </a:cubicBezTo>
                <a:cubicBezTo>
                  <a:pt x="2150856" y="3672330"/>
                  <a:pt x="2232157" y="3813474"/>
                  <a:pt x="2303295" y="3936976"/>
                </a:cubicBezTo>
                <a:lnTo>
                  <a:pt x="2385586" y="4079840"/>
                </a:lnTo>
                <a:lnTo>
                  <a:pt x="2385872" y="4080886"/>
                </a:lnTo>
                <a:cubicBezTo>
                  <a:pt x="2385872" y="4080886"/>
                  <a:pt x="2385872" y="4080886"/>
                  <a:pt x="2467416" y="4222092"/>
                </a:cubicBezTo>
                <a:lnTo>
                  <a:pt x="2509890" y="4295642"/>
                </a:lnTo>
                <a:lnTo>
                  <a:pt x="2528988" y="4328797"/>
                </a:lnTo>
                <a:lnTo>
                  <a:pt x="2529157" y="4329005"/>
                </a:lnTo>
                <a:lnTo>
                  <a:pt x="2565024" y="4391116"/>
                </a:lnTo>
                <a:cubicBezTo>
                  <a:pt x="2606367" y="4462707"/>
                  <a:pt x="2657250" y="4550819"/>
                  <a:pt x="2719876" y="4659265"/>
                </a:cubicBezTo>
                <a:cubicBezTo>
                  <a:pt x="2742183" y="4697869"/>
                  <a:pt x="2723811" y="4729799"/>
                  <a:pt x="2679225" y="4729911"/>
                </a:cubicBezTo>
                <a:cubicBezTo>
                  <a:pt x="2679225" y="4729911"/>
                  <a:pt x="2679225" y="4729911"/>
                  <a:pt x="2411781" y="4730390"/>
                </a:cubicBezTo>
                <a:lnTo>
                  <a:pt x="2355833" y="4730490"/>
                </a:lnTo>
                <a:lnTo>
                  <a:pt x="2293907" y="4730350"/>
                </a:lnTo>
                <a:cubicBezTo>
                  <a:pt x="2057746" y="4729817"/>
                  <a:pt x="1637903" y="4728868"/>
                  <a:pt x="891516" y="4727182"/>
                </a:cubicBezTo>
                <a:cubicBezTo>
                  <a:pt x="759196" y="4727182"/>
                  <a:pt x="594760" y="4820951"/>
                  <a:pt x="527958" y="4936556"/>
                </a:cubicBezTo>
                <a:cubicBezTo>
                  <a:pt x="527958" y="4936556"/>
                  <a:pt x="527958" y="4936556"/>
                  <a:pt x="68354" y="5727502"/>
                </a:cubicBezTo>
                <a:lnTo>
                  <a:pt x="0" y="5845133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3644826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  <a:br>
              <a:rPr lang="en-US" noProof="0"/>
            </a:br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2924818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Subtitle and other information of this presentation</a:t>
            </a:r>
            <a:endParaRPr lang="en-US"/>
          </a:p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1532405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468665" y="5341463"/>
            <a:ext cx="2520000" cy="125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6251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96124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6851648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6283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9620994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675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/>
              <a:t>Insert your agenda points here. Use the button “increase list level” to add </a:t>
            </a:r>
            <a:r>
              <a:rPr lang="en-US" err="1"/>
              <a:t>subitems</a:t>
            </a:r>
            <a:r>
              <a:rPr lang="en-US"/>
              <a:t>.</a:t>
            </a:r>
            <a:br>
              <a:rPr lang="en-US"/>
            </a:br>
            <a:r>
              <a:rPr lang="en-US"/>
              <a:t>You can find other agenda designs within the slide library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9234689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3638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" name="Rectangle 1"/>
          <p:cNvSpPr/>
          <p:nvPr userDrawn="1"/>
        </p:nvSpPr>
        <p:spPr bwMode="gray">
          <a:xfrm>
            <a:off x="1" y="0"/>
            <a:ext cx="5832941" cy="6858000"/>
          </a:xfrm>
          <a:custGeom>
            <a:avLst/>
            <a:gdLst/>
            <a:ahLst/>
            <a:cxnLst/>
            <a:rect l="l" t="t" r="r" b="b"/>
            <a:pathLst>
              <a:path w="5832941" h="6859095">
                <a:moveTo>
                  <a:pt x="0" y="1095"/>
                </a:moveTo>
                <a:lnTo>
                  <a:pt x="2379070" y="1095"/>
                </a:lnTo>
                <a:lnTo>
                  <a:pt x="2375872" y="4439"/>
                </a:lnTo>
                <a:cubicBezTo>
                  <a:pt x="2375863" y="4452"/>
                  <a:pt x="2373953" y="7453"/>
                  <a:pt x="1944472" y="682162"/>
                </a:cubicBezTo>
                <a:cubicBezTo>
                  <a:pt x="1884685" y="775964"/>
                  <a:pt x="1877651" y="934256"/>
                  <a:pt x="1930404" y="1032749"/>
                </a:cubicBezTo>
                <a:cubicBezTo>
                  <a:pt x="1930408" y="1032756"/>
                  <a:pt x="1931244" y="1034335"/>
                  <a:pt x="2127348" y="1404441"/>
                </a:cubicBezTo>
                <a:cubicBezTo>
                  <a:pt x="2178929" y="1502934"/>
                  <a:pt x="2312569" y="1599081"/>
                  <a:pt x="2422764" y="1616669"/>
                </a:cubicBezTo>
                <a:cubicBezTo>
                  <a:pt x="2422777" y="1616671"/>
                  <a:pt x="2427199" y="1617400"/>
                  <a:pt x="3965491" y="1871109"/>
                </a:cubicBezTo>
                <a:cubicBezTo>
                  <a:pt x="4075686" y="1888697"/>
                  <a:pt x="4164779" y="1995397"/>
                  <a:pt x="4164779" y="2106788"/>
                </a:cubicBezTo>
                <a:cubicBezTo>
                  <a:pt x="4164779" y="2106805"/>
                  <a:pt x="4164779" y="2110586"/>
                  <a:pt x="4164779" y="2954528"/>
                </a:cubicBezTo>
                <a:cubicBezTo>
                  <a:pt x="4164779" y="3065918"/>
                  <a:pt x="4075686" y="3172618"/>
                  <a:pt x="3964319" y="3190206"/>
                </a:cubicBezTo>
                <a:cubicBezTo>
                  <a:pt x="3964302" y="3190209"/>
                  <a:pt x="3960071" y="3190896"/>
                  <a:pt x="2910435" y="3361396"/>
                </a:cubicBezTo>
                <a:cubicBezTo>
                  <a:pt x="2800240" y="3380156"/>
                  <a:pt x="2691217" y="3483339"/>
                  <a:pt x="2667772" y="3593557"/>
                </a:cubicBezTo>
                <a:cubicBezTo>
                  <a:pt x="2667771" y="3593562"/>
                  <a:pt x="2667429" y="3595183"/>
                  <a:pt x="2548199" y="4159890"/>
                </a:cubicBezTo>
                <a:cubicBezTo>
                  <a:pt x="2525925" y="4268935"/>
                  <a:pt x="2593918" y="4385016"/>
                  <a:pt x="2700595" y="4417847"/>
                </a:cubicBezTo>
                <a:cubicBezTo>
                  <a:pt x="2700612" y="4417852"/>
                  <a:pt x="2705245" y="4419265"/>
                  <a:pt x="4000659" y="4814162"/>
                </a:cubicBezTo>
                <a:cubicBezTo>
                  <a:pt x="4107337" y="4846993"/>
                  <a:pt x="4195259" y="4965419"/>
                  <a:pt x="4195259" y="5076809"/>
                </a:cubicBezTo>
                <a:cubicBezTo>
                  <a:pt x="4195259" y="5076821"/>
                  <a:pt x="4195259" y="5081382"/>
                  <a:pt x="4195259" y="6818752"/>
                </a:cubicBezTo>
                <a:lnTo>
                  <a:pt x="4195259" y="6859095"/>
                </a:lnTo>
                <a:lnTo>
                  <a:pt x="999485" y="6859095"/>
                </a:lnTo>
                <a:lnTo>
                  <a:pt x="963855" y="6799716"/>
                </a:lnTo>
                <a:cubicBezTo>
                  <a:pt x="953671" y="6773755"/>
                  <a:pt x="948029" y="6746201"/>
                  <a:pt x="948029" y="6718353"/>
                </a:cubicBezTo>
                <a:cubicBezTo>
                  <a:pt x="948029" y="6718334"/>
                  <a:pt x="948029" y="6713539"/>
                  <a:pt x="948029" y="5494230"/>
                </a:cubicBezTo>
                <a:cubicBezTo>
                  <a:pt x="948029" y="5381667"/>
                  <a:pt x="1026573" y="5243309"/>
                  <a:pt x="1122700" y="5185855"/>
                </a:cubicBezTo>
                <a:cubicBezTo>
                  <a:pt x="1122719" y="5185844"/>
                  <a:pt x="1127232" y="5183128"/>
                  <a:pt x="2217614" y="4526892"/>
                </a:cubicBezTo>
                <a:cubicBezTo>
                  <a:pt x="2313742" y="4469438"/>
                  <a:pt x="2409869" y="4333424"/>
                  <a:pt x="2433315" y="4223206"/>
                </a:cubicBezTo>
                <a:cubicBezTo>
                  <a:pt x="2433318" y="4223192"/>
                  <a:pt x="2433954" y="4220138"/>
                  <a:pt x="2573989" y="3547828"/>
                </a:cubicBezTo>
                <a:cubicBezTo>
                  <a:pt x="2596262" y="3438783"/>
                  <a:pt x="2545854" y="3288699"/>
                  <a:pt x="2461449" y="3216002"/>
                </a:cubicBezTo>
                <a:cubicBezTo>
                  <a:pt x="2461438" y="3215993"/>
                  <a:pt x="2459581" y="3214371"/>
                  <a:pt x="2128521" y="2925214"/>
                </a:cubicBezTo>
                <a:cubicBezTo>
                  <a:pt x="2044116" y="2852517"/>
                  <a:pt x="1904614" y="2850172"/>
                  <a:pt x="1817865" y="2921697"/>
                </a:cubicBezTo>
                <a:cubicBezTo>
                  <a:pt x="1817853" y="2921707"/>
                  <a:pt x="1814998" y="2924053"/>
                  <a:pt x="1102771" y="3509135"/>
                </a:cubicBezTo>
                <a:cubicBezTo>
                  <a:pt x="1017194" y="3580659"/>
                  <a:pt x="946857" y="3730743"/>
                  <a:pt x="946857" y="3842134"/>
                </a:cubicBezTo>
                <a:cubicBezTo>
                  <a:pt x="946857" y="3842145"/>
                  <a:pt x="946857" y="3845670"/>
                  <a:pt x="946857" y="4995905"/>
                </a:cubicBezTo>
                <a:cubicBezTo>
                  <a:pt x="946857" y="5107295"/>
                  <a:pt x="860108" y="5228066"/>
                  <a:pt x="753430" y="5264414"/>
                </a:cubicBezTo>
                <a:cubicBezTo>
                  <a:pt x="753412" y="5264420"/>
                  <a:pt x="750175" y="5265507"/>
                  <a:pt x="146651" y="5468184"/>
                </a:cubicBezTo>
                <a:lnTo>
                  <a:pt x="0" y="5517432"/>
                </a:lnTo>
                <a:lnTo>
                  <a:pt x="0" y="3305712"/>
                </a:lnTo>
                <a:lnTo>
                  <a:pt x="96951" y="3327228"/>
                </a:lnTo>
                <a:cubicBezTo>
                  <a:pt x="255209" y="3362349"/>
                  <a:pt x="466220" y="3409177"/>
                  <a:pt x="747569" y="3471614"/>
                </a:cubicBezTo>
                <a:cubicBezTo>
                  <a:pt x="856591" y="3496237"/>
                  <a:pt x="1017194" y="3457543"/>
                  <a:pt x="1102771" y="3386019"/>
                </a:cubicBezTo>
                <a:cubicBezTo>
                  <a:pt x="1102784" y="3386009"/>
                  <a:pt x="1105685" y="3383597"/>
                  <a:pt x="1768629" y="2832584"/>
                </a:cubicBezTo>
                <a:cubicBezTo>
                  <a:pt x="1854206" y="2761060"/>
                  <a:pt x="1942127" y="2613321"/>
                  <a:pt x="1964400" y="2504275"/>
                </a:cubicBezTo>
                <a:cubicBezTo>
                  <a:pt x="1964403" y="2504262"/>
                  <a:pt x="1964982" y="2501309"/>
                  <a:pt x="2095697" y="1834760"/>
                </a:cubicBezTo>
                <a:cubicBezTo>
                  <a:pt x="2116797" y="1724542"/>
                  <a:pt x="2091007" y="1554525"/>
                  <a:pt x="2038254" y="1456033"/>
                </a:cubicBezTo>
                <a:cubicBezTo>
                  <a:pt x="2038251" y="1456027"/>
                  <a:pt x="2037470" y="1454557"/>
                  <a:pt x="1830760" y="1065579"/>
                </a:cubicBezTo>
                <a:cubicBezTo>
                  <a:pt x="1778007" y="967087"/>
                  <a:pt x="1644367" y="876802"/>
                  <a:pt x="1533000" y="866249"/>
                </a:cubicBezTo>
                <a:cubicBezTo>
                  <a:pt x="1532991" y="866248"/>
                  <a:pt x="1529527" y="865906"/>
                  <a:pt x="252897" y="739783"/>
                </a:cubicBezTo>
                <a:lnTo>
                  <a:pt x="0" y="714798"/>
                </a:lnTo>
                <a:close/>
                <a:moveTo>
                  <a:pt x="2916470" y="0"/>
                </a:moveTo>
                <a:lnTo>
                  <a:pt x="3205161" y="0"/>
                </a:lnTo>
                <a:lnTo>
                  <a:pt x="3205161" y="1095"/>
                </a:lnTo>
                <a:lnTo>
                  <a:pt x="5832941" y="1095"/>
                </a:lnTo>
                <a:lnTo>
                  <a:pt x="5832941" y="26517"/>
                </a:lnTo>
                <a:cubicBezTo>
                  <a:pt x="5832941" y="128773"/>
                  <a:pt x="5832941" y="362500"/>
                  <a:pt x="5832941" y="896735"/>
                </a:cubicBezTo>
                <a:cubicBezTo>
                  <a:pt x="5832941" y="1008125"/>
                  <a:pt x="5749709" y="1138277"/>
                  <a:pt x="5647720" y="1185178"/>
                </a:cubicBezTo>
                <a:cubicBezTo>
                  <a:pt x="5647705" y="1185185"/>
                  <a:pt x="5645028" y="1186430"/>
                  <a:pt x="5163566" y="1410304"/>
                </a:cubicBezTo>
                <a:cubicBezTo>
                  <a:pt x="5062750" y="1457205"/>
                  <a:pt x="4903319" y="1444307"/>
                  <a:pt x="4810708" y="1382163"/>
                </a:cubicBezTo>
                <a:cubicBezTo>
                  <a:pt x="4810695" y="1382154"/>
                  <a:pt x="4805643" y="1378788"/>
                  <a:pt x="2849670" y="75240"/>
                </a:cubicBezTo>
                <a:lnTo>
                  <a:pt x="2738416" y="1095"/>
                </a:lnTo>
                <a:lnTo>
                  <a:pt x="2916470" y="109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4292897"/>
            <a:ext cx="640873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  <a:br>
              <a:rPr lang="en-US" noProof="0"/>
            </a:br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3501080"/>
            <a:ext cx="6408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2107718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0" y="2"/>
            <a:ext cx="4165600" cy="5517125"/>
            <a:chOff x="0" y="2"/>
            <a:chExt cx="4165600" cy="5517125"/>
          </a:xfrm>
        </p:grpSpPr>
        <p:sp>
          <p:nvSpPr>
            <p:cNvPr id="20" name="Freeform 40"/>
            <p:cNvSpPr>
              <a:spLocks/>
            </p:cNvSpPr>
            <p:nvPr userDrawn="1"/>
          </p:nvSpPr>
          <p:spPr bwMode="gray">
            <a:xfrm>
              <a:off x="2244725" y="1631950"/>
              <a:ext cx="1920875" cy="1468438"/>
            </a:xfrm>
            <a:custGeom>
              <a:avLst/>
              <a:gdLst>
                <a:gd name="T0" fmla="*/ 658 w 1639"/>
                <a:gd name="T1" fmla="*/ 632 h 1252"/>
                <a:gd name="T2" fmla="*/ 1321 w 1639"/>
                <a:gd name="T3" fmla="*/ 959 h 1252"/>
                <a:gd name="T4" fmla="*/ 1553 w 1639"/>
                <a:gd name="T5" fmla="*/ 866 h 1252"/>
                <a:gd name="T6" fmla="*/ 1639 w 1639"/>
                <a:gd name="T7" fmla="*/ 631 h 1252"/>
                <a:gd name="T8" fmla="*/ 1639 w 1639"/>
                <a:gd name="T9" fmla="*/ 406 h 1252"/>
                <a:gd name="T10" fmla="*/ 1468 w 1639"/>
                <a:gd name="T11" fmla="*/ 204 h 1252"/>
                <a:gd name="T12" fmla="*/ 229 w 1639"/>
                <a:gd name="T13" fmla="*/ 0 h 1252"/>
                <a:gd name="T14" fmla="*/ 354 w 1639"/>
                <a:gd name="T15" fmla="*/ 133 h 1252"/>
                <a:gd name="T16" fmla="*/ 389 w 1639"/>
                <a:gd name="T17" fmla="*/ 280 h 1252"/>
                <a:gd name="T18" fmla="*/ 336 w 1639"/>
                <a:gd name="T19" fmla="*/ 624 h 1252"/>
                <a:gd name="T20" fmla="*/ 0 w 1639"/>
                <a:gd name="T21" fmla="*/ 1189 h 1252"/>
                <a:gd name="T22" fmla="*/ 72 w 1639"/>
                <a:gd name="T23" fmla="*/ 1252 h 1252"/>
                <a:gd name="T24" fmla="*/ 394 w 1639"/>
                <a:gd name="T25" fmla="*/ 710 h 1252"/>
                <a:gd name="T26" fmla="*/ 658 w 1639"/>
                <a:gd name="T27" fmla="*/ 632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39" h="1252">
                  <a:moveTo>
                    <a:pt x="658" y="632"/>
                  </a:moveTo>
                  <a:cubicBezTo>
                    <a:pt x="1321" y="959"/>
                    <a:pt x="1321" y="959"/>
                    <a:pt x="1321" y="959"/>
                  </a:cubicBezTo>
                  <a:cubicBezTo>
                    <a:pt x="1413" y="1005"/>
                    <a:pt x="1518" y="963"/>
                    <a:pt x="1553" y="866"/>
                  </a:cubicBezTo>
                  <a:cubicBezTo>
                    <a:pt x="1639" y="631"/>
                    <a:pt x="1639" y="631"/>
                    <a:pt x="1639" y="631"/>
                  </a:cubicBezTo>
                  <a:cubicBezTo>
                    <a:pt x="1639" y="406"/>
                    <a:pt x="1639" y="406"/>
                    <a:pt x="1639" y="406"/>
                  </a:cubicBezTo>
                  <a:cubicBezTo>
                    <a:pt x="1639" y="310"/>
                    <a:pt x="1562" y="220"/>
                    <a:pt x="1468" y="204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89" y="19"/>
                    <a:pt x="338" y="68"/>
                    <a:pt x="354" y="133"/>
                  </a:cubicBezTo>
                  <a:cubicBezTo>
                    <a:pt x="389" y="280"/>
                    <a:pt x="389" y="280"/>
                    <a:pt x="389" y="280"/>
                  </a:cubicBezTo>
                  <a:cubicBezTo>
                    <a:pt x="412" y="381"/>
                    <a:pt x="389" y="535"/>
                    <a:pt x="336" y="624"/>
                  </a:cubicBezTo>
                  <a:cubicBezTo>
                    <a:pt x="0" y="1189"/>
                    <a:pt x="0" y="1189"/>
                    <a:pt x="0" y="1189"/>
                  </a:cubicBezTo>
                  <a:cubicBezTo>
                    <a:pt x="72" y="1252"/>
                    <a:pt x="72" y="1252"/>
                    <a:pt x="72" y="1252"/>
                  </a:cubicBezTo>
                  <a:cubicBezTo>
                    <a:pt x="394" y="710"/>
                    <a:pt x="394" y="710"/>
                    <a:pt x="394" y="710"/>
                  </a:cubicBezTo>
                  <a:cubicBezTo>
                    <a:pt x="447" y="621"/>
                    <a:pt x="566" y="586"/>
                    <a:pt x="658" y="63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/>
            <p:nvPr userDrawn="1"/>
          </p:nvSpPr>
          <p:spPr bwMode="gray">
            <a:xfrm>
              <a:off x="1" y="3279574"/>
              <a:ext cx="1336675" cy="2237553"/>
            </a:xfrm>
            <a:custGeom>
              <a:avLst/>
              <a:gdLst>
                <a:gd name="connsiteX0" fmla="*/ 1232317 w 1336675"/>
                <a:gd name="connsiteY0" fmla="*/ 0 h 2237553"/>
                <a:gd name="connsiteX1" fmla="*/ 1336675 w 1336675"/>
                <a:gd name="connsiteY1" fmla="*/ 38681 h 2237553"/>
                <a:gd name="connsiteX2" fmla="*/ 1103335 w 1336675"/>
                <a:gd name="connsiteY2" fmla="*/ 230918 h 2237553"/>
                <a:gd name="connsiteX3" fmla="*/ 946211 w 1336675"/>
                <a:gd name="connsiteY3" fmla="*/ 562644 h 2237553"/>
                <a:gd name="connsiteX4" fmla="*/ 946211 w 1336675"/>
                <a:gd name="connsiteY4" fmla="*/ 1716064 h 2237553"/>
                <a:gd name="connsiteX5" fmla="*/ 753911 w 1336675"/>
                <a:gd name="connsiteY5" fmla="*/ 1984492 h 2237553"/>
                <a:gd name="connsiteX6" fmla="*/ 110565 w 1336675"/>
                <a:gd name="connsiteY6" fmla="*/ 2200440 h 2237553"/>
                <a:gd name="connsiteX7" fmla="*/ 0 w 1336675"/>
                <a:gd name="connsiteY7" fmla="*/ 2237553 h 2237553"/>
                <a:gd name="connsiteX8" fmla="*/ 0 w 1336675"/>
                <a:gd name="connsiteY8" fmla="*/ 26059 h 2237553"/>
                <a:gd name="connsiteX9" fmla="*/ 83039 w 1336675"/>
                <a:gd name="connsiteY9" fmla="*/ 44506 h 2237553"/>
                <a:gd name="connsiteX10" fmla="*/ 748048 w 1336675"/>
                <a:gd name="connsiteY10" fmla="*/ 192236 h 2237553"/>
                <a:gd name="connsiteX11" fmla="*/ 1103335 w 1336675"/>
                <a:gd name="connsiteY11" fmla="*/ 106668 h 2237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6675" h="2237553">
                  <a:moveTo>
                    <a:pt x="1232317" y="0"/>
                  </a:moveTo>
                  <a:cubicBezTo>
                    <a:pt x="1232317" y="0"/>
                    <a:pt x="1232317" y="0"/>
                    <a:pt x="1336675" y="38681"/>
                  </a:cubicBezTo>
                  <a:cubicBezTo>
                    <a:pt x="1336675" y="38681"/>
                    <a:pt x="1336675" y="38681"/>
                    <a:pt x="1103335" y="230918"/>
                  </a:cubicBezTo>
                  <a:cubicBezTo>
                    <a:pt x="1017738" y="301249"/>
                    <a:pt x="946211" y="451287"/>
                    <a:pt x="946211" y="562644"/>
                  </a:cubicBezTo>
                  <a:cubicBezTo>
                    <a:pt x="946211" y="562644"/>
                    <a:pt x="946211" y="562644"/>
                    <a:pt x="946211" y="1716064"/>
                  </a:cubicBezTo>
                  <a:cubicBezTo>
                    <a:pt x="946211" y="1828593"/>
                    <a:pt x="859442" y="1948155"/>
                    <a:pt x="753911" y="1984492"/>
                  </a:cubicBezTo>
                  <a:cubicBezTo>
                    <a:pt x="753911" y="1984492"/>
                    <a:pt x="753911" y="1984492"/>
                    <a:pt x="110565" y="2200440"/>
                  </a:cubicBezTo>
                  <a:lnTo>
                    <a:pt x="0" y="2237553"/>
                  </a:lnTo>
                  <a:lnTo>
                    <a:pt x="0" y="26059"/>
                  </a:lnTo>
                  <a:lnTo>
                    <a:pt x="83039" y="44506"/>
                  </a:lnTo>
                  <a:cubicBezTo>
                    <a:pt x="244798" y="80440"/>
                    <a:pt x="460477" y="128353"/>
                    <a:pt x="748048" y="192236"/>
                  </a:cubicBezTo>
                  <a:cubicBezTo>
                    <a:pt x="857096" y="216852"/>
                    <a:pt x="1016565" y="178170"/>
                    <a:pt x="1103335" y="106668"/>
                  </a:cubicBez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4" name="Freihandform 13"/>
            <p:cNvSpPr/>
            <p:nvPr userDrawn="1"/>
          </p:nvSpPr>
          <p:spPr bwMode="gray">
            <a:xfrm>
              <a:off x="0" y="2"/>
              <a:ext cx="1614244" cy="883735"/>
            </a:xfrm>
            <a:custGeom>
              <a:avLst/>
              <a:gdLst>
                <a:gd name="connsiteX0" fmla="*/ 0 w 1614244"/>
                <a:gd name="connsiteY0" fmla="*/ 0 h 883735"/>
                <a:gd name="connsiteX1" fmla="*/ 827794 w 1614244"/>
                <a:gd name="connsiteY1" fmla="*/ 0 h 883735"/>
                <a:gd name="connsiteX2" fmla="*/ 1088662 w 1614244"/>
                <a:gd name="connsiteY2" fmla="*/ 95411 h 883735"/>
                <a:gd name="connsiteX3" fmla="*/ 1413677 w 1614244"/>
                <a:gd name="connsiteY3" fmla="*/ 214283 h 883735"/>
                <a:gd name="connsiteX4" fmla="*/ 1614145 w 1614244"/>
                <a:gd name="connsiteY4" fmla="*/ 509733 h 883735"/>
                <a:gd name="connsiteX5" fmla="*/ 1604767 w 1614244"/>
                <a:gd name="connsiteY5" fmla="*/ 883735 h 883735"/>
                <a:gd name="connsiteX6" fmla="*/ 1532082 w 1614244"/>
                <a:gd name="connsiteY6" fmla="*/ 867321 h 883735"/>
                <a:gd name="connsiteX7" fmla="*/ 54021 w 1614244"/>
                <a:gd name="connsiteY7" fmla="*/ 721231 h 883735"/>
                <a:gd name="connsiteX8" fmla="*/ 0 w 1614244"/>
                <a:gd name="connsiteY8" fmla="*/ 715892 h 88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4244" h="883735">
                  <a:moveTo>
                    <a:pt x="0" y="0"/>
                  </a:moveTo>
                  <a:lnTo>
                    <a:pt x="827794" y="0"/>
                  </a:lnTo>
                  <a:lnTo>
                    <a:pt x="1088662" y="95411"/>
                  </a:lnTo>
                  <a:cubicBezTo>
                    <a:pt x="1190088" y="132507"/>
                    <a:pt x="1298277" y="172076"/>
                    <a:pt x="1413677" y="214283"/>
                  </a:cubicBezTo>
                  <a:cubicBezTo>
                    <a:pt x="1527393" y="256490"/>
                    <a:pt x="1617662" y="388974"/>
                    <a:pt x="1614145" y="509733"/>
                  </a:cubicBezTo>
                  <a:cubicBezTo>
                    <a:pt x="1614145" y="509733"/>
                    <a:pt x="1614145" y="509733"/>
                    <a:pt x="1604767" y="883735"/>
                  </a:cubicBezTo>
                  <a:cubicBezTo>
                    <a:pt x="1580148" y="875528"/>
                    <a:pt x="1555529" y="869666"/>
                    <a:pt x="1532082" y="867321"/>
                  </a:cubicBezTo>
                  <a:cubicBezTo>
                    <a:pt x="1532082" y="867321"/>
                    <a:pt x="1532082" y="867321"/>
                    <a:pt x="54021" y="721231"/>
                  </a:cubicBezTo>
                  <a:lnTo>
                    <a:pt x="0" y="715892"/>
                  </a:lnTo>
                  <a:close/>
                </a:path>
              </a:pathLst>
            </a:cu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en-US" sz="1400" kern="0">
                <a:solidFill>
                  <a:srgbClr val="FFFFFF"/>
                </a:solidFill>
                <a:latin typeface="Verdana"/>
              </a:endParaRPr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271744" y="5271235"/>
            <a:ext cx="2520000" cy="1254109"/>
          </a:xfrm>
          <a:prstGeom prst="rect">
            <a:avLst/>
          </a:prstGeom>
        </p:spPr>
      </p:pic>
      <p:grpSp>
        <p:nvGrpSpPr>
          <p:cNvPr id="13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15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3654880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8073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Freeform 15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028369 w 12192000"/>
              <a:gd name="connsiteY0" fmla="*/ 0 h 6858000"/>
              <a:gd name="connsiteX1" fmla="*/ 6019945 w 12192000"/>
              <a:gd name="connsiteY1" fmla="*/ 0 h 6858000"/>
              <a:gd name="connsiteX2" fmla="*/ 6010517 w 12192000"/>
              <a:gd name="connsiteY2" fmla="*/ 24413 h 6858000"/>
              <a:gd name="connsiteX3" fmla="*/ 5988728 w 12192000"/>
              <a:gd name="connsiteY3" fmla="*/ 542902 h 6858000"/>
              <a:gd name="connsiteX4" fmla="*/ 8283293 w 12192000"/>
              <a:gd name="connsiteY4" fmla="*/ 2994229 h 6858000"/>
              <a:gd name="connsiteX5" fmla="*/ 11934313 w 12192000"/>
              <a:gd name="connsiteY5" fmla="*/ 4275389 h 6858000"/>
              <a:gd name="connsiteX6" fmla="*/ 12139920 w 12192000"/>
              <a:gd name="connsiteY6" fmla="*/ 4248830 h 6858000"/>
              <a:gd name="connsiteX7" fmla="*/ 12192000 w 12192000"/>
              <a:gd name="connsiteY7" fmla="*/ 4238176 h 6858000"/>
              <a:gd name="connsiteX8" fmla="*/ 12192000 w 12192000"/>
              <a:gd name="connsiteY8" fmla="*/ 4877795 h 6858000"/>
              <a:gd name="connsiteX9" fmla="*/ 12173693 w 12192000"/>
              <a:gd name="connsiteY9" fmla="*/ 4890450 h 6858000"/>
              <a:gd name="connsiteX10" fmla="*/ 11823388 w 12192000"/>
              <a:gd name="connsiteY10" fmla="*/ 5651684 h 6858000"/>
              <a:gd name="connsiteX11" fmla="*/ 12181381 w 12192000"/>
              <a:gd name="connsiteY11" fmla="*/ 6745688 h 6858000"/>
              <a:gd name="connsiteX12" fmla="*/ 12192000 w 12192000"/>
              <a:gd name="connsiteY12" fmla="*/ 6767229 h 6858000"/>
              <a:gd name="connsiteX13" fmla="*/ 12192000 w 12192000"/>
              <a:gd name="connsiteY13" fmla="*/ 6858000 h 6858000"/>
              <a:gd name="connsiteX14" fmla="*/ 11748516 w 12192000"/>
              <a:gd name="connsiteY14" fmla="*/ 6858000 h 6858000"/>
              <a:gd name="connsiteX15" fmla="*/ 11744223 w 12192000"/>
              <a:gd name="connsiteY15" fmla="*/ 6845586 h 6858000"/>
              <a:gd name="connsiteX16" fmla="*/ 11424057 w 12192000"/>
              <a:gd name="connsiteY16" fmla="*/ 5987830 h 6858000"/>
              <a:gd name="connsiteX17" fmla="*/ 8644592 w 12192000"/>
              <a:gd name="connsiteY17" fmla="*/ 3856792 h 6858000"/>
              <a:gd name="connsiteX18" fmla="*/ 5459457 w 12192000"/>
              <a:gd name="connsiteY18" fmla="*/ 4687643 h 6858000"/>
              <a:gd name="connsiteX19" fmla="*/ 4527600 w 12192000"/>
              <a:gd name="connsiteY19" fmla="*/ 6636628 h 6858000"/>
              <a:gd name="connsiteX20" fmla="*/ 4523380 w 12192000"/>
              <a:gd name="connsiteY20" fmla="*/ 6858000 h 6858000"/>
              <a:gd name="connsiteX21" fmla="*/ 4101261 w 12192000"/>
              <a:gd name="connsiteY21" fmla="*/ 6858000 h 6858000"/>
              <a:gd name="connsiteX22" fmla="*/ 4129024 w 12192000"/>
              <a:gd name="connsiteY22" fmla="*/ 6686756 h 6858000"/>
              <a:gd name="connsiteX23" fmla="*/ 5583060 w 12192000"/>
              <a:gd name="connsiteY23" fmla="*/ 860020 h 6858000"/>
              <a:gd name="connsiteX24" fmla="*/ 3662471 w 12192000"/>
              <a:gd name="connsiteY24" fmla="*/ 270180 h 6858000"/>
              <a:gd name="connsiteX25" fmla="*/ 198439 w 12192000"/>
              <a:gd name="connsiteY25" fmla="*/ 2486840 h 6858000"/>
              <a:gd name="connsiteX26" fmla="*/ 0 w 12192000"/>
              <a:gd name="connsiteY26" fmla="*/ 2850498 h 6858000"/>
              <a:gd name="connsiteX27" fmla="*/ 0 w 12192000"/>
              <a:gd name="connsiteY27" fmla="*/ 651095 h 6858000"/>
              <a:gd name="connsiteX28" fmla="*/ 13333 w 12192000"/>
              <a:gd name="connsiteY28" fmla="*/ 659740 h 6858000"/>
              <a:gd name="connsiteX29" fmla="*/ 1529540 w 12192000"/>
              <a:gd name="connsiteY29" fmla="*/ 571443 h 6858000"/>
              <a:gd name="connsiteX30" fmla="*/ 2758320 w 12192000"/>
              <a:gd name="connsiteY30" fmla="*/ 1001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2000" h="6858000">
                <a:moveTo>
                  <a:pt x="3028369" y="0"/>
                </a:moveTo>
                <a:lnTo>
                  <a:pt x="6019945" y="0"/>
                </a:lnTo>
                <a:lnTo>
                  <a:pt x="6010517" y="24413"/>
                </a:lnTo>
                <a:cubicBezTo>
                  <a:pt x="5959413" y="184558"/>
                  <a:pt x="5947528" y="357387"/>
                  <a:pt x="5988728" y="542902"/>
                </a:cubicBezTo>
                <a:cubicBezTo>
                  <a:pt x="6483137" y="1684529"/>
                  <a:pt x="7269121" y="2328280"/>
                  <a:pt x="8283293" y="2994229"/>
                </a:cubicBezTo>
                <a:cubicBezTo>
                  <a:pt x="9376697" y="3714089"/>
                  <a:pt x="10672936" y="4269046"/>
                  <a:pt x="11934313" y="4275389"/>
                </a:cubicBezTo>
                <a:cubicBezTo>
                  <a:pt x="11977098" y="4275389"/>
                  <a:pt x="12048407" y="4265875"/>
                  <a:pt x="12139920" y="4248830"/>
                </a:cubicBezTo>
                <a:lnTo>
                  <a:pt x="12192000" y="4238176"/>
                </a:lnTo>
                <a:lnTo>
                  <a:pt x="12192000" y="4877795"/>
                </a:lnTo>
                <a:lnTo>
                  <a:pt x="12173693" y="4890450"/>
                </a:lnTo>
                <a:cubicBezTo>
                  <a:pt x="11925003" y="5082654"/>
                  <a:pt x="11809126" y="5309196"/>
                  <a:pt x="11823388" y="5651684"/>
                </a:cubicBezTo>
                <a:cubicBezTo>
                  <a:pt x="11831707" y="5818171"/>
                  <a:pt x="11946792" y="6244448"/>
                  <a:pt x="12181381" y="6745688"/>
                </a:cubicBezTo>
                <a:lnTo>
                  <a:pt x="12192000" y="6767229"/>
                </a:lnTo>
                <a:lnTo>
                  <a:pt x="12192000" y="6858000"/>
                </a:lnTo>
                <a:lnTo>
                  <a:pt x="11748516" y="6858000"/>
                </a:lnTo>
                <a:lnTo>
                  <a:pt x="11744223" y="6845586"/>
                </a:lnTo>
                <a:cubicBezTo>
                  <a:pt x="11639321" y="6545909"/>
                  <a:pt x="11479520" y="6112695"/>
                  <a:pt x="11424057" y="5987830"/>
                </a:cubicBezTo>
                <a:cubicBezTo>
                  <a:pt x="10920140" y="4849374"/>
                  <a:pt x="9953508" y="3920216"/>
                  <a:pt x="8644592" y="3856792"/>
                </a:cubicBezTo>
                <a:cubicBezTo>
                  <a:pt x="7446601" y="3799711"/>
                  <a:pt x="6365874" y="3986811"/>
                  <a:pt x="5459457" y="4687643"/>
                </a:cubicBezTo>
                <a:cubicBezTo>
                  <a:pt x="4849369" y="5159357"/>
                  <a:pt x="4574137" y="5876293"/>
                  <a:pt x="4527600" y="6636628"/>
                </a:cubicBezTo>
                <a:lnTo>
                  <a:pt x="4523380" y="6858000"/>
                </a:lnTo>
                <a:lnTo>
                  <a:pt x="4101261" y="6858000"/>
                </a:lnTo>
                <a:lnTo>
                  <a:pt x="4129024" y="6686756"/>
                </a:lnTo>
                <a:cubicBezTo>
                  <a:pt x="4619962" y="3869418"/>
                  <a:pt x="5877804" y="2678696"/>
                  <a:pt x="5583060" y="860020"/>
                </a:cubicBezTo>
                <a:cubicBezTo>
                  <a:pt x="5434103" y="-59624"/>
                  <a:pt x="4099833" y="127476"/>
                  <a:pt x="3662471" y="270180"/>
                </a:cubicBezTo>
                <a:cubicBezTo>
                  <a:pt x="1529540" y="980525"/>
                  <a:pt x="1031962" y="1034436"/>
                  <a:pt x="198439" y="2486840"/>
                </a:cubicBezTo>
                <a:lnTo>
                  <a:pt x="0" y="2850498"/>
                </a:lnTo>
                <a:lnTo>
                  <a:pt x="0" y="651095"/>
                </a:lnTo>
                <a:lnTo>
                  <a:pt x="13333" y="659740"/>
                </a:lnTo>
                <a:cubicBezTo>
                  <a:pt x="306591" y="810471"/>
                  <a:pt x="766534" y="821173"/>
                  <a:pt x="1529540" y="571443"/>
                </a:cubicBezTo>
                <a:cubicBezTo>
                  <a:pt x="1798930" y="482253"/>
                  <a:pt x="2293636" y="276621"/>
                  <a:pt x="2758320" y="10010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49336 w 12160800"/>
              <a:gd name="connsiteY0" fmla="*/ 0 h 6858000"/>
              <a:gd name="connsiteX1" fmla="*/ 2343649 w 12160800"/>
              <a:gd name="connsiteY1" fmla="*/ 0 h 6858000"/>
              <a:gd name="connsiteX2" fmla="*/ 2362300 w 12160800"/>
              <a:gd name="connsiteY2" fmla="*/ 74444 h 6858000"/>
              <a:gd name="connsiteX3" fmla="*/ 3066495 w 12160800"/>
              <a:gd name="connsiteY3" fmla="*/ 1483638 h 6858000"/>
              <a:gd name="connsiteX4" fmla="*/ 3887362 w 12160800"/>
              <a:gd name="connsiteY4" fmla="*/ 1569259 h 6858000"/>
              <a:gd name="connsiteX5" fmla="*/ 4635346 w 12160800"/>
              <a:gd name="connsiteY5" fmla="*/ 56135 h 6858000"/>
              <a:gd name="connsiteX6" fmla="*/ 4613106 w 12160800"/>
              <a:gd name="connsiteY6" fmla="*/ 0 h 6858000"/>
              <a:gd name="connsiteX7" fmla="*/ 12160800 w 12160800"/>
              <a:gd name="connsiteY7" fmla="*/ 0 h 6858000"/>
              <a:gd name="connsiteX8" fmla="*/ 12160800 w 12160800"/>
              <a:gd name="connsiteY8" fmla="*/ 6858000 h 6858000"/>
              <a:gd name="connsiteX9" fmla="*/ 6255540 w 12160800"/>
              <a:gd name="connsiteY9" fmla="*/ 6858000 h 6858000"/>
              <a:gd name="connsiteX10" fmla="*/ 6191495 w 12160800"/>
              <a:gd name="connsiteY10" fmla="*/ 6468735 h 6858000"/>
              <a:gd name="connsiteX11" fmla="*/ 5449862 w 12160800"/>
              <a:gd name="connsiteY11" fmla="*/ 4474062 h 6858000"/>
              <a:gd name="connsiteX12" fmla="*/ 4895222 w 12160800"/>
              <a:gd name="connsiteY12" fmla="*/ 3322923 h 6858000"/>
              <a:gd name="connsiteX13" fmla="*/ 2527702 w 12160800"/>
              <a:gd name="connsiteY13" fmla="*/ 2714056 h 6858000"/>
              <a:gd name="connsiteX14" fmla="*/ 870120 w 12160800"/>
              <a:gd name="connsiteY14" fmla="*/ 4667504 h 6858000"/>
              <a:gd name="connsiteX15" fmla="*/ 677253 w 12160800"/>
              <a:gd name="connsiteY15" fmla="*/ 6722405 h 6858000"/>
              <a:gd name="connsiteX16" fmla="*/ 731247 w 12160800"/>
              <a:gd name="connsiteY16" fmla="*/ 6858000 h 6858000"/>
              <a:gd name="connsiteX17" fmla="*/ 0 w 12160800"/>
              <a:gd name="connsiteY17" fmla="*/ 6858000 h 6858000"/>
              <a:gd name="connsiteX18" fmla="*/ 0 w 12160800"/>
              <a:gd name="connsiteY18" fmla="*/ 4583499 h 6858000"/>
              <a:gd name="connsiteX19" fmla="*/ 125318 w 12160800"/>
              <a:gd name="connsiteY19" fmla="*/ 4534314 h 6858000"/>
              <a:gd name="connsiteX20" fmla="*/ 2207595 w 12160800"/>
              <a:gd name="connsiteY20" fmla="*/ 2580866 h 6858000"/>
              <a:gd name="connsiteX21" fmla="*/ 2404096 w 12160800"/>
              <a:gd name="connsiteY21" fmla="*/ 674986 h 6858000"/>
              <a:gd name="connsiteX22" fmla="*/ 1418422 w 12160800"/>
              <a:gd name="connsiteY22" fmla="*/ 9038 h 6858000"/>
              <a:gd name="connsiteX23" fmla="*/ 88715 w 12160800"/>
              <a:gd name="connsiteY23" fmla="*/ 380165 h 6858000"/>
              <a:gd name="connsiteX24" fmla="*/ 0 w 12160800"/>
              <a:gd name="connsiteY24" fmla="*/ 432649 h 6858000"/>
              <a:gd name="connsiteX25" fmla="*/ 0 w 12160800"/>
              <a:gd name="connsiteY25" fmla="*/ 218659 h 6858000"/>
              <a:gd name="connsiteX26" fmla="*/ 3446 w 12160800"/>
              <a:gd name="connsiteY26" fmla="*/ 216602 h 6858000"/>
              <a:gd name="connsiteX27" fmla="*/ 331723 w 12160800"/>
              <a:gd name="connsiteY27" fmla="*/ 118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60800" h="6858000">
                <a:moveTo>
                  <a:pt x="349336" y="0"/>
                </a:moveTo>
                <a:lnTo>
                  <a:pt x="2343649" y="0"/>
                </a:lnTo>
                <a:lnTo>
                  <a:pt x="2362300" y="74444"/>
                </a:lnTo>
                <a:cubicBezTo>
                  <a:pt x="2552462" y="724338"/>
                  <a:pt x="2869202" y="1267204"/>
                  <a:pt x="3066495" y="1483638"/>
                </a:cubicBezTo>
                <a:cubicBezTo>
                  <a:pt x="3180592" y="1610485"/>
                  <a:pt x="3510207" y="1750017"/>
                  <a:pt x="3887362" y="1569259"/>
                </a:cubicBezTo>
                <a:cubicBezTo>
                  <a:pt x="4392085" y="1325078"/>
                  <a:pt x="4857982" y="738559"/>
                  <a:pt x="4635346" y="56135"/>
                </a:cubicBezTo>
                <a:lnTo>
                  <a:pt x="4613106" y="0"/>
                </a:lnTo>
                <a:lnTo>
                  <a:pt x="12160800" y="0"/>
                </a:lnTo>
                <a:lnTo>
                  <a:pt x="12160800" y="6858000"/>
                </a:lnTo>
                <a:lnTo>
                  <a:pt x="6255540" y="6858000"/>
                </a:lnTo>
                <a:lnTo>
                  <a:pt x="6191495" y="6468735"/>
                </a:lnTo>
                <a:cubicBezTo>
                  <a:pt x="6052043" y="5780588"/>
                  <a:pt x="5760461" y="5120983"/>
                  <a:pt x="5449862" y="4474062"/>
                </a:cubicBezTo>
                <a:cubicBezTo>
                  <a:pt x="5430846" y="4436007"/>
                  <a:pt x="5120248" y="3808114"/>
                  <a:pt x="4895222" y="3322923"/>
                </a:cubicBezTo>
                <a:cubicBezTo>
                  <a:pt x="4473696" y="2409622"/>
                  <a:pt x="3082342" y="2162270"/>
                  <a:pt x="2527702" y="2714056"/>
                </a:cubicBezTo>
                <a:cubicBezTo>
                  <a:pt x="2042788" y="3199247"/>
                  <a:pt x="1082468" y="4302818"/>
                  <a:pt x="870120" y="4667504"/>
                </a:cubicBezTo>
                <a:cubicBezTo>
                  <a:pt x="495738" y="5314028"/>
                  <a:pt x="439234" y="6018823"/>
                  <a:pt x="677253" y="6722405"/>
                </a:cubicBezTo>
                <a:lnTo>
                  <a:pt x="731247" y="6858000"/>
                </a:lnTo>
                <a:lnTo>
                  <a:pt x="0" y="6858000"/>
                </a:lnTo>
                <a:lnTo>
                  <a:pt x="0" y="4583499"/>
                </a:lnTo>
                <a:lnTo>
                  <a:pt x="125318" y="4534314"/>
                </a:lnTo>
                <a:cubicBezTo>
                  <a:pt x="1028589" y="4156944"/>
                  <a:pt x="1789238" y="3465626"/>
                  <a:pt x="2207595" y="2580866"/>
                </a:cubicBezTo>
                <a:cubicBezTo>
                  <a:pt x="2473823" y="2010054"/>
                  <a:pt x="2679832" y="1299709"/>
                  <a:pt x="2404096" y="674986"/>
                </a:cubicBezTo>
                <a:cubicBezTo>
                  <a:pt x="2229781" y="288102"/>
                  <a:pt x="1843118" y="18552"/>
                  <a:pt x="1418422" y="9038"/>
                </a:cubicBezTo>
                <a:cubicBezTo>
                  <a:pt x="966390" y="-4836"/>
                  <a:pt x="516785" y="141534"/>
                  <a:pt x="88715" y="380165"/>
                </a:cubicBezTo>
                <a:lnTo>
                  <a:pt x="0" y="432649"/>
                </a:lnTo>
                <a:lnTo>
                  <a:pt x="0" y="218659"/>
                </a:lnTo>
                <a:lnTo>
                  <a:pt x="3446" y="216602"/>
                </a:lnTo>
                <a:cubicBezTo>
                  <a:pt x="117494" y="147282"/>
                  <a:pt x="227332" y="79002"/>
                  <a:pt x="331723" y="1181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08663" y="3501000"/>
            <a:ext cx="5759450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</a:p>
          <a:p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07692" y="2709681"/>
            <a:ext cx="5760420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807692" y="1316405"/>
            <a:ext cx="5760420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983432" y="5070131"/>
            <a:ext cx="2880000" cy="1455213"/>
          </a:xfrm>
          <a:prstGeom prst="rect">
            <a:avLst/>
          </a:prstGeom>
        </p:spPr>
      </p:pic>
      <p:grpSp>
        <p:nvGrpSpPr>
          <p:cNvPr id="11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2940805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728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1" y="1885410"/>
            <a:ext cx="1552255" cy="1502862"/>
            <a:chOff x="1" y="1885410"/>
            <a:chExt cx="1552255" cy="1502862"/>
          </a:xfrm>
        </p:grpSpPr>
        <p:sp>
          <p:nvSpPr>
            <p:cNvPr id="8" name="Rect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Rectangle 2"/>
          <p:cNvSpPr/>
          <p:nvPr userDrawn="1"/>
        </p:nvSpPr>
        <p:spPr bwMode="gray">
          <a:xfrm>
            <a:off x="-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9" y="306723"/>
                  <a:pt x="4230370" y="306776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1" y="713203"/>
                  <a:pt x="4382093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2" y="78704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0" y="1362228"/>
                  <a:pt x="3578661" y="1359392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0" y="860305"/>
                  <a:pt x="3206097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4" y="930525"/>
                  <a:pt x="2513854" y="932363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7" y="1566810"/>
                  <a:pt x="2230408" y="1569375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62" y="2132859"/>
                  <a:pt x="2639988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6" y="2062341"/>
                  <a:pt x="3332771" y="2059049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6" y="1279278"/>
                  <a:pt x="3866100" y="1280911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96" y="1577240"/>
                  <a:pt x="4121116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9" y="1505267"/>
                  <a:pt x="4579756" y="1502951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1" y="1074116"/>
                  <a:pt x="4744040" y="1070620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8" y="425385"/>
                  <a:pt x="4455756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8" y="354577"/>
                  <a:pt x="5074799" y="352910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5519936" y="6858001"/>
                </a:lnTo>
                <a:lnTo>
                  <a:pt x="3798641" y="6858001"/>
                </a:lnTo>
                <a:lnTo>
                  <a:pt x="0" y="6858001"/>
                </a:lnTo>
                <a:lnTo>
                  <a:pt x="0" y="5845133"/>
                </a:lnTo>
                <a:lnTo>
                  <a:pt x="0" y="3429000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7" name="Picture Placeholder 31"/>
          <p:cNvSpPr>
            <a:spLocks noGrp="1"/>
          </p:cNvSpPr>
          <p:nvPr>
            <p:ph type="pic" sz="quarter" idx="20"/>
          </p:nvPr>
        </p:nvSpPr>
        <p:spPr bwMode="gray">
          <a:xfrm>
            <a:off x="1263273" y="2341919"/>
            <a:ext cx="5552809" cy="4516082"/>
          </a:xfrm>
          <a:custGeom>
            <a:avLst/>
            <a:gdLst>
              <a:gd name="connsiteX0" fmla="*/ 1660621 w 5552809"/>
              <a:gd name="connsiteY0" fmla="*/ 0 h 4516082"/>
              <a:gd name="connsiteX1" fmla="*/ 3503449 w 5552809"/>
              <a:gd name="connsiteY1" fmla="*/ 0 h 4516082"/>
              <a:gd name="connsiteX2" fmla="*/ 3892671 w 5552809"/>
              <a:gd name="connsiteY2" fmla="*/ 0 h 4516082"/>
              <a:gd name="connsiteX3" fmla="*/ 4028266 w 5552809"/>
              <a:gd name="connsiteY3" fmla="*/ 21596 h 4516082"/>
              <a:gd name="connsiteX4" fmla="*/ 4369271 w 5552809"/>
              <a:gd name="connsiteY4" fmla="*/ 275207 h 4516082"/>
              <a:gd name="connsiteX5" fmla="*/ 5487175 w 5552809"/>
              <a:gd name="connsiteY5" fmla="*/ 2212080 h 4516082"/>
              <a:gd name="connsiteX6" fmla="*/ 5487175 w 5552809"/>
              <a:gd name="connsiteY6" fmla="*/ 2762650 h 4516082"/>
              <a:gd name="connsiteX7" fmla="*/ 4509009 w 5552809"/>
              <a:gd name="connsiteY7" fmla="*/ 4457414 h 4516082"/>
              <a:gd name="connsiteX8" fmla="*/ 4475148 w 5552809"/>
              <a:gd name="connsiteY8" fmla="*/ 4516082 h 4516082"/>
              <a:gd name="connsiteX9" fmla="*/ 1075176 w 5552809"/>
              <a:gd name="connsiteY9" fmla="*/ 4516082 h 4516082"/>
              <a:gd name="connsiteX10" fmla="*/ 989424 w 5552809"/>
              <a:gd name="connsiteY10" fmla="*/ 4367209 h 4516082"/>
              <a:gd name="connsiteX11" fmla="*/ 65634 w 5552809"/>
              <a:gd name="connsiteY11" fmla="*/ 2763432 h 4516082"/>
              <a:gd name="connsiteX12" fmla="*/ 65634 w 5552809"/>
              <a:gd name="connsiteY12" fmla="*/ 2212863 h 4516082"/>
              <a:gd name="connsiteX13" fmla="*/ 1184242 w 5552809"/>
              <a:gd name="connsiteY13" fmla="*/ 275990 h 4516082"/>
              <a:gd name="connsiteX14" fmla="*/ 1660621 w 5552809"/>
              <a:gd name="connsiteY14" fmla="*/ 0 h 451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552809" h="4516082">
                <a:moveTo>
                  <a:pt x="1660621" y="0"/>
                </a:moveTo>
                <a:cubicBezTo>
                  <a:pt x="1660621" y="0"/>
                  <a:pt x="1660621" y="0"/>
                  <a:pt x="3503449" y="0"/>
                </a:cubicBezTo>
                <a:lnTo>
                  <a:pt x="3892671" y="0"/>
                </a:lnTo>
                <a:lnTo>
                  <a:pt x="4028266" y="21596"/>
                </a:lnTo>
                <a:cubicBezTo>
                  <a:pt x="4166548" y="63450"/>
                  <a:pt x="4303639" y="161388"/>
                  <a:pt x="4369271" y="275207"/>
                </a:cubicBezTo>
                <a:cubicBezTo>
                  <a:pt x="5487175" y="2212080"/>
                  <a:pt x="5487175" y="2212080"/>
                  <a:pt x="5487175" y="2212080"/>
                </a:cubicBezTo>
                <a:cubicBezTo>
                  <a:pt x="5574687" y="2363839"/>
                  <a:pt x="5574687" y="2611596"/>
                  <a:pt x="5487175" y="2762650"/>
                </a:cubicBezTo>
                <a:cubicBezTo>
                  <a:pt x="4928223" y="3731086"/>
                  <a:pt x="4648747" y="4215305"/>
                  <a:pt x="4509009" y="4457414"/>
                </a:cubicBezTo>
                <a:lnTo>
                  <a:pt x="4475148" y="4516082"/>
                </a:lnTo>
                <a:lnTo>
                  <a:pt x="1075176" y="4516082"/>
                </a:lnTo>
                <a:lnTo>
                  <a:pt x="989424" y="4367209"/>
                </a:lnTo>
                <a:cubicBezTo>
                  <a:pt x="753668" y="3957915"/>
                  <a:pt x="451899" y="3434018"/>
                  <a:pt x="65634" y="2763432"/>
                </a:cubicBezTo>
                <a:cubicBezTo>
                  <a:pt x="-21878" y="2611673"/>
                  <a:pt x="-21878" y="2363916"/>
                  <a:pt x="65634" y="2212863"/>
                </a:cubicBezTo>
                <a:cubicBezTo>
                  <a:pt x="65634" y="2212863"/>
                  <a:pt x="65634" y="2212863"/>
                  <a:pt x="1184242" y="275990"/>
                </a:cubicBezTo>
                <a:cubicBezTo>
                  <a:pt x="1271754" y="124230"/>
                  <a:pt x="1486301" y="0"/>
                  <a:pt x="166062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7818" y="3501000"/>
            <a:ext cx="504029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</a:p>
          <a:p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528047" y="2636984"/>
            <a:ext cx="504006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528047" y="1244406"/>
            <a:ext cx="5040065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8665" y="5338392"/>
            <a:ext cx="2520000" cy="1256400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7398823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980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5" name="Freihandform 24"/>
          <p:cNvSpPr/>
          <p:nvPr userDrawn="1"/>
        </p:nvSpPr>
        <p:spPr bwMode="gray">
          <a:xfrm>
            <a:off x="2080006" y="1596994"/>
            <a:ext cx="128588" cy="577024"/>
          </a:xfrm>
          <a:custGeom>
            <a:avLst/>
            <a:gdLst>
              <a:gd name="connsiteX0" fmla="*/ 0 w 128588"/>
              <a:gd name="connsiteY0" fmla="*/ 0 h 577024"/>
              <a:gd name="connsiteX1" fmla="*/ 111894 w 128588"/>
              <a:gd name="connsiteY1" fmla="*/ 344776 h 577024"/>
              <a:gd name="connsiteX2" fmla="*/ 124387 w 128588"/>
              <a:gd name="connsiteY2" fmla="*/ 394867 h 577024"/>
              <a:gd name="connsiteX3" fmla="*/ 113945 w 128588"/>
              <a:gd name="connsiteY3" fmla="*/ 540518 h 577024"/>
              <a:gd name="connsiteX4" fmla="*/ 94620 w 128588"/>
              <a:gd name="connsiteY4" fmla="*/ 577024 h 577024"/>
              <a:gd name="connsiteX5" fmla="*/ 69548 w 128588"/>
              <a:gd name="connsiteY5" fmla="*/ 424122 h 577024"/>
              <a:gd name="connsiteX6" fmla="*/ 36876 w 128588"/>
              <a:gd name="connsiteY6" fmla="*/ 224880 h 577024"/>
              <a:gd name="connsiteX7" fmla="*/ 0 w 128588"/>
              <a:gd name="connsiteY7" fmla="*/ 0 h 577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588" h="577024">
                <a:moveTo>
                  <a:pt x="0" y="0"/>
                </a:moveTo>
                <a:lnTo>
                  <a:pt x="111894" y="344776"/>
                </a:lnTo>
                <a:lnTo>
                  <a:pt x="124387" y="394867"/>
                </a:lnTo>
                <a:cubicBezTo>
                  <a:pt x="132657" y="445250"/>
                  <a:pt x="128481" y="495806"/>
                  <a:pt x="113945" y="540518"/>
                </a:cubicBezTo>
                <a:lnTo>
                  <a:pt x="94620" y="577024"/>
                </a:lnTo>
                <a:lnTo>
                  <a:pt x="69548" y="424122"/>
                </a:lnTo>
                <a:cubicBezTo>
                  <a:pt x="59400" y="362234"/>
                  <a:pt x="48526" y="295925"/>
                  <a:pt x="36876" y="224880"/>
                </a:cubicBezTo>
                <a:lnTo>
                  <a:pt x="0" y="0"/>
                </a:lnTo>
                <a:close/>
              </a:path>
            </a:pathLst>
          </a:custGeom>
          <a:solidFill>
            <a:srgbClr val="5232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"/>
            <a:ext cx="6160369" cy="5981521"/>
            <a:chOff x="1" y="1"/>
            <a:chExt cx="6160369" cy="5981521"/>
          </a:xfrm>
        </p:grpSpPr>
        <p:sp>
          <p:nvSpPr>
            <p:cNvPr id="24" name="Freihandform 23"/>
            <p:cNvSpPr/>
            <p:nvPr userDrawn="1"/>
          </p:nvSpPr>
          <p:spPr bwMode="gray">
            <a:xfrm>
              <a:off x="1" y="1"/>
              <a:ext cx="2246612" cy="2662617"/>
            </a:xfrm>
            <a:custGeom>
              <a:avLst/>
              <a:gdLst>
                <a:gd name="connsiteX0" fmla="*/ 500398 w 2246612"/>
                <a:gd name="connsiteY0" fmla="*/ 0 h 2662617"/>
                <a:gd name="connsiteX1" fmla="*/ 954996 w 2246612"/>
                <a:gd name="connsiteY1" fmla="*/ 0 h 2662617"/>
                <a:gd name="connsiteX2" fmla="*/ 966522 w 2246612"/>
                <a:gd name="connsiteY2" fmla="*/ 7772 h 2662617"/>
                <a:gd name="connsiteX3" fmla="*/ 1413376 w 2246612"/>
                <a:gd name="connsiteY3" fmla="*/ 253371 h 2662617"/>
                <a:gd name="connsiteX4" fmla="*/ 1776605 w 2246612"/>
                <a:gd name="connsiteY4" fmla="*/ 233048 h 2662617"/>
                <a:gd name="connsiteX5" fmla="*/ 2055400 w 2246612"/>
                <a:gd name="connsiteY5" fmla="*/ 0 h 2662617"/>
                <a:gd name="connsiteX6" fmla="*/ 2246612 w 2246612"/>
                <a:gd name="connsiteY6" fmla="*/ 0 h 2662617"/>
                <a:gd name="connsiteX7" fmla="*/ 1871641 w 2246612"/>
                <a:gd name="connsiteY7" fmla="*/ 317812 h 2662617"/>
                <a:gd name="connsiteX8" fmla="*/ 1785210 w 2246612"/>
                <a:gd name="connsiteY8" fmla="*/ 688648 h 2662617"/>
                <a:gd name="connsiteX9" fmla="*/ 2191896 w 2246612"/>
                <a:gd name="connsiteY9" fmla="*/ 1941757 h 2662617"/>
                <a:gd name="connsiteX10" fmla="*/ 2191899 w 2246612"/>
                <a:gd name="connsiteY10" fmla="*/ 1941769 h 2662617"/>
                <a:gd name="connsiteX11" fmla="*/ 2080005 w 2246612"/>
                <a:gd name="connsiteY11" fmla="*/ 1596993 h 2662617"/>
                <a:gd name="connsiteX12" fmla="*/ 2116881 w 2246612"/>
                <a:gd name="connsiteY12" fmla="*/ 1821873 h 2662617"/>
                <a:gd name="connsiteX13" fmla="*/ 2149553 w 2246612"/>
                <a:gd name="connsiteY13" fmla="*/ 2021115 h 2662617"/>
                <a:gd name="connsiteX14" fmla="*/ 2174625 w 2246612"/>
                <a:gd name="connsiteY14" fmla="*/ 2174017 h 2662617"/>
                <a:gd name="connsiteX15" fmla="*/ 2151682 w 2246612"/>
                <a:gd name="connsiteY15" fmla="*/ 2217358 h 2662617"/>
                <a:gd name="connsiteX16" fmla="*/ 2085496 w 2246612"/>
                <a:gd name="connsiteY16" fmla="*/ 2270920 h 2662617"/>
                <a:gd name="connsiteX17" fmla="*/ 1306147 w 2246612"/>
                <a:gd name="connsiteY17" fmla="*/ 2644371 h 2662617"/>
                <a:gd name="connsiteX18" fmla="*/ 982487 w 2246612"/>
                <a:gd name="connsiteY18" fmla="*/ 2525680 h 2662617"/>
                <a:gd name="connsiteX19" fmla="*/ 0 w 2246612"/>
                <a:gd name="connsiteY19" fmla="*/ 1029945 h 2662617"/>
                <a:gd name="connsiteX20" fmla="*/ 0 w 2246612"/>
                <a:gd name="connsiteY20" fmla="*/ 407538 h 2662617"/>
                <a:gd name="connsiteX21" fmla="*/ 490569 w 2246612"/>
                <a:gd name="connsiteY21" fmla="*/ 8907 h 2662617"/>
                <a:gd name="connsiteX22" fmla="*/ 500398 w 2246612"/>
                <a:gd name="connsiteY22" fmla="*/ 0 h 2662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46612" h="2662617">
                  <a:moveTo>
                    <a:pt x="500398" y="0"/>
                  </a:moveTo>
                  <a:lnTo>
                    <a:pt x="954996" y="0"/>
                  </a:lnTo>
                  <a:lnTo>
                    <a:pt x="966522" y="7772"/>
                  </a:lnTo>
                  <a:lnTo>
                    <a:pt x="1413376" y="253371"/>
                  </a:lnTo>
                  <a:cubicBezTo>
                    <a:pt x="1524743" y="311277"/>
                    <a:pt x="1688138" y="303257"/>
                    <a:pt x="1776605" y="233048"/>
                  </a:cubicBezTo>
                  <a:lnTo>
                    <a:pt x="2055400" y="0"/>
                  </a:lnTo>
                  <a:lnTo>
                    <a:pt x="2246612" y="0"/>
                  </a:lnTo>
                  <a:lnTo>
                    <a:pt x="1871641" y="317812"/>
                  </a:lnTo>
                  <a:cubicBezTo>
                    <a:pt x="1779936" y="389573"/>
                    <a:pt x="1746443" y="557888"/>
                    <a:pt x="1785210" y="688648"/>
                  </a:cubicBezTo>
                  <a:lnTo>
                    <a:pt x="2191896" y="1941757"/>
                  </a:lnTo>
                  <a:lnTo>
                    <a:pt x="2191899" y="1941769"/>
                  </a:lnTo>
                  <a:lnTo>
                    <a:pt x="2080005" y="1596993"/>
                  </a:lnTo>
                  <a:lnTo>
                    <a:pt x="2116881" y="1821873"/>
                  </a:lnTo>
                  <a:cubicBezTo>
                    <a:pt x="2128531" y="1892918"/>
                    <a:pt x="2139405" y="1959227"/>
                    <a:pt x="2149553" y="2021115"/>
                  </a:cubicBezTo>
                  <a:lnTo>
                    <a:pt x="2174625" y="2174017"/>
                  </a:lnTo>
                  <a:lnTo>
                    <a:pt x="2151682" y="2217358"/>
                  </a:lnTo>
                  <a:cubicBezTo>
                    <a:pt x="2133401" y="2240187"/>
                    <a:pt x="2111133" y="2258636"/>
                    <a:pt x="2085496" y="2270920"/>
                  </a:cubicBezTo>
                  <a:lnTo>
                    <a:pt x="1306147" y="2644371"/>
                  </a:lnTo>
                  <a:cubicBezTo>
                    <a:pt x="1203601" y="2693509"/>
                    <a:pt x="1055796" y="2639888"/>
                    <a:pt x="982487" y="2525680"/>
                  </a:cubicBezTo>
                  <a:lnTo>
                    <a:pt x="0" y="1029945"/>
                  </a:lnTo>
                  <a:lnTo>
                    <a:pt x="0" y="407538"/>
                  </a:lnTo>
                  <a:lnTo>
                    <a:pt x="490569" y="8907"/>
                  </a:lnTo>
                  <a:lnTo>
                    <a:pt x="500398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3" name="Freihandform 22"/>
            <p:cNvSpPr/>
            <p:nvPr userDrawn="1"/>
          </p:nvSpPr>
          <p:spPr bwMode="gray">
            <a:xfrm>
              <a:off x="2653779" y="1"/>
              <a:ext cx="3506591" cy="1390583"/>
            </a:xfrm>
            <a:custGeom>
              <a:avLst/>
              <a:gdLst>
                <a:gd name="connsiteX0" fmla="*/ 0 w 3506591"/>
                <a:gd name="connsiteY0" fmla="*/ 0 h 1390583"/>
                <a:gd name="connsiteX1" fmla="*/ 3390444 w 3506591"/>
                <a:gd name="connsiteY1" fmla="*/ 0 h 1390583"/>
                <a:gd name="connsiteX2" fmla="*/ 3460045 w 3506591"/>
                <a:gd name="connsiteY2" fmla="*/ 104891 h 1390583"/>
                <a:gd name="connsiteX3" fmla="*/ 3413013 w 3506591"/>
                <a:gd name="connsiteY3" fmla="*/ 405605 h 1390583"/>
                <a:gd name="connsiteX4" fmla="*/ 1397716 w 3506591"/>
                <a:gd name="connsiteY4" fmla="*/ 1371303 h 1390583"/>
                <a:gd name="connsiteX5" fmla="*/ 1050940 w 3506591"/>
                <a:gd name="connsiteY5" fmla="*/ 1268080 h 1390583"/>
                <a:gd name="connsiteX6" fmla="*/ 0 w 3506591"/>
                <a:gd name="connsiteY6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6591" h="1390583">
                  <a:moveTo>
                    <a:pt x="0" y="0"/>
                  </a:moveTo>
                  <a:lnTo>
                    <a:pt x="3390444" y="0"/>
                  </a:lnTo>
                  <a:lnTo>
                    <a:pt x="3460045" y="104891"/>
                  </a:lnTo>
                  <a:cubicBezTo>
                    <a:pt x="3537733" y="219929"/>
                    <a:pt x="3515559" y="356467"/>
                    <a:pt x="3413013" y="405605"/>
                  </a:cubicBezTo>
                  <a:lnTo>
                    <a:pt x="1397716" y="1371303"/>
                  </a:lnTo>
                  <a:cubicBezTo>
                    <a:pt x="1296249" y="1419924"/>
                    <a:pt x="1139871" y="1373339"/>
                    <a:pt x="1050940" y="12680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1" name="Freihandform 20"/>
            <p:cNvSpPr/>
            <p:nvPr userDrawn="1"/>
          </p:nvSpPr>
          <p:spPr bwMode="gray">
            <a:xfrm>
              <a:off x="1" y="2978510"/>
              <a:ext cx="1254096" cy="3003012"/>
            </a:xfrm>
            <a:custGeom>
              <a:avLst/>
              <a:gdLst>
                <a:gd name="connsiteX0" fmla="*/ 0 w 1254096"/>
                <a:gd name="connsiteY0" fmla="*/ 0 h 3003012"/>
                <a:gd name="connsiteX1" fmla="*/ 983737 w 1254096"/>
                <a:gd name="connsiteY1" fmla="*/ 707595 h 3003012"/>
                <a:gd name="connsiteX2" fmla="*/ 1196849 w 1254096"/>
                <a:gd name="connsiteY2" fmla="*/ 1088625 h 3003012"/>
                <a:gd name="connsiteX3" fmla="*/ 1253012 w 1254096"/>
                <a:gd name="connsiteY3" fmla="*/ 1729339 h 3003012"/>
                <a:gd name="connsiteX4" fmla="*/ 1087196 w 1254096"/>
                <a:gd name="connsiteY4" fmla="*/ 2059155 h 3003012"/>
                <a:gd name="connsiteX5" fmla="*/ 213936 w 1254096"/>
                <a:gd name="connsiteY5" fmla="*/ 2477607 h 3003012"/>
                <a:gd name="connsiteX6" fmla="*/ 13209 w 1254096"/>
                <a:gd name="connsiteY6" fmla="*/ 2806583 h 3003012"/>
                <a:gd name="connsiteX7" fmla="*/ 0 w 1254096"/>
                <a:gd name="connsiteY7" fmla="*/ 3003012 h 3003012"/>
                <a:gd name="connsiteX8" fmla="*/ 0 w 1254096"/>
                <a:gd name="connsiteY8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4096" h="3003012">
                  <a:moveTo>
                    <a:pt x="0" y="0"/>
                  </a:moveTo>
                  <a:lnTo>
                    <a:pt x="983737" y="707595"/>
                  </a:lnTo>
                  <a:cubicBezTo>
                    <a:pt x="1092175" y="781545"/>
                    <a:pt x="1186903" y="954302"/>
                    <a:pt x="1196849" y="1088625"/>
                  </a:cubicBezTo>
                  <a:lnTo>
                    <a:pt x="1253012" y="1729339"/>
                  </a:lnTo>
                  <a:cubicBezTo>
                    <a:pt x="1264037" y="1863145"/>
                    <a:pt x="1189742" y="2010016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uppieren 5"/>
          <p:cNvGrpSpPr/>
          <p:nvPr userDrawn="1"/>
        </p:nvGrpSpPr>
        <p:grpSpPr bwMode="gray">
          <a:xfrm>
            <a:off x="0" y="1"/>
            <a:ext cx="6160368" cy="5981521"/>
            <a:chOff x="0" y="1"/>
            <a:chExt cx="6160368" cy="5981521"/>
          </a:xfrm>
        </p:grpSpPr>
        <p:sp>
          <p:nvSpPr>
            <p:cNvPr id="34" name="Freeform 33"/>
            <p:cNvSpPr>
              <a:spLocks/>
            </p:cNvSpPr>
            <p:nvPr userDrawn="1"/>
          </p:nvSpPr>
          <p:spPr bwMode="gray">
            <a:xfrm>
              <a:off x="0" y="2978510"/>
              <a:ext cx="1253258" cy="3003012"/>
            </a:xfrm>
            <a:custGeom>
              <a:avLst/>
              <a:gdLst>
                <a:gd name="connsiteX0" fmla="*/ 0 w 1253258"/>
                <a:gd name="connsiteY0" fmla="*/ 0 h 3003012"/>
                <a:gd name="connsiteX1" fmla="*/ 644699 w 1253258"/>
                <a:gd name="connsiteY1" fmla="*/ 463727 h 3003012"/>
                <a:gd name="connsiteX2" fmla="*/ 625018 w 1253258"/>
                <a:gd name="connsiteY2" fmla="*/ 474245 h 3003012"/>
                <a:gd name="connsiteX3" fmla="*/ 465974 w 1253258"/>
                <a:gd name="connsiteY3" fmla="*/ 627800 h 3003012"/>
                <a:gd name="connsiteX4" fmla="*/ 267051 w 1253258"/>
                <a:gd name="connsiteY4" fmla="*/ 928336 h 3003012"/>
                <a:gd name="connsiteX5" fmla="*/ 345869 w 1253258"/>
                <a:gd name="connsiteY5" fmla="*/ 1247655 h 3003012"/>
                <a:gd name="connsiteX6" fmla="*/ 1238476 w 1253258"/>
                <a:gd name="connsiteY6" fmla="*/ 1756027 h 3003012"/>
                <a:gd name="connsiteX7" fmla="*/ 1253183 w 1253258"/>
                <a:gd name="connsiteY7" fmla="*/ 1764403 h 3003012"/>
                <a:gd name="connsiteX8" fmla="*/ 1253258 w 1253258"/>
                <a:gd name="connsiteY8" fmla="*/ 1779912 h 3003012"/>
                <a:gd name="connsiteX9" fmla="*/ 1087196 w 1253258"/>
                <a:gd name="connsiteY9" fmla="*/ 2059155 h 3003012"/>
                <a:gd name="connsiteX10" fmla="*/ 213936 w 1253258"/>
                <a:gd name="connsiteY10" fmla="*/ 2477607 h 3003012"/>
                <a:gd name="connsiteX11" fmla="*/ 13209 w 1253258"/>
                <a:gd name="connsiteY11" fmla="*/ 2806583 h 3003012"/>
                <a:gd name="connsiteX12" fmla="*/ 0 w 1253258"/>
                <a:gd name="connsiteY12" fmla="*/ 3003012 h 3003012"/>
                <a:gd name="connsiteX13" fmla="*/ 0 w 1253258"/>
                <a:gd name="connsiteY13" fmla="*/ 1103514 h 3003012"/>
                <a:gd name="connsiteX14" fmla="*/ 30463 w 1253258"/>
                <a:gd name="connsiteY14" fmla="*/ 1057811 h 3003012"/>
                <a:gd name="connsiteX15" fmla="*/ 327103 w 1253258"/>
                <a:gd name="connsiteY15" fmla="*/ 612773 h 3003012"/>
                <a:gd name="connsiteX16" fmla="*/ 255791 w 1253258"/>
                <a:gd name="connsiteY16" fmla="*/ 289697 h 3003012"/>
                <a:gd name="connsiteX17" fmla="*/ 62447 w 1253258"/>
                <a:gd name="connsiteY17" fmla="*/ 165880 h 3003012"/>
                <a:gd name="connsiteX18" fmla="*/ 0 w 1253258"/>
                <a:gd name="connsiteY18" fmla="*/ 125890 h 3003012"/>
                <a:gd name="connsiteX19" fmla="*/ 0 w 1253258"/>
                <a:gd name="connsiteY19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53258" h="3003012">
                  <a:moveTo>
                    <a:pt x="0" y="0"/>
                  </a:moveTo>
                  <a:lnTo>
                    <a:pt x="644699" y="463727"/>
                  </a:lnTo>
                  <a:lnTo>
                    <a:pt x="625018" y="474245"/>
                  </a:lnTo>
                  <a:cubicBezTo>
                    <a:pt x="559805" y="516977"/>
                    <a:pt x="501629" y="571450"/>
                    <a:pt x="465974" y="627800"/>
                  </a:cubicBezTo>
                  <a:cubicBezTo>
                    <a:pt x="465974" y="627800"/>
                    <a:pt x="465974" y="627800"/>
                    <a:pt x="267051" y="928336"/>
                  </a:cubicBezTo>
                  <a:cubicBezTo>
                    <a:pt x="195739" y="1037280"/>
                    <a:pt x="233272" y="1183791"/>
                    <a:pt x="345869" y="1247655"/>
                  </a:cubicBezTo>
                  <a:cubicBezTo>
                    <a:pt x="345869" y="1247655"/>
                    <a:pt x="345869" y="1247655"/>
                    <a:pt x="1238476" y="1756027"/>
                  </a:cubicBezTo>
                  <a:lnTo>
                    <a:pt x="1253183" y="1764403"/>
                  </a:lnTo>
                  <a:lnTo>
                    <a:pt x="1253258" y="1779912"/>
                  </a:lnTo>
                  <a:cubicBezTo>
                    <a:pt x="1245022" y="1898336"/>
                    <a:pt x="1176924" y="2016159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1103514"/>
                  </a:lnTo>
                  <a:lnTo>
                    <a:pt x="30463" y="1057811"/>
                  </a:lnTo>
                  <a:cubicBezTo>
                    <a:pt x="123035" y="918929"/>
                    <a:pt x="221777" y="770789"/>
                    <a:pt x="327103" y="612773"/>
                  </a:cubicBezTo>
                  <a:cubicBezTo>
                    <a:pt x="398415" y="507585"/>
                    <a:pt x="368389" y="357317"/>
                    <a:pt x="255791" y="289697"/>
                  </a:cubicBezTo>
                  <a:cubicBezTo>
                    <a:pt x="255791" y="289697"/>
                    <a:pt x="255791" y="289697"/>
                    <a:pt x="62447" y="165880"/>
                  </a:cubicBezTo>
                  <a:lnTo>
                    <a:pt x="0" y="125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31" name="Freeform 30"/>
            <p:cNvSpPr/>
            <p:nvPr userDrawn="1"/>
          </p:nvSpPr>
          <p:spPr bwMode="gray">
            <a:xfrm>
              <a:off x="3045424" y="1"/>
              <a:ext cx="3114944" cy="1390583"/>
            </a:xfrm>
            <a:custGeom>
              <a:avLst/>
              <a:gdLst>
                <a:gd name="connsiteX0" fmla="*/ 1954302 w 3114944"/>
                <a:gd name="connsiteY0" fmla="*/ 0 h 1390583"/>
                <a:gd name="connsiteX1" fmla="*/ 2998798 w 3114944"/>
                <a:gd name="connsiteY1" fmla="*/ 0 h 1390583"/>
                <a:gd name="connsiteX2" fmla="*/ 3068398 w 3114944"/>
                <a:gd name="connsiteY2" fmla="*/ 104891 h 1390583"/>
                <a:gd name="connsiteX3" fmla="*/ 3021366 w 3114944"/>
                <a:gd name="connsiteY3" fmla="*/ 405605 h 1390583"/>
                <a:gd name="connsiteX4" fmla="*/ 2489182 w 3114944"/>
                <a:gd name="connsiteY4" fmla="*/ 660619 h 1390583"/>
                <a:gd name="connsiteX5" fmla="*/ 2437018 w 3114944"/>
                <a:gd name="connsiteY5" fmla="*/ 627214 h 1390583"/>
                <a:gd name="connsiteX6" fmla="*/ 2175618 w 3114944"/>
                <a:gd name="connsiteY6" fmla="*/ 459813 h 1390583"/>
                <a:gd name="connsiteX7" fmla="*/ 1762760 w 3114944"/>
                <a:gd name="connsiteY7" fmla="*/ 441030 h 1390583"/>
                <a:gd name="connsiteX8" fmla="*/ 1327382 w 3114944"/>
                <a:gd name="connsiteY8" fmla="*/ 673945 h 1390583"/>
                <a:gd name="connsiteX9" fmla="*/ 1079668 w 3114944"/>
                <a:gd name="connsiteY9" fmla="*/ 1019562 h 1390583"/>
                <a:gd name="connsiteX10" fmla="*/ 1026896 w 3114944"/>
                <a:gd name="connsiteY10" fmla="*/ 1341833 h 1390583"/>
                <a:gd name="connsiteX11" fmla="*/ 1023432 w 3114944"/>
                <a:gd name="connsiteY11" fmla="*/ 1362983 h 1390583"/>
                <a:gd name="connsiteX12" fmla="*/ 1006070 w 3114944"/>
                <a:gd name="connsiteY12" fmla="*/ 1371303 h 1390583"/>
                <a:gd name="connsiteX13" fmla="*/ 659294 w 3114944"/>
                <a:gd name="connsiteY13" fmla="*/ 1268080 h 1390583"/>
                <a:gd name="connsiteX14" fmla="*/ 0 w 3114944"/>
                <a:gd name="connsiteY14" fmla="*/ 472566 h 1390583"/>
                <a:gd name="connsiteX15" fmla="*/ 40018 w 3114944"/>
                <a:gd name="connsiteY15" fmla="*/ 482354 h 1390583"/>
                <a:gd name="connsiteX16" fmla="*/ 824446 w 3114944"/>
                <a:gd name="connsiteY16" fmla="*/ 636378 h 1390583"/>
                <a:gd name="connsiteX17" fmla="*/ 1267330 w 3114944"/>
                <a:gd name="connsiteY17" fmla="*/ 572514 h 1390583"/>
                <a:gd name="connsiteX18" fmla="*/ 1725228 w 3114944"/>
                <a:gd name="connsiteY18" fmla="*/ 328329 h 1390583"/>
                <a:gd name="connsiteX19" fmla="*/ 1949470 w 3114944"/>
                <a:gd name="connsiteY19" fmla="*/ 28021 h 1390583"/>
                <a:gd name="connsiteX20" fmla="*/ 1954302 w 3114944"/>
                <a:gd name="connsiteY20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14944" h="1390583">
                  <a:moveTo>
                    <a:pt x="1954302" y="0"/>
                  </a:moveTo>
                  <a:lnTo>
                    <a:pt x="2998798" y="0"/>
                  </a:lnTo>
                  <a:lnTo>
                    <a:pt x="3068398" y="104891"/>
                  </a:lnTo>
                  <a:cubicBezTo>
                    <a:pt x="3146086" y="219929"/>
                    <a:pt x="3123914" y="356467"/>
                    <a:pt x="3021366" y="405605"/>
                  </a:cubicBezTo>
                  <a:lnTo>
                    <a:pt x="2489182" y="660619"/>
                  </a:lnTo>
                  <a:lnTo>
                    <a:pt x="2437018" y="627214"/>
                  </a:lnTo>
                  <a:cubicBezTo>
                    <a:pt x="2361228" y="578677"/>
                    <a:pt x="2274610" y="523207"/>
                    <a:pt x="2175618" y="459813"/>
                  </a:cubicBezTo>
                  <a:cubicBezTo>
                    <a:pt x="2063020" y="392193"/>
                    <a:pt x="1879110" y="380923"/>
                    <a:pt x="1762760" y="441030"/>
                  </a:cubicBezTo>
                  <a:cubicBezTo>
                    <a:pt x="1762760" y="441030"/>
                    <a:pt x="1762760" y="441030"/>
                    <a:pt x="1327382" y="673945"/>
                  </a:cubicBezTo>
                  <a:cubicBezTo>
                    <a:pt x="1211032" y="737809"/>
                    <a:pt x="1098434" y="891834"/>
                    <a:pt x="1079668" y="1019562"/>
                  </a:cubicBezTo>
                  <a:cubicBezTo>
                    <a:pt x="1079668" y="1019562"/>
                    <a:pt x="1079668" y="1019562"/>
                    <a:pt x="1026896" y="1341833"/>
                  </a:cubicBezTo>
                  <a:lnTo>
                    <a:pt x="1023432" y="1362983"/>
                  </a:lnTo>
                  <a:lnTo>
                    <a:pt x="1006070" y="1371303"/>
                  </a:lnTo>
                  <a:cubicBezTo>
                    <a:pt x="904602" y="1419924"/>
                    <a:pt x="748226" y="1373339"/>
                    <a:pt x="659294" y="1268080"/>
                  </a:cubicBezTo>
                  <a:lnTo>
                    <a:pt x="0" y="472566"/>
                  </a:lnTo>
                  <a:lnTo>
                    <a:pt x="40018" y="482354"/>
                  </a:lnTo>
                  <a:cubicBezTo>
                    <a:pt x="40018" y="482354"/>
                    <a:pt x="40018" y="482354"/>
                    <a:pt x="824446" y="636378"/>
                  </a:cubicBezTo>
                  <a:cubicBezTo>
                    <a:pt x="952058" y="662675"/>
                    <a:pt x="1150980" y="632622"/>
                    <a:pt x="1267330" y="572514"/>
                  </a:cubicBezTo>
                  <a:cubicBezTo>
                    <a:pt x="1267330" y="572514"/>
                    <a:pt x="1267330" y="572514"/>
                    <a:pt x="1725228" y="328329"/>
                  </a:cubicBezTo>
                  <a:cubicBezTo>
                    <a:pt x="1827034" y="272448"/>
                    <a:pt x="1920222" y="144662"/>
                    <a:pt x="1949470" y="28021"/>
                  </a:cubicBezTo>
                  <a:lnTo>
                    <a:pt x="195430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2" name="Freeform 31"/>
            <p:cNvSpPr/>
            <p:nvPr userDrawn="1"/>
          </p:nvSpPr>
          <p:spPr bwMode="gray">
            <a:xfrm>
              <a:off x="0" y="137804"/>
              <a:ext cx="2047830" cy="1873007"/>
            </a:xfrm>
            <a:custGeom>
              <a:avLst/>
              <a:gdLst>
                <a:gd name="connsiteX0" fmla="*/ 331946 w 2047830"/>
                <a:gd name="connsiteY0" fmla="*/ 0 h 1873007"/>
                <a:gd name="connsiteX1" fmla="*/ 360420 w 2047830"/>
                <a:gd name="connsiteY1" fmla="*/ 47686 h 1873007"/>
                <a:gd name="connsiteX2" fmla="*/ 717140 w 2047830"/>
                <a:gd name="connsiteY2" fmla="*/ 645087 h 1873007"/>
                <a:gd name="connsiteX3" fmla="*/ 1073698 w 2047830"/>
                <a:gd name="connsiteY3" fmla="*/ 896785 h 1873007"/>
                <a:gd name="connsiteX4" fmla="*/ 1861882 w 2047830"/>
                <a:gd name="connsiteY4" fmla="*/ 1062080 h 1873007"/>
                <a:gd name="connsiteX5" fmla="*/ 1912830 w 2047830"/>
                <a:gd name="connsiteY5" fmla="*/ 1067987 h 1873007"/>
                <a:gd name="connsiteX6" fmla="*/ 1952650 w 2047830"/>
                <a:gd name="connsiteY6" fmla="*/ 1066776 h 1873007"/>
                <a:gd name="connsiteX7" fmla="*/ 2047830 w 2047830"/>
                <a:gd name="connsiteY7" fmla="*/ 1360050 h 1873007"/>
                <a:gd name="connsiteX8" fmla="*/ 1986678 w 2047830"/>
                <a:gd name="connsiteY8" fmla="*/ 1274333 h 1873007"/>
                <a:gd name="connsiteX9" fmla="*/ 1809336 w 2047830"/>
                <a:gd name="connsiteY9" fmla="*/ 1171024 h 1873007"/>
                <a:gd name="connsiteX10" fmla="*/ 1148764 w 2047830"/>
                <a:gd name="connsiteY10" fmla="*/ 1028270 h 1873007"/>
                <a:gd name="connsiteX11" fmla="*/ 844750 w 2047830"/>
                <a:gd name="connsiteY11" fmla="*/ 1212348 h 1873007"/>
                <a:gd name="connsiteX12" fmla="*/ 649990 w 2047830"/>
                <a:gd name="connsiteY12" fmla="*/ 1854215 h 1873007"/>
                <a:gd name="connsiteX13" fmla="*/ 644290 w 2047830"/>
                <a:gd name="connsiteY13" fmla="*/ 1873007 h 1873007"/>
                <a:gd name="connsiteX14" fmla="*/ 0 w 2047830"/>
                <a:gd name="connsiteY14" fmla="*/ 892142 h 1873007"/>
                <a:gd name="connsiteX15" fmla="*/ 0 w 2047830"/>
                <a:gd name="connsiteY15" fmla="*/ 269735 h 1873007"/>
                <a:gd name="connsiteX16" fmla="*/ 331946 w 2047830"/>
                <a:gd name="connsiteY16" fmla="*/ 0 h 187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47830" h="1873007">
                  <a:moveTo>
                    <a:pt x="331946" y="0"/>
                  </a:moveTo>
                  <a:lnTo>
                    <a:pt x="360420" y="47686"/>
                  </a:lnTo>
                  <a:cubicBezTo>
                    <a:pt x="455658" y="207182"/>
                    <a:pt x="572874" y="403484"/>
                    <a:pt x="717140" y="645087"/>
                  </a:cubicBezTo>
                  <a:cubicBezTo>
                    <a:pt x="784698" y="754031"/>
                    <a:pt x="946088" y="870488"/>
                    <a:pt x="1073698" y="896785"/>
                  </a:cubicBezTo>
                  <a:cubicBezTo>
                    <a:pt x="1073698" y="896785"/>
                    <a:pt x="1073698" y="896785"/>
                    <a:pt x="1861882" y="1062080"/>
                  </a:cubicBezTo>
                  <a:cubicBezTo>
                    <a:pt x="1878302" y="1065367"/>
                    <a:pt x="1895368" y="1067304"/>
                    <a:pt x="1912830" y="1067987"/>
                  </a:cubicBezTo>
                  <a:lnTo>
                    <a:pt x="1952650" y="1066776"/>
                  </a:lnTo>
                  <a:lnTo>
                    <a:pt x="2047830" y="1360050"/>
                  </a:lnTo>
                  <a:lnTo>
                    <a:pt x="1986678" y="1274333"/>
                  </a:lnTo>
                  <a:cubicBezTo>
                    <a:pt x="1937886" y="1222679"/>
                    <a:pt x="1875018" y="1184173"/>
                    <a:pt x="1809336" y="1171024"/>
                  </a:cubicBezTo>
                  <a:cubicBezTo>
                    <a:pt x="1809336" y="1171024"/>
                    <a:pt x="1809336" y="1171024"/>
                    <a:pt x="1148764" y="1028270"/>
                  </a:cubicBezTo>
                  <a:cubicBezTo>
                    <a:pt x="1017400" y="1001973"/>
                    <a:pt x="882282" y="1084620"/>
                    <a:pt x="844750" y="1212348"/>
                  </a:cubicBezTo>
                  <a:cubicBezTo>
                    <a:pt x="844750" y="1212348"/>
                    <a:pt x="844750" y="1212348"/>
                    <a:pt x="649990" y="1854215"/>
                  </a:cubicBezTo>
                  <a:lnTo>
                    <a:pt x="644290" y="1873007"/>
                  </a:lnTo>
                  <a:lnTo>
                    <a:pt x="0" y="892142"/>
                  </a:lnTo>
                  <a:lnTo>
                    <a:pt x="0" y="269735"/>
                  </a:lnTo>
                  <a:lnTo>
                    <a:pt x="33194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</p:grpSp>
      <p:sp>
        <p:nvSpPr>
          <p:cNvPr id="28" name="Picture Placeholder 19"/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1416000" y="1501931"/>
            <a:ext cx="4385900" cy="3924309"/>
          </a:xfrm>
          <a:custGeom>
            <a:avLst/>
            <a:gdLst>
              <a:gd name="connsiteX0" fmla="*/ 2640160 w 4025900"/>
              <a:gd name="connsiteY0" fmla="*/ 1421 h 3602197"/>
              <a:gd name="connsiteX1" fmla="*/ 3141707 w 4025900"/>
              <a:gd name="connsiteY1" fmla="*/ 189633 h 3602197"/>
              <a:gd name="connsiteX2" fmla="*/ 3728661 w 4025900"/>
              <a:gd name="connsiteY2" fmla="*/ 513040 h 3602197"/>
              <a:gd name="connsiteX3" fmla="*/ 4025900 w 4025900"/>
              <a:gd name="connsiteY3" fmla="*/ 1016954 h 3602197"/>
              <a:gd name="connsiteX4" fmla="*/ 4025900 w 4025900"/>
              <a:gd name="connsiteY4" fmla="*/ 3295850 h 3602197"/>
              <a:gd name="connsiteX5" fmla="*/ 3687273 w 4025900"/>
              <a:gd name="connsiteY5" fmla="*/ 3600454 h 3602197"/>
              <a:gd name="connsiteX6" fmla="*/ 338627 w 4025900"/>
              <a:gd name="connsiteY6" fmla="*/ 3235681 h 3602197"/>
              <a:gd name="connsiteX7" fmla="*/ 0 w 4025900"/>
              <a:gd name="connsiteY7" fmla="*/ 2855865 h 3602197"/>
              <a:gd name="connsiteX8" fmla="*/ 0 w 4025900"/>
              <a:gd name="connsiteY8" fmla="*/ 1550953 h 3602197"/>
              <a:gd name="connsiteX9" fmla="*/ 308527 w 4025900"/>
              <a:gd name="connsiteY9" fmla="*/ 1065842 h 3602197"/>
              <a:gd name="connsiteX10" fmla="*/ 2374152 w 4025900"/>
              <a:gd name="connsiteY10" fmla="*/ 95619 h 3602197"/>
              <a:gd name="connsiteX11" fmla="*/ 2640160 w 4025900"/>
              <a:gd name="connsiteY11" fmla="*/ 1421 h 360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25900" h="3602197">
                <a:moveTo>
                  <a:pt x="2640160" y="1421"/>
                </a:moveTo>
                <a:cubicBezTo>
                  <a:pt x="2765455" y="-10147"/>
                  <a:pt x="2883034" y="48612"/>
                  <a:pt x="3141707" y="189633"/>
                </a:cubicBezTo>
                <a:cubicBezTo>
                  <a:pt x="3141707" y="189633"/>
                  <a:pt x="3141707" y="189633"/>
                  <a:pt x="3728661" y="513040"/>
                </a:cubicBezTo>
                <a:cubicBezTo>
                  <a:pt x="3890449" y="603293"/>
                  <a:pt x="4025900" y="828927"/>
                  <a:pt x="4025900" y="1016954"/>
                </a:cubicBezTo>
                <a:cubicBezTo>
                  <a:pt x="4025900" y="1016954"/>
                  <a:pt x="4025900" y="1016954"/>
                  <a:pt x="4025900" y="3295850"/>
                </a:cubicBezTo>
                <a:cubicBezTo>
                  <a:pt x="4025900" y="3483877"/>
                  <a:pt x="3875399" y="3619257"/>
                  <a:pt x="3687273" y="3600454"/>
                </a:cubicBezTo>
                <a:cubicBezTo>
                  <a:pt x="3687273" y="3600454"/>
                  <a:pt x="3687273" y="3600454"/>
                  <a:pt x="338627" y="3235681"/>
                </a:cubicBezTo>
                <a:cubicBezTo>
                  <a:pt x="154264" y="3213117"/>
                  <a:pt x="0" y="3043892"/>
                  <a:pt x="0" y="2855865"/>
                </a:cubicBezTo>
                <a:cubicBezTo>
                  <a:pt x="0" y="2855865"/>
                  <a:pt x="0" y="2855865"/>
                  <a:pt x="0" y="1550953"/>
                </a:cubicBezTo>
                <a:cubicBezTo>
                  <a:pt x="0" y="1366686"/>
                  <a:pt x="139213" y="1144813"/>
                  <a:pt x="308527" y="1065842"/>
                </a:cubicBezTo>
                <a:cubicBezTo>
                  <a:pt x="308527" y="1065842"/>
                  <a:pt x="308527" y="1065842"/>
                  <a:pt x="2374152" y="95619"/>
                </a:cubicBezTo>
                <a:cubicBezTo>
                  <a:pt x="2487028" y="40621"/>
                  <a:pt x="2564983" y="8362"/>
                  <a:pt x="2640160" y="142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56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6095999" y="4293096"/>
            <a:ext cx="5472113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</a:p>
          <a:p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096000" y="3501080"/>
            <a:ext cx="5472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096000" y="2107718"/>
            <a:ext cx="5472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271744" y="5271077"/>
            <a:ext cx="2520000" cy="1254267"/>
          </a:xfrm>
          <a:prstGeom prst="rect">
            <a:avLst/>
          </a:prstGeom>
        </p:spPr>
      </p:pic>
      <p:grpSp>
        <p:nvGrpSpPr>
          <p:cNvPr id="19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20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6962057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48785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Freeform 12"/>
          <p:cNvSpPr/>
          <p:nvPr userDrawn="1"/>
        </p:nvSpPr>
        <p:spPr bwMode="gray">
          <a:xfrm>
            <a:off x="0" y="0"/>
            <a:ext cx="7668866" cy="6858000"/>
          </a:xfrm>
          <a:custGeom>
            <a:avLst/>
            <a:gdLst>
              <a:gd name="connsiteX0" fmla="*/ 0 w 7668866"/>
              <a:gd name="connsiteY0" fmla="*/ 6118796 h 6858000"/>
              <a:gd name="connsiteX1" fmla="*/ 169917 w 7668866"/>
              <a:gd name="connsiteY1" fmla="*/ 6182092 h 6858000"/>
              <a:gd name="connsiteX2" fmla="*/ 2255428 w 7668866"/>
              <a:gd name="connsiteY2" fmla="*/ 6838640 h 6858000"/>
              <a:gd name="connsiteX3" fmla="*/ 2315677 w 7668866"/>
              <a:gd name="connsiteY3" fmla="*/ 6858000 h 6858000"/>
              <a:gd name="connsiteX4" fmla="*/ 0 w 7668866"/>
              <a:gd name="connsiteY4" fmla="*/ 6858000 h 6858000"/>
              <a:gd name="connsiteX5" fmla="*/ 3581596 w 7668866"/>
              <a:gd name="connsiteY5" fmla="*/ 0 h 6858000"/>
              <a:gd name="connsiteX6" fmla="*/ 4015128 w 7668866"/>
              <a:gd name="connsiteY6" fmla="*/ 0 h 6858000"/>
              <a:gd name="connsiteX7" fmla="*/ 4167882 w 7668866"/>
              <a:gd name="connsiteY7" fmla="*/ 298486 h 6858000"/>
              <a:gd name="connsiteX8" fmla="*/ 6467174 w 7668866"/>
              <a:gd name="connsiteY8" fmla="*/ 3012758 h 6858000"/>
              <a:gd name="connsiteX9" fmla="*/ 7668866 w 7668866"/>
              <a:gd name="connsiteY9" fmla="*/ 3005248 h 6858000"/>
              <a:gd name="connsiteX10" fmla="*/ 7668866 w 7668866"/>
              <a:gd name="connsiteY10" fmla="*/ 3200516 h 6858000"/>
              <a:gd name="connsiteX11" fmla="*/ 7514899 w 7668866"/>
              <a:gd name="connsiteY11" fmla="*/ 3193006 h 6858000"/>
              <a:gd name="connsiteX12" fmla="*/ 6598609 w 7668866"/>
              <a:gd name="connsiteY12" fmla="*/ 3211781 h 6858000"/>
              <a:gd name="connsiteX13" fmla="*/ 5776201 w 7668866"/>
              <a:gd name="connsiteY13" fmla="*/ 4661271 h 6858000"/>
              <a:gd name="connsiteX14" fmla="*/ 6369537 w 7668866"/>
              <a:gd name="connsiteY14" fmla="*/ 5618835 h 6858000"/>
              <a:gd name="connsiteX15" fmla="*/ 7668866 w 7668866"/>
              <a:gd name="connsiteY15" fmla="*/ 6095740 h 6858000"/>
              <a:gd name="connsiteX16" fmla="*/ 7668866 w 7668866"/>
              <a:gd name="connsiteY16" fmla="*/ 6730361 h 6858000"/>
              <a:gd name="connsiteX17" fmla="*/ 7478585 w 7668866"/>
              <a:gd name="connsiteY17" fmla="*/ 6858000 h 6858000"/>
              <a:gd name="connsiteX18" fmla="*/ 5290708 w 7668866"/>
              <a:gd name="connsiteY18" fmla="*/ 6858000 h 6858000"/>
              <a:gd name="connsiteX19" fmla="*/ 5386062 w 7668866"/>
              <a:gd name="connsiteY19" fmla="*/ 6791676 h 6858000"/>
              <a:gd name="connsiteX20" fmla="*/ 6155486 w 7668866"/>
              <a:gd name="connsiteY20" fmla="*/ 5618835 h 6858000"/>
              <a:gd name="connsiteX21" fmla="*/ 5749914 w 7668866"/>
              <a:gd name="connsiteY21" fmla="*/ 4845274 h 6858000"/>
              <a:gd name="connsiteX22" fmla="*/ 5205398 w 7668866"/>
              <a:gd name="connsiteY22" fmla="*/ 4278245 h 6858000"/>
              <a:gd name="connsiteX23" fmla="*/ 2982268 w 7668866"/>
              <a:gd name="connsiteY23" fmla="*/ 3902730 h 6858000"/>
              <a:gd name="connsiteX24" fmla="*/ 669011 w 7668866"/>
              <a:gd name="connsiteY24" fmla="*/ 4101753 h 6858000"/>
              <a:gd name="connsiteX25" fmla="*/ 96300 w 7668866"/>
              <a:gd name="connsiteY25" fmla="*/ 4174560 h 6858000"/>
              <a:gd name="connsiteX26" fmla="*/ 0 w 7668866"/>
              <a:gd name="connsiteY26" fmla="*/ 4192923 h 6858000"/>
              <a:gd name="connsiteX27" fmla="*/ 0 w 7668866"/>
              <a:gd name="connsiteY27" fmla="*/ 3924438 h 6858000"/>
              <a:gd name="connsiteX28" fmla="*/ 292367 w 7668866"/>
              <a:gd name="connsiteY28" fmla="*/ 3925789 h 6858000"/>
              <a:gd name="connsiteX29" fmla="*/ 710319 w 7668866"/>
              <a:gd name="connsiteY29" fmla="*/ 3913995 h 6858000"/>
              <a:gd name="connsiteX30" fmla="*/ 2997289 w 7668866"/>
              <a:gd name="connsiteY30" fmla="*/ 3726238 h 6858000"/>
              <a:gd name="connsiteX31" fmla="*/ 3800920 w 7668866"/>
              <a:gd name="connsiteY31" fmla="*/ 2167848 h 6858000"/>
              <a:gd name="connsiteX32" fmla="*/ 2978512 w 7668866"/>
              <a:gd name="connsiteY32" fmla="*/ 1274122 h 6858000"/>
              <a:gd name="connsiteX33" fmla="*/ 163925 w 7668866"/>
              <a:gd name="connsiteY33" fmla="*/ 873259 h 6858000"/>
              <a:gd name="connsiteX34" fmla="*/ 0 w 7668866"/>
              <a:gd name="connsiteY34" fmla="*/ 900488 h 6858000"/>
              <a:gd name="connsiteX35" fmla="*/ 0 w 7668866"/>
              <a:gd name="connsiteY35" fmla="*/ 135524 h 6858000"/>
              <a:gd name="connsiteX36" fmla="*/ 910757 w 7668866"/>
              <a:gd name="connsiteY36" fmla="*/ 423110 h 6858000"/>
              <a:gd name="connsiteX37" fmla="*/ 2802014 w 7668866"/>
              <a:gd name="connsiteY37" fmla="*/ 999995 h 6858000"/>
              <a:gd name="connsiteX38" fmla="*/ 3586869 w 7668866"/>
              <a:gd name="connsiteY38" fmla="*/ 2365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668866" h="6858000">
                <a:moveTo>
                  <a:pt x="0" y="6118796"/>
                </a:moveTo>
                <a:lnTo>
                  <a:pt x="169917" y="6182092"/>
                </a:lnTo>
                <a:cubicBezTo>
                  <a:pt x="653385" y="6353440"/>
                  <a:pt x="1331769" y="6543923"/>
                  <a:pt x="2255428" y="6838640"/>
                </a:cubicBezTo>
                <a:lnTo>
                  <a:pt x="2315677" y="6858000"/>
                </a:lnTo>
                <a:lnTo>
                  <a:pt x="0" y="6858000"/>
                </a:lnTo>
                <a:close/>
                <a:moveTo>
                  <a:pt x="3581596" y="0"/>
                </a:moveTo>
                <a:lnTo>
                  <a:pt x="4015128" y="0"/>
                </a:lnTo>
                <a:lnTo>
                  <a:pt x="4167882" y="298486"/>
                </a:lnTo>
                <a:cubicBezTo>
                  <a:pt x="4826583" y="1560217"/>
                  <a:pt x="5678564" y="2874756"/>
                  <a:pt x="6467174" y="3012758"/>
                </a:cubicBezTo>
                <a:cubicBezTo>
                  <a:pt x="6673715" y="3050310"/>
                  <a:pt x="7285827" y="3027779"/>
                  <a:pt x="7668866" y="3005248"/>
                </a:cubicBezTo>
                <a:cubicBezTo>
                  <a:pt x="7668866" y="3005248"/>
                  <a:pt x="7668866" y="3005248"/>
                  <a:pt x="7668866" y="3200516"/>
                </a:cubicBezTo>
                <a:cubicBezTo>
                  <a:pt x="7620047" y="3196761"/>
                  <a:pt x="7567473" y="3193006"/>
                  <a:pt x="7514899" y="3193006"/>
                </a:cubicBezTo>
                <a:cubicBezTo>
                  <a:pt x="7345912" y="3193006"/>
                  <a:pt x="6733800" y="3196761"/>
                  <a:pt x="6598609" y="3211781"/>
                </a:cubicBezTo>
                <a:cubicBezTo>
                  <a:pt x="6061603" y="3275619"/>
                  <a:pt x="5333078" y="3827627"/>
                  <a:pt x="5776201" y="4661271"/>
                </a:cubicBezTo>
                <a:cubicBezTo>
                  <a:pt x="5840041" y="4777681"/>
                  <a:pt x="6279410" y="5498671"/>
                  <a:pt x="6369537" y="5618835"/>
                </a:cubicBezTo>
                <a:cubicBezTo>
                  <a:pt x="6531014" y="5832879"/>
                  <a:pt x="7109328" y="6065699"/>
                  <a:pt x="7668866" y="6095740"/>
                </a:cubicBezTo>
                <a:cubicBezTo>
                  <a:pt x="7668866" y="6095740"/>
                  <a:pt x="7668866" y="6095740"/>
                  <a:pt x="7668866" y="6730361"/>
                </a:cubicBezTo>
                <a:lnTo>
                  <a:pt x="7478585" y="6858000"/>
                </a:lnTo>
                <a:lnTo>
                  <a:pt x="5290708" y="6858000"/>
                </a:lnTo>
                <a:lnTo>
                  <a:pt x="5386062" y="6791676"/>
                </a:lnTo>
                <a:cubicBezTo>
                  <a:pt x="5840041" y="6471490"/>
                  <a:pt x="6251245" y="6128598"/>
                  <a:pt x="6155486" y="5618835"/>
                </a:cubicBezTo>
                <a:cubicBezTo>
                  <a:pt x="6132954" y="5498671"/>
                  <a:pt x="5813754" y="4954173"/>
                  <a:pt x="5749914" y="4845274"/>
                </a:cubicBezTo>
                <a:cubicBezTo>
                  <a:pt x="5663543" y="4691312"/>
                  <a:pt x="5487044" y="4424696"/>
                  <a:pt x="5205398" y="4278245"/>
                </a:cubicBezTo>
                <a:cubicBezTo>
                  <a:pt x="4582020" y="3962812"/>
                  <a:pt x="3917334" y="3835137"/>
                  <a:pt x="2982268" y="3902730"/>
                </a:cubicBezTo>
                <a:cubicBezTo>
                  <a:pt x="2426485" y="3944037"/>
                  <a:pt x="1367494" y="4037915"/>
                  <a:pt x="669011" y="4101753"/>
                </a:cubicBezTo>
                <a:cubicBezTo>
                  <a:pt x="508472" y="4117243"/>
                  <a:pt x="303574" y="4139598"/>
                  <a:pt x="96300" y="4174560"/>
                </a:cubicBezTo>
                <a:lnTo>
                  <a:pt x="0" y="4192923"/>
                </a:lnTo>
                <a:lnTo>
                  <a:pt x="0" y="3924438"/>
                </a:lnTo>
                <a:lnTo>
                  <a:pt x="292367" y="3925789"/>
                </a:lnTo>
                <a:cubicBezTo>
                  <a:pt x="431958" y="3924322"/>
                  <a:pt x="571373" y="3920567"/>
                  <a:pt x="710319" y="3913995"/>
                </a:cubicBezTo>
                <a:cubicBezTo>
                  <a:pt x="999476" y="3898975"/>
                  <a:pt x="2670579" y="3756279"/>
                  <a:pt x="2997289" y="3726238"/>
                </a:cubicBezTo>
                <a:cubicBezTo>
                  <a:pt x="3759612" y="3651135"/>
                  <a:pt x="3977419" y="2689815"/>
                  <a:pt x="3800920" y="2167848"/>
                </a:cubicBezTo>
                <a:cubicBezTo>
                  <a:pt x="3639443" y="1698454"/>
                  <a:pt x="3504253" y="1409307"/>
                  <a:pt x="2978512" y="1274122"/>
                </a:cubicBezTo>
                <a:cubicBezTo>
                  <a:pt x="1536482" y="909872"/>
                  <a:pt x="709380" y="808482"/>
                  <a:pt x="163925" y="873259"/>
                </a:cubicBezTo>
                <a:lnTo>
                  <a:pt x="0" y="900488"/>
                </a:lnTo>
                <a:lnTo>
                  <a:pt x="0" y="135524"/>
                </a:lnTo>
                <a:lnTo>
                  <a:pt x="910757" y="423110"/>
                </a:lnTo>
                <a:cubicBezTo>
                  <a:pt x="1537421" y="618847"/>
                  <a:pt x="2167370" y="812238"/>
                  <a:pt x="2802014" y="999995"/>
                </a:cubicBezTo>
                <a:cubicBezTo>
                  <a:pt x="3737081" y="1274122"/>
                  <a:pt x="3699528" y="616970"/>
                  <a:pt x="3586869" y="23655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4" name="Freeform 13"/>
          <p:cNvSpPr/>
          <p:nvPr userDrawn="1"/>
        </p:nvSpPr>
        <p:spPr bwMode="gray">
          <a:xfrm>
            <a:off x="-1" y="-1"/>
            <a:ext cx="12192000" cy="6858001"/>
          </a:xfrm>
          <a:custGeom>
            <a:avLst/>
            <a:gdLst>
              <a:gd name="connsiteX0" fmla="*/ 2376294 w 12192000"/>
              <a:gd name="connsiteY0" fmla="*/ 0 h 6858000"/>
              <a:gd name="connsiteX1" fmla="*/ 2892698 w 12192000"/>
              <a:gd name="connsiteY1" fmla="*/ 0 h 6858000"/>
              <a:gd name="connsiteX2" fmla="*/ 2891112 w 12192000"/>
              <a:gd name="connsiteY2" fmla="*/ 25388 h 6858000"/>
              <a:gd name="connsiteX3" fmla="*/ 3097511 w 12192000"/>
              <a:gd name="connsiteY3" fmla="*/ 567520 h 6858000"/>
              <a:gd name="connsiteX4" fmla="*/ 5003886 w 12192000"/>
              <a:gd name="connsiteY4" fmla="*/ 1145793 h 6858000"/>
              <a:gd name="connsiteX5" fmla="*/ 7398113 w 12192000"/>
              <a:gd name="connsiteY5" fmla="*/ 650130 h 6858000"/>
              <a:gd name="connsiteX6" fmla="*/ 7738316 w 12192000"/>
              <a:gd name="connsiteY6" fmla="*/ 36515 h 6858000"/>
              <a:gd name="connsiteX7" fmla="*/ 7715084 w 12192000"/>
              <a:gd name="connsiteY7" fmla="*/ 0 h 6858000"/>
              <a:gd name="connsiteX8" fmla="*/ 12192000 w 12192000"/>
              <a:gd name="connsiteY8" fmla="*/ 0 h 6858000"/>
              <a:gd name="connsiteX9" fmla="*/ 12192000 w 12192000"/>
              <a:gd name="connsiteY9" fmla="*/ 6858000 h 6858000"/>
              <a:gd name="connsiteX10" fmla="*/ 0 w 12192000"/>
              <a:gd name="connsiteY10" fmla="*/ 6858000 h 6858000"/>
              <a:gd name="connsiteX11" fmla="*/ 0 w 12192000"/>
              <a:gd name="connsiteY11" fmla="*/ 4710669 h 6858000"/>
              <a:gd name="connsiteX12" fmla="*/ 108070 w 12192000"/>
              <a:gd name="connsiteY12" fmla="*/ 4629515 h 6858000"/>
              <a:gd name="connsiteX13" fmla="*/ 538165 w 12192000"/>
              <a:gd name="connsiteY13" fmla="*/ 3421336 h 6858000"/>
              <a:gd name="connsiteX14" fmla="*/ 74237 w 12192000"/>
              <a:gd name="connsiteY14" fmla="*/ 2357257 h 6858000"/>
              <a:gd name="connsiteX15" fmla="*/ 0 w 12192000"/>
              <a:gd name="connsiteY15" fmla="*/ 2257472 h 6858000"/>
              <a:gd name="connsiteX16" fmla="*/ 0 w 12192000"/>
              <a:gd name="connsiteY16" fmla="*/ 667182 h 6858000"/>
              <a:gd name="connsiteX17" fmla="*/ 24044 w 12192000"/>
              <a:gd name="connsiteY17" fmla="*/ 683925 h 6858000"/>
              <a:gd name="connsiteX18" fmla="*/ 1502611 w 12192000"/>
              <a:gd name="connsiteY18" fmla="*/ 1479990 h 6858000"/>
              <a:gd name="connsiteX19" fmla="*/ 2500831 w 12192000"/>
              <a:gd name="connsiteY19" fmla="*/ 1303504 h 6858000"/>
              <a:gd name="connsiteX20" fmla="*/ 2654692 w 12192000"/>
              <a:gd name="connsiteY20" fmla="*/ 376014 h 6858000"/>
              <a:gd name="connsiteX21" fmla="*/ 2507926 w 12192000"/>
              <a:gd name="connsiteY21" fmla="*/ 1752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58000">
                <a:moveTo>
                  <a:pt x="2376294" y="0"/>
                </a:moveTo>
                <a:lnTo>
                  <a:pt x="2892698" y="0"/>
                </a:lnTo>
                <a:lnTo>
                  <a:pt x="2891112" y="25388"/>
                </a:lnTo>
                <a:cubicBezTo>
                  <a:pt x="2895803" y="224874"/>
                  <a:pt x="2968043" y="422951"/>
                  <a:pt x="3097511" y="567520"/>
                </a:cubicBezTo>
                <a:cubicBezTo>
                  <a:pt x="3581610" y="1104488"/>
                  <a:pt x="4362173" y="1164568"/>
                  <a:pt x="5003886" y="1145793"/>
                </a:cubicBezTo>
                <a:cubicBezTo>
                  <a:pt x="5701890" y="1123263"/>
                  <a:pt x="6797680" y="1081958"/>
                  <a:pt x="7398113" y="650130"/>
                </a:cubicBezTo>
                <a:cubicBezTo>
                  <a:pt x="7738202" y="404880"/>
                  <a:pt x="7811864" y="202901"/>
                  <a:pt x="7738316" y="36515"/>
                </a:cubicBezTo>
                <a:lnTo>
                  <a:pt x="7715084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0669"/>
                </a:lnTo>
                <a:lnTo>
                  <a:pt x="108070" y="4629515"/>
                </a:lnTo>
                <a:cubicBezTo>
                  <a:pt x="459358" y="4359857"/>
                  <a:pt x="743626" y="4069077"/>
                  <a:pt x="538165" y="3421336"/>
                </a:cubicBezTo>
                <a:cubicBezTo>
                  <a:pt x="393686" y="2966979"/>
                  <a:pt x="262341" y="2640292"/>
                  <a:pt x="74237" y="2357257"/>
                </a:cubicBezTo>
                <a:lnTo>
                  <a:pt x="0" y="2257472"/>
                </a:lnTo>
                <a:lnTo>
                  <a:pt x="0" y="667182"/>
                </a:lnTo>
                <a:lnTo>
                  <a:pt x="24044" y="683925"/>
                </a:lnTo>
                <a:cubicBezTo>
                  <a:pt x="485627" y="984327"/>
                  <a:pt x="995996" y="1344809"/>
                  <a:pt x="1502611" y="1479990"/>
                </a:cubicBezTo>
                <a:cubicBezTo>
                  <a:pt x="1814086" y="1562601"/>
                  <a:pt x="2200614" y="1427420"/>
                  <a:pt x="2500831" y="1303504"/>
                </a:cubicBezTo>
                <a:cubicBezTo>
                  <a:pt x="2962414" y="1111998"/>
                  <a:pt x="2891112" y="710211"/>
                  <a:pt x="2654692" y="376014"/>
                </a:cubicBezTo>
                <a:cubicBezTo>
                  <a:pt x="2606845" y="310301"/>
                  <a:pt x="2557825" y="242945"/>
                  <a:pt x="2507926" y="175296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Picture Placeholder 45"/>
          <p:cNvSpPr>
            <a:spLocks noGrp="1"/>
          </p:cNvSpPr>
          <p:nvPr>
            <p:ph type="pic" sz="quarter" idx="19"/>
          </p:nvPr>
        </p:nvSpPr>
        <p:spPr bwMode="gray">
          <a:xfrm>
            <a:off x="700812" y="1282237"/>
            <a:ext cx="5182809" cy="4539274"/>
          </a:xfrm>
          <a:custGeom>
            <a:avLst/>
            <a:gdLst>
              <a:gd name="connsiteX0" fmla="*/ 3144164 w 5182809"/>
              <a:gd name="connsiteY0" fmla="*/ 0 h 4539274"/>
              <a:gd name="connsiteX1" fmla="*/ 3986889 w 5182809"/>
              <a:gd name="connsiteY1" fmla="*/ 181304 h 4539274"/>
              <a:gd name="connsiteX2" fmla="*/ 4723453 w 5182809"/>
              <a:gd name="connsiteY2" fmla="*/ 3961442 h 4539274"/>
              <a:gd name="connsiteX3" fmla="*/ 2712936 w 5182809"/>
              <a:gd name="connsiteY3" fmla="*/ 4476232 h 4539274"/>
              <a:gd name="connsiteX4" fmla="*/ 446877 w 5182809"/>
              <a:gd name="connsiteY4" fmla="*/ 3157317 h 4539274"/>
              <a:gd name="connsiteX5" fmla="*/ 785095 w 5182809"/>
              <a:gd name="connsiteY5" fmla="*/ 639730 h 4539274"/>
              <a:gd name="connsiteX6" fmla="*/ 2284527 w 5182809"/>
              <a:gd name="connsiteY6" fmla="*/ 106152 h 4539274"/>
              <a:gd name="connsiteX7" fmla="*/ 3144164 w 5182809"/>
              <a:gd name="connsiteY7" fmla="*/ 0 h 4539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82809" h="4539274">
                <a:moveTo>
                  <a:pt x="3144164" y="0"/>
                </a:moveTo>
                <a:cubicBezTo>
                  <a:pt x="3441983" y="0"/>
                  <a:pt x="3736984" y="47910"/>
                  <a:pt x="3986889" y="181304"/>
                </a:cubicBezTo>
                <a:cubicBezTo>
                  <a:pt x="5302181" y="887732"/>
                  <a:pt x="5508869" y="2781558"/>
                  <a:pt x="4723453" y="3961442"/>
                </a:cubicBezTo>
                <a:cubicBezTo>
                  <a:pt x="4257464" y="4585202"/>
                  <a:pt x="3381855" y="4603990"/>
                  <a:pt x="2712936" y="4476232"/>
                </a:cubicBezTo>
                <a:cubicBezTo>
                  <a:pt x="1856118" y="4310898"/>
                  <a:pt x="1093249" y="3747259"/>
                  <a:pt x="446877" y="3157317"/>
                </a:cubicBezTo>
                <a:cubicBezTo>
                  <a:pt x="-293444" y="2477193"/>
                  <a:pt x="-67965" y="1109429"/>
                  <a:pt x="785095" y="639730"/>
                </a:cubicBezTo>
                <a:cubicBezTo>
                  <a:pt x="1251084" y="380457"/>
                  <a:pt x="1773442" y="222638"/>
                  <a:pt x="2284527" y="106152"/>
                </a:cubicBezTo>
                <a:cubicBezTo>
                  <a:pt x="2545706" y="47910"/>
                  <a:pt x="2846344" y="0"/>
                  <a:pt x="314416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68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000" y="5085000"/>
            <a:ext cx="2880000" cy="1458000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542" y="4364905"/>
            <a:ext cx="5327542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Name</a:t>
            </a:r>
            <a:br>
              <a:rPr lang="en-US" noProof="0"/>
            </a:br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40922" y="3573087"/>
            <a:ext cx="5327192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40922" y="2180310"/>
            <a:ext cx="5327192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1"/>
          </a:solidFill>
        </p:grpSpPr>
        <p:sp>
          <p:nvSpPr>
            <p:cNvPr id="16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1322582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53649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Freeform 6"/>
          <p:cNvSpPr>
            <a:spLocks noEditPoints="1"/>
          </p:cNvSpPr>
          <p:nvPr userDrawn="1"/>
        </p:nvSpPr>
        <p:spPr bwMode="gray">
          <a:xfrm>
            <a:off x="463543" y="486048"/>
            <a:ext cx="4883069" cy="5475233"/>
          </a:xfrm>
          <a:custGeom>
            <a:avLst/>
            <a:gdLst>
              <a:gd name="T0" fmla="*/ 1263 w 1588"/>
              <a:gd name="T1" fmla="*/ 1439 h 1779"/>
              <a:gd name="T2" fmla="*/ 1172 w 1588"/>
              <a:gd name="T3" fmla="*/ 1552 h 1779"/>
              <a:gd name="T4" fmla="*/ 1028 w 1588"/>
              <a:gd name="T5" fmla="*/ 1530 h 1779"/>
              <a:gd name="T6" fmla="*/ 897 w 1588"/>
              <a:gd name="T7" fmla="*/ 1348 h 1779"/>
              <a:gd name="T8" fmla="*/ 781 w 1588"/>
              <a:gd name="T9" fmla="*/ 1506 h 1779"/>
              <a:gd name="T10" fmla="*/ 563 w 1588"/>
              <a:gd name="T11" fmla="*/ 1484 h 1779"/>
              <a:gd name="T12" fmla="*/ 473 w 1588"/>
              <a:gd name="T13" fmla="*/ 1284 h 1779"/>
              <a:gd name="T14" fmla="*/ 601 w 1588"/>
              <a:gd name="T15" fmla="*/ 1106 h 1779"/>
              <a:gd name="T16" fmla="*/ 819 w 1588"/>
              <a:gd name="T17" fmla="*/ 1128 h 1779"/>
              <a:gd name="T18" fmla="*/ 987 w 1588"/>
              <a:gd name="T19" fmla="*/ 1374 h 1779"/>
              <a:gd name="T20" fmla="*/ 1066 w 1588"/>
              <a:gd name="T21" fmla="*/ 1281 h 1779"/>
              <a:gd name="T22" fmla="*/ 1210 w 1588"/>
              <a:gd name="T23" fmla="*/ 1303 h 1779"/>
              <a:gd name="T24" fmla="*/ 463 w 1588"/>
              <a:gd name="T25" fmla="*/ 891 h 1779"/>
              <a:gd name="T26" fmla="*/ 551 w 1588"/>
              <a:gd name="T27" fmla="*/ 667 h 1779"/>
              <a:gd name="T28" fmla="*/ 962 w 1588"/>
              <a:gd name="T29" fmla="*/ 629 h 1779"/>
              <a:gd name="T30" fmla="*/ 854 w 1588"/>
              <a:gd name="T31" fmla="*/ 368 h 1779"/>
              <a:gd name="T32" fmla="*/ 1003 w 1588"/>
              <a:gd name="T33" fmla="*/ 36 h 1779"/>
              <a:gd name="T34" fmla="*/ 1364 w 1588"/>
              <a:gd name="T35" fmla="*/ 0 h 1779"/>
              <a:gd name="T36" fmla="*/ 1577 w 1588"/>
              <a:gd name="T37" fmla="*/ 294 h 1779"/>
              <a:gd name="T38" fmla="*/ 1428 w 1588"/>
              <a:gd name="T39" fmla="*/ 626 h 1779"/>
              <a:gd name="T40" fmla="*/ 893 w 1588"/>
              <a:gd name="T41" fmla="*/ 663 h 1779"/>
              <a:gd name="T42" fmla="*/ 940 w 1588"/>
              <a:gd name="T43" fmla="*/ 818 h 1779"/>
              <a:gd name="T44" fmla="*/ 853 w 1588"/>
              <a:gd name="T45" fmla="*/ 1043 h 1779"/>
              <a:gd name="T46" fmla="*/ 614 w 1588"/>
              <a:gd name="T47" fmla="*/ 1079 h 1779"/>
              <a:gd name="T48" fmla="*/ 463 w 1588"/>
              <a:gd name="T49" fmla="*/ 891 h 1779"/>
              <a:gd name="T50" fmla="*/ 117 w 1588"/>
              <a:gd name="T51" fmla="*/ 884 h 1779"/>
              <a:gd name="T52" fmla="*/ 381 w 1588"/>
              <a:gd name="T53" fmla="*/ 857 h 1779"/>
              <a:gd name="T54" fmla="*/ 536 w 1588"/>
              <a:gd name="T55" fmla="*/ 1073 h 1779"/>
              <a:gd name="T56" fmla="*/ 364 w 1588"/>
              <a:gd name="T57" fmla="*/ 1424 h 1779"/>
              <a:gd name="T58" fmla="*/ 479 w 1588"/>
              <a:gd name="T59" fmla="*/ 1451 h 1779"/>
              <a:gd name="T60" fmla="*/ 590 w 1588"/>
              <a:gd name="T61" fmla="*/ 1588 h 1779"/>
              <a:gd name="T62" fmla="*/ 526 w 1588"/>
              <a:gd name="T63" fmla="*/ 1752 h 1779"/>
              <a:gd name="T64" fmla="*/ 352 w 1588"/>
              <a:gd name="T65" fmla="*/ 1779 h 1779"/>
              <a:gd name="T66" fmla="*/ 242 w 1588"/>
              <a:gd name="T67" fmla="*/ 1642 h 1779"/>
              <a:gd name="T68" fmla="*/ 368 w 1588"/>
              <a:gd name="T69" fmla="*/ 1368 h 1779"/>
              <a:gd name="T70" fmla="*/ 163 w 1588"/>
              <a:gd name="T71" fmla="*/ 1341 h 1779"/>
              <a:gd name="T72" fmla="*/ 8 w 1588"/>
              <a:gd name="T73" fmla="*/ 1126 h 17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8" h="1779">
                <a:moveTo>
                  <a:pt x="1263" y="1394"/>
                </a:moveTo>
                <a:cubicBezTo>
                  <a:pt x="1270" y="1406"/>
                  <a:pt x="1270" y="1426"/>
                  <a:pt x="1263" y="1439"/>
                </a:cubicBezTo>
                <a:cubicBezTo>
                  <a:pt x="1210" y="1530"/>
                  <a:pt x="1210" y="1530"/>
                  <a:pt x="1210" y="1530"/>
                </a:cubicBezTo>
                <a:cubicBezTo>
                  <a:pt x="1203" y="1542"/>
                  <a:pt x="1186" y="1552"/>
                  <a:pt x="1172" y="1552"/>
                </a:cubicBezTo>
                <a:cubicBezTo>
                  <a:pt x="1066" y="1552"/>
                  <a:pt x="1066" y="1552"/>
                  <a:pt x="1066" y="1552"/>
                </a:cubicBezTo>
                <a:cubicBezTo>
                  <a:pt x="1052" y="1552"/>
                  <a:pt x="1035" y="1542"/>
                  <a:pt x="1028" y="1530"/>
                </a:cubicBezTo>
                <a:cubicBezTo>
                  <a:pt x="923" y="1348"/>
                  <a:pt x="923" y="1348"/>
                  <a:pt x="923" y="1348"/>
                </a:cubicBezTo>
                <a:cubicBezTo>
                  <a:pt x="916" y="1336"/>
                  <a:pt x="904" y="1336"/>
                  <a:pt x="897" y="1348"/>
                </a:cubicBezTo>
                <a:cubicBezTo>
                  <a:pt x="819" y="1484"/>
                  <a:pt x="819" y="1484"/>
                  <a:pt x="819" y="1484"/>
                </a:cubicBezTo>
                <a:cubicBezTo>
                  <a:pt x="812" y="1496"/>
                  <a:pt x="795" y="1506"/>
                  <a:pt x="781" y="1506"/>
                </a:cubicBezTo>
                <a:cubicBezTo>
                  <a:pt x="601" y="1506"/>
                  <a:pt x="601" y="1506"/>
                  <a:pt x="601" y="1506"/>
                </a:cubicBezTo>
                <a:cubicBezTo>
                  <a:pt x="587" y="1506"/>
                  <a:pt x="570" y="1496"/>
                  <a:pt x="563" y="1484"/>
                </a:cubicBezTo>
                <a:cubicBezTo>
                  <a:pt x="473" y="1328"/>
                  <a:pt x="473" y="1328"/>
                  <a:pt x="473" y="1328"/>
                </a:cubicBezTo>
                <a:cubicBezTo>
                  <a:pt x="466" y="1316"/>
                  <a:pt x="466" y="1296"/>
                  <a:pt x="473" y="1284"/>
                </a:cubicBezTo>
                <a:cubicBezTo>
                  <a:pt x="563" y="1128"/>
                  <a:pt x="563" y="1128"/>
                  <a:pt x="563" y="1128"/>
                </a:cubicBezTo>
                <a:cubicBezTo>
                  <a:pt x="570" y="1116"/>
                  <a:pt x="587" y="1106"/>
                  <a:pt x="601" y="1106"/>
                </a:cubicBezTo>
                <a:cubicBezTo>
                  <a:pt x="781" y="1106"/>
                  <a:pt x="781" y="1106"/>
                  <a:pt x="781" y="1106"/>
                </a:cubicBezTo>
                <a:cubicBezTo>
                  <a:pt x="795" y="1106"/>
                  <a:pt x="812" y="1116"/>
                  <a:pt x="819" y="1128"/>
                </a:cubicBezTo>
                <a:cubicBezTo>
                  <a:pt x="961" y="1374"/>
                  <a:pt x="961" y="1374"/>
                  <a:pt x="961" y="1374"/>
                </a:cubicBezTo>
                <a:cubicBezTo>
                  <a:pt x="968" y="1387"/>
                  <a:pt x="980" y="1387"/>
                  <a:pt x="987" y="1374"/>
                </a:cubicBezTo>
                <a:cubicBezTo>
                  <a:pt x="1028" y="1303"/>
                  <a:pt x="1028" y="1303"/>
                  <a:pt x="1028" y="1303"/>
                </a:cubicBezTo>
                <a:cubicBezTo>
                  <a:pt x="1035" y="1291"/>
                  <a:pt x="1052" y="1281"/>
                  <a:pt x="1066" y="1281"/>
                </a:cubicBezTo>
                <a:cubicBezTo>
                  <a:pt x="1172" y="1281"/>
                  <a:pt x="1172" y="1281"/>
                  <a:pt x="1172" y="1281"/>
                </a:cubicBezTo>
                <a:cubicBezTo>
                  <a:pt x="1186" y="1281"/>
                  <a:pt x="1203" y="1291"/>
                  <a:pt x="1210" y="1303"/>
                </a:cubicBezTo>
                <a:lnTo>
                  <a:pt x="1263" y="1394"/>
                </a:lnTo>
                <a:close/>
                <a:moveTo>
                  <a:pt x="463" y="891"/>
                </a:moveTo>
                <a:cubicBezTo>
                  <a:pt x="452" y="871"/>
                  <a:pt x="452" y="838"/>
                  <a:pt x="463" y="818"/>
                </a:cubicBezTo>
                <a:cubicBezTo>
                  <a:pt x="551" y="667"/>
                  <a:pt x="551" y="667"/>
                  <a:pt x="551" y="667"/>
                </a:cubicBezTo>
                <a:cubicBezTo>
                  <a:pt x="562" y="646"/>
                  <a:pt x="591" y="630"/>
                  <a:pt x="614" y="630"/>
                </a:cubicBezTo>
                <a:cubicBezTo>
                  <a:pt x="962" y="629"/>
                  <a:pt x="962" y="629"/>
                  <a:pt x="962" y="629"/>
                </a:cubicBezTo>
                <a:cubicBezTo>
                  <a:pt x="985" y="629"/>
                  <a:pt x="995" y="613"/>
                  <a:pt x="983" y="593"/>
                </a:cubicBezTo>
                <a:cubicBezTo>
                  <a:pt x="854" y="368"/>
                  <a:pt x="854" y="368"/>
                  <a:pt x="854" y="368"/>
                </a:cubicBezTo>
                <a:cubicBezTo>
                  <a:pt x="842" y="347"/>
                  <a:pt x="842" y="314"/>
                  <a:pt x="854" y="294"/>
                </a:cubicBezTo>
                <a:cubicBezTo>
                  <a:pt x="1003" y="36"/>
                  <a:pt x="1003" y="36"/>
                  <a:pt x="1003" y="36"/>
                </a:cubicBezTo>
                <a:cubicBezTo>
                  <a:pt x="1014" y="16"/>
                  <a:pt x="1043" y="0"/>
                  <a:pt x="1066" y="0"/>
                </a:cubicBezTo>
                <a:cubicBezTo>
                  <a:pt x="1364" y="0"/>
                  <a:pt x="1364" y="0"/>
                  <a:pt x="1364" y="0"/>
                </a:cubicBezTo>
                <a:cubicBezTo>
                  <a:pt x="1387" y="0"/>
                  <a:pt x="1416" y="16"/>
                  <a:pt x="1428" y="36"/>
                </a:cubicBezTo>
                <a:cubicBezTo>
                  <a:pt x="1577" y="294"/>
                  <a:pt x="1577" y="294"/>
                  <a:pt x="1577" y="294"/>
                </a:cubicBezTo>
                <a:cubicBezTo>
                  <a:pt x="1588" y="314"/>
                  <a:pt x="1588" y="347"/>
                  <a:pt x="1577" y="368"/>
                </a:cubicBezTo>
                <a:cubicBezTo>
                  <a:pt x="1428" y="626"/>
                  <a:pt x="1428" y="626"/>
                  <a:pt x="1428" y="626"/>
                </a:cubicBezTo>
                <a:cubicBezTo>
                  <a:pt x="1416" y="646"/>
                  <a:pt x="1387" y="662"/>
                  <a:pt x="1364" y="662"/>
                </a:cubicBezTo>
                <a:cubicBezTo>
                  <a:pt x="893" y="663"/>
                  <a:pt x="893" y="663"/>
                  <a:pt x="893" y="663"/>
                </a:cubicBezTo>
                <a:cubicBezTo>
                  <a:pt x="870" y="663"/>
                  <a:pt x="860" y="679"/>
                  <a:pt x="872" y="699"/>
                </a:cubicBezTo>
                <a:cubicBezTo>
                  <a:pt x="940" y="818"/>
                  <a:pt x="940" y="818"/>
                  <a:pt x="940" y="818"/>
                </a:cubicBezTo>
                <a:cubicBezTo>
                  <a:pt x="952" y="838"/>
                  <a:pt x="952" y="871"/>
                  <a:pt x="940" y="891"/>
                </a:cubicBezTo>
                <a:cubicBezTo>
                  <a:pt x="853" y="1043"/>
                  <a:pt x="853" y="1043"/>
                  <a:pt x="853" y="1043"/>
                </a:cubicBezTo>
                <a:cubicBezTo>
                  <a:pt x="841" y="1063"/>
                  <a:pt x="812" y="1079"/>
                  <a:pt x="789" y="1079"/>
                </a:cubicBezTo>
                <a:cubicBezTo>
                  <a:pt x="614" y="1079"/>
                  <a:pt x="614" y="1079"/>
                  <a:pt x="614" y="1079"/>
                </a:cubicBezTo>
                <a:cubicBezTo>
                  <a:pt x="591" y="1079"/>
                  <a:pt x="562" y="1063"/>
                  <a:pt x="551" y="1043"/>
                </a:cubicBezTo>
                <a:lnTo>
                  <a:pt x="463" y="891"/>
                </a:lnTo>
                <a:close/>
                <a:moveTo>
                  <a:pt x="8" y="1073"/>
                </a:moveTo>
                <a:cubicBezTo>
                  <a:pt x="117" y="884"/>
                  <a:pt x="117" y="884"/>
                  <a:pt x="117" y="884"/>
                </a:cubicBezTo>
                <a:cubicBezTo>
                  <a:pt x="125" y="869"/>
                  <a:pt x="146" y="857"/>
                  <a:pt x="163" y="857"/>
                </a:cubicBezTo>
                <a:cubicBezTo>
                  <a:pt x="381" y="857"/>
                  <a:pt x="381" y="857"/>
                  <a:pt x="381" y="857"/>
                </a:cubicBezTo>
                <a:cubicBezTo>
                  <a:pt x="398" y="857"/>
                  <a:pt x="418" y="869"/>
                  <a:pt x="427" y="884"/>
                </a:cubicBezTo>
                <a:cubicBezTo>
                  <a:pt x="536" y="1073"/>
                  <a:pt x="536" y="1073"/>
                  <a:pt x="536" y="1073"/>
                </a:cubicBezTo>
                <a:cubicBezTo>
                  <a:pt x="544" y="1087"/>
                  <a:pt x="544" y="1111"/>
                  <a:pt x="536" y="1126"/>
                </a:cubicBezTo>
                <a:cubicBezTo>
                  <a:pt x="364" y="1424"/>
                  <a:pt x="364" y="1424"/>
                  <a:pt x="364" y="1424"/>
                </a:cubicBezTo>
                <a:cubicBezTo>
                  <a:pt x="356" y="1439"/>
                  <a:pt x="362" y="1451"/>
                  <a:pt x="379" y="1451"/>
                </a:cubicBezTo>
                <a:cubicBezTo>
                  <a:pt x="479" y="1451"/>
                  <a:pt x="479" y="1451"/>
                  <a:pt x="479" y="1451"/>
                </a:cubicBezTo>
                <a:cubicBezTo>
                  <a:pt x="496" y="1451"/>
                  <a:pt x="517" y="1463"/>
                  <a:pt x="526" y="1478"/>
                </a:cubicBezTo>
                <a:cubicBezTo>
                  <a:pt x="590" y="1588"/>
                  <a:pt x="590" y="1588"/>
                  <a:pt x="590" y="1588"/>
                </a:cubicBezTo>
                <a:cubicBezTo>
                  <a:pt x="598" y="1603"/>
                  <a:pt x="598" y="1627"/>
                  <a:pt x="590" y="1642"/>
                </a:cubicBezTo>
                <a:cubicBezTo>
                  <a:pt x="526" y="1752"/>
                  <a:pt x="526" y="1752"/>
                  <a:pt x="526" y="1752"/>
                </a:cubicBezTo>
                <a:cubicBezTo>
                  <a:pt x="517" y="1767"/>
                  <a:pt x="496" y="1779"/>
                  <a:pt x="479" y="1779"/>
                </a:cubicBezTo>
                <a:cubicBezTo>
                  <a:pt x="352" y="1779"/>
                  <a:pt x="352" y="1779"/>
                  <a:pt x="352" y="1779"/>
                </a:cubicBezTo>
                <a:cubicBezTo>
                  <a:pt x="335" y="1779"/>
                  <a:pt x="314" y="1767"/>
                  <a:pt x="305" y="1752"/>
                </a:cubicBezTo>
                <a:cubicBezTo>
                  <a:pt x="242" y="1642"/>
                  <a:pt x="242" y="1642"/>
                  <a:pt x="242" y="1642"/>
                </a:cubicBezTo>
                <a:cubicBezTo>
                  <a:pt x="233" y="1627"/>
                  <a:pt x="233" y="1603"/>
                  <a:pt x="242" y="1588"/>
                </a:cubicBezTo>
                <a:cubicBezTo>
                  <a:pt x="368" y="1368"/>
                  <a:pt x="368" y="1368"/>
                  <a:pt x="368" y="1368"/>
                </a:cubicBezTo>
                <a:cubicBezTo>
                  <a:pt x="377" y="1353"/>
                  <a:pt x="370" y="1341"/>
                  <a:pt x="353" y="1341"/>
                </a:cubicBezTo>
                <a:cubicBezTo>
                  <a:pt x="163" y="1341"/>
                  <a:pt x="163" y="1341"/>
                  <a:pt x="163" y="1341"/>
                </a:cubicBezTo>
                <a:cubicBezTo>
                  <a:pt x="146" y="1341"/>
                  <a:pt x="125" y="1329"/>
                  <a:pt x="117" y="1314"/>
                </a:cubicBezTo>
                <a:cubicBezTo>
                  <a:pt x="8" y="1126"/>
                  <a:pt x="8" y="1126"/>
                  <a:pt x="8" y="1126"/>
                </a:cubicBezTo>
                <a:cubicBezTo>
                  <a:pt x="0" y="1111"/>
                  <a:pt x="0" y="1087"/>
                  <a:pt x="8" y="1073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456428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6910377 w 12192000"/>
              <a:gd name="connsiteY3" fmla="*/ 6858000 h 6858000"/>
              <a:gd name="connsiteX4" fmla="*/ 6944008 w 12192000"/>
              <a:gd name="connsiteY4" fmla="*/ 6799742 h 6858000"/>
              <a:gd name="connsiteX5" fmla="*/ 7200786 w 12192000"/>
              <a:gd name="connsiteY5" fmla="*/ 6354938 h 6858000"/>
              <a:gd name="connsiteX6" fmla="*/ 7200786 w 12192000"/>
              <a:gd name="connsiteY6" fmla="*/ 5837908 h 6858000"/>
              <a:gd name="connsiteX7" fmla="*/ 6149027 w 12192000"/>
              <a:gd name="connsiteY7" fmla="*/ 4012915 h 6858000"/>
              <a:gd name="connsiteX8" fmla="*/ 5703106 w 12192000"/>
              <a:gd name="connsiteY8" fmla="*/ 3754400 h 6858000"/>
              <a:gd name="connsiteX9" fmla="*/ 3870218 w 12192000"/>
              <a:gd name="connsiteY9" fmla="*/ 3754400 h 6858000"/>
              <a:gd name="connsiteX10" fmla="*/ 3719527 w 12192000"/>
              <a:gd name="connsiteY10" fmla="*/ 3492808 h 6858000"/>
              <a:gd name="connsiteX11" fmla="*/ 4943503 w 12192000"/>
              <a:gd name="connsiteY11" fmla="*/ 1363137 h 6858000"/>
              <a:gd name="connsiteX12" fmla="*/ 4943503 w 12192000"/>
              <a:gd name="connsiteY12" fmla="*/ 846107 h 6858000"/>
              <a:gd name="connsiteX13" fmla="*/ 4462168 w 12192000"/>
              <a:gd name="connsiteY13" fmla="*/ 9972 h 6858000"/>
              <a:gd name="connsiteX14" fmla="*/ 0 w 12192000"/>
              <a:gd name="connsiteY14" fmla="*/ 0 h 6858000"/>
              <a:gd name="connsiteX15" fmla="*/ 2066183 w 12192000"/>
              <a:gd name="connsiteY15" fmla="*/ 0 h 6858000"/>
              <a:gd name="connsiteX16" fmla="*/ 1982011 w 12192000"/>
              <a:gd name="connsiteY16" fmla="*/ 146217 h 6858000"/>
              <a:gd name="connsiteX17" fmla="*/ 1579108 w 12192000"/>
              <a:gd name="connsiteY17" fmla="*/ 846107 h 6858000"/>
              <a:gd name="connsiteX18" fmla="*/ 1579108 w 12192000"/>
              <a:gd name="connsiteY18" fmla="*/ 1363137 h 6858000"/>
              <a:gd name="connsiteX19" fmla="*/ 2194171 w 12192000"/>
              <a:gd name="connsiteY19" fmla="*/ 2434127 h 6858000"/>
              <a:gd name="connsiteX20" fmla="*/ 2643167 w 12192000"/>
              <a:gd name="connsiteY20" fmla="*/ 2692642 h 6858000"/>
              <a:gd name="connsiteX21" fmla="*/ 3608816 w 12192000"/>
              <a:gd name="connsiteY21" fmla="*/ 2692642 h 6858000"/>
              <a:gd name="connsiteX22" fmla="*/ 3759507 w 12192000"/>
              <a:gd name="connsiteY22" fmla="*/ 2951157 h 6858000"/>
              <a:gd name="connsiteX23" fmla="*/ 2098836 w 12192000"/>
              <a:gd name="connsiteY23" fmla="*/ 5837908 h 6858000"/>
              <a:gd name="connsiteX24" fmla="*/ 2098836 w 12192000"/>
              <a:gd name="connsiteY24" fmla="*/ 6354938 h 6858000"/>
              <a:gd name="connsiteX25" fmla="*/ 2367778 w 12192000"/>
              <a:gd name="connsiteY25" fmla="*/ 6820814 h 6858000"/>
              <a:gd name="connsiteX26" fmla="*/ 2389244 w 12192000"/>
              <a:gd name="connsiteY26" fmla="*/ 6858000 h 6858000"/>
              <a:gd name="connsiteX27" fmla="*/ 2077708 w 12192000"/>
              <a:gd name="connsiteY27" fmla="*/ 6858000 h 6858000"/>
              <a:gd name="connsiteX28" fmla="*/ 2060010 w 12192000"/>
              <a:gd name="connsiteY28" fmla="*/ 6827344 h 6858000"/>
              <a:gd name="connsiteX29" fmla="*/ 1954296 w 12192000"/>
              <a:gd name="connsiteY29" fmla="*/ 6644229 h 6858000"/>
              <a:gd name="connsiteX30" fmla="*/ 1339233 w 12192000"/>
              <a:gd name="connsiteY30" fmla="*/ 6287232 h 6858000"/>
              <a:gd name="connsiteX31" fmla="*/ 60754 w 12192000"/>
              <a:gd name="connsiteY31" fmla="*/ 6287232 h 6858000"/>
              <a:gd name="connsiteX32" fmla="*/ 0 w 12192000"/>
              <a:gd name="connsiteY32" fmla="*/ 6287232 h 6858000"/>
              <a:gd name="connsiteX33" fmla="*/ 0 w 12192000"/>
              <a:gd name="connsiteY33" fmla="*/ 6028717 h 6858000"/>
              <a:gd name="connsiteX34" fmla="*/ 34162 w 12192000"/>
              <a:gd name="connsiteY34" fmla="*/ 6028717 h 6858000"/>
              <a:gd name="connsiteX35" fmla="*/ 1468396 w 12192000"/>
              <a:gd name="connsiteY35" fmla="*/ 6028717 h 6858000"/>
              <a:gd name="connsiteX36" fmla="*/ 1837434 w 12192000"/>
              <a:gd name="connsiteY36" fmla="*/ 5813288 h 6858000"/>
              <a:gd name="connsiteX37" fmla="*/ 2707749 w 12192000"/>
              <a:gd name="connsiteY37" fmla="*/ 4308361 h 6858000"/>
              <a:gd name="connsiteX38" fmla="*/ 2707749 w 12192000"/>
              <a:gd name="connsiteY38" fmla="*/ 3880580 h 6858000"/>
              <a:gd name="connsiteX39" fmla="*/ 1837434 w 12192000"/>
              <a:gd name="connsiteY39" fmla="*/ 2372576 h 6858000"/>
              <a:gd name="connsiteX40" fmla="*/ 1468396 w 12192000"/>
              <a:gd name="connsiteY40" fmla="*/ 2160224 h 6858000"/>
              <a:gd name="connsiteX41" fmla="*/ 37562 w 12192000"/>
              <a:gd name="connsiteY41" fmla="*/ 2160224 h 6858000"/>
              <a:gd name="connsiteX42" fmla="*/ 0 w 12192000"/>
              <a:gd name="connsiteY42" fmla="*/ 21602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4456428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6910377" y="6858000"/>
                </a:lnTo>
                <a:lnTo>
                  <a:pt x="6944008" y="6799742"/>
                </a:lnTo>
                <a:cubicBezTo>
                  <a:pt x="7200786" y="6354938"/>
                  <a:pt x="7200786" y="6354938"/>
                  <a:pt x="7200786" y="6354938"/>
                </a:cubicBezTo>
                <a:cubicBezTo>
                  <a:pt x="7283818" y="6213370"/>
                  <a:pt x="7283818" y="5979476"/>
                  <a:pt x="7200786" y="5837908"/>
                </a:cubicBezTo>
                <a:cubicBezTo>
                  <a:pt x="6149027" y="4012915"/>
                  <a:pt x="6149027" y="4012915"/>
                  <a:pt x="6149027" y="4012915"/>
                </a:cubicBezTo>
                <a:cubicBezTo>
                  <a:pt x="6069069" y="3871348"/>
                  <a:pt x="5866098" y="3754400"/>
                  <a:pt x="5703106" y="3754400"/>
                </a:cubicBezTo>
                <a:cubicBezTo>
                  <a:pt x="3870218" y="3754400"/>
                  <a:pt x="3870218" y="3754400"/>
                  <a:pt x="3870218" y="3754400"/>
                </a:cubicBezTo>
                <a:cubicBezTo>
                  <a:pt x="3704151" y="3754400"/>
                  <a:pt x="3636494" y="3637453"/>
                  <a:pt x="3719527" y="3492808"/>
                </a:cubicBezTo>
                <a:cubicBezTo>
                  <a:pt x="4943503" y="1363137"/>
                  <a:pt x="4943503" y="1363137"/>
                  <a:pt x="4943503" y="1363137"/>
                </a:cubicBezTo>
                <a:cubicBezTo>
                  <a:pt x="5026537" y="1221569"/>
                  <a:pt x="5026537" y="987674"/>
                  <a:pt x="4943503" y="846107"/>
                </a:cubicBezTo>
                <a:cubicBezTo>
                  <a:pt x="4576772" y="209052"/>
                  <a:pt x="4485089" y="49788"/>
                  <a:pt x="4462168" y="9972"/>
                </a:cubicBezTo>
                <a:close/>
                <a:moveTo>
                  <a:pt x="0" y="0"/>
                </a:moveTo>
                <a:lnTo>
                  <a:pt x="2066183" y="0"/>
                </a:lnTo>
                <a:lnTo>
                  <a:pt x="1982011" y="146217"/>
                </a:lnTo>
                <a:cubicBezTo>
                  <a:pt x="1579108" y="846107"/>
                  <a:pt x="1579108" y="846107"/>
                  <a:pt x="1579108" y="846107"/>
                </a:cubicBezTo>
                <a:cubicBezTo>
                  <a:pt x="1496074" y="987674"/>
                  <a:pt x="1496074" y="1221569"/>
                  <a:pt x="1579108" y="1363137"/>
                </a:cubicBezTo>
                <a:cubicBezTo>
                  <a:pt x="2194171" y="2434127"/>
                  <a:pt x="2194171" y="2434127"/>
                  <a:pt x="2194171" y="2434127"/>
                </a:cubicBezTo>
                <a:cubicBezTo>
                  <a:pt x="2277204" y="2575695"/>
                  <a:pt x="2480175" y="2692642"/>
                  <a:pt x="2643167" y="2692642"/>
                </a:cubicBezTo>
                <a:cubicBezTo>
                  <a:pt x="3608816" y="2692642"/>
                  <a:pt x="3608816" y="2692642"/>
                  <a:pt x="3608816" y="2692642"/>
                </a:cubicBezTo>
                <a:cubicBezTo>
                  <a:pt x="3774883" y="2692642"/>
                  <a:pt x="3842540" y="2809590"/>
                  <a:pt x="3759507" y="2951157"/>
                </a:cubicBezTo>
                <a:cubicBezTo>
                  <a:pt x="2098836" y="5837908"/>
                  <a:pt x="2098836" y="5837908"/>
                  <a:pt x="2098836" y="5837908"/>
                </a:cubicBezTo>
                <a:cubicBezTo>
                  <a:pt x="2015802" y="5979476"/>
                  <a:pt x="2015802" y="6213370"/>
                  <a:pt x="2098836" y="6354938"/>
                </a:cubicBezTo>
                <a:cubicBezTo>
                  <a:pt x="2197438" y="6525743"/>
                  <a:pt x="2286797" y="6680534"/>
                  <a:pt x="2367778" y="6820814"/>
                </a:cubicBezTo>
                <a:lnTo>
                  <a:pt x="2389244" y="6858000"/>
                </a:lnTo>
                <a:lnTo>
                  <a:pt x="2077708" y="6858000"/>
                </a:lnTo>
                <a:lnTo>
                  <a:pt x="2060010" y="6827344"/>
                </a:lnTo>
                <a:cubicBezTo>
                  <a:pt x="1954296" y="6644229"/>
                  <a:pt x="1954296" y="6644229"/>
                  <a:pt x="1954296" y="6644229"/>
                </a:cubicBezTo>
                <a:cubicBezTo>
                  <a:pt x="1840509" y="6447265"/>
                  <a:pt x="1563731" y="6287232"/>
                  <a:pt x="1339233" y="6287232"/>
                </a:cubicBezTo>
                <a:cubicBezTo>
                  <a:pt x="704949" y="6287232"/>
                  <a:pt x="308521" y="6287232"/>
                  <a:pt x="60754" y="6287232"/>
                </a:cubicBezTo>
                <a:lnTo>
                  <a:pt x="0" y="6287232"/>
                </a:lnTo>
                <a:lnTo>
                  <a:pt x="0" y="6028717"/>
                </a:lnTo>
                <a:lnTo>
                  <a:pt x="34162" y="6028717"/>
                </a:lnTo>
                <a:cubicBezTo>
                  <a:pt x="1468396" y="6028717"/>
                  <a:pt x="1468396" y="6028717"/>
                  <a:pt x="1468396" y="6028717"/>
                </a:cubicBezTo>
                <a:cubicBezTo>
                  <a:pt x="1603710" y="6028717"/>
                  <a:pt x="1769777" y="5933312"/>
                  <a:pt x="1837434" y="5813288"/>
                </a:cubicBezTo>
                <a:cubicBezTo>
                  <a:pt x="2707749" y="4308361"/>
                  <a:pt x="2707749" y="4308361"/>
                  <a:pt x="2707749" y="4308361"/>
                </a:cubicBezTo>
                <a:cubicBezTo>
                  <a:pt x="2775405" y="4191414"/>
                  <a:pt x="2775405" y="3997527"/>
                  <a:pt x="2707749" y="3880580"/>
                </a:cubicBezTo>
                <a:lnTo>
                  <a:pt x="1837434" y="2372576"/>
                </a:lnTo>
                <a:cubicBezTo>
                  <a:pt x="1769777" y="2255629"/>
                  <a:pt x="1603710" y="2160224"/>
                  <a:pt x="1468396" y="2160224"/>
                </a:cubicBezTo>
                <a:cubicBezTo>
                  <a:pt x="706871" y="2160224"/>
                  <a:pt x="278513" y="2160224"/>
                  <a:pt x="37562" y="2160224"/>
                </a:cubicBezTo>
                <a:lnTo>
                  <a:pt x="0" y="216022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991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00</a:t>
            </a:r>
            <a:endParaRPr lang="en-US"/>
          </a:p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/>
              <a:t>Chapter name </a:t>
            </a:r>
            <a:br>
              <a:rPr lang="en-US" noProof="0"/>
            </a:br>
            <a:r>
              <a:rPr lang="en-US" noProof="0"/>
              <a:t>in two lines</a:t>
            </a:r>
          </a:p>
        </p:txBody>
      </p:sp>
      <p:grpSp>
        <p:nvGrpSpPr>
          <p:cNvPr id="10" name="Group 9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35622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74994F-DC93-8CCD-69B2-297D6D83A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9736189-1A6A-1D90-4B7C-5575C4C1FA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F923693-60D9-B465-76A7-31E2818561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64E03-B8D9-4FA7-89DA-B24DAF0BE8A7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F360011-4D57-5BF5-4FE2-AEB525B1FA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B4FD6C8-A36D-5457-3130-6E7560FA1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8E09-8AC3-409D-9A37-A314A19285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280411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272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Freeform 15"/>
          <p:cNvSpPr/>
          <p:nvPr userDrawn="1"/>
        </p:nvSpPr>
        <p:spPr bwMode="gray">
          <a:xfrm>
            <a:off x="0" y="0"/>
            <a:ext cx="8832236" cy="6858000"/>
          </a:xfrm>
          <a:custGeom>
            <a:avLst/>
            <a:gdLst>
              <a:gd name="connsiteX0" fmla="*/ 1333675 w 8832236"/>
              <a:gd name="connsiteY0" fmla="*/ 0 h 6858000"/>
              <a:gd name="connsiteX1" fmla="*/ 1543197 w 8832236"/>
              <a:gd name="connsiteY1" fmla="*/ 0 h 6858000"/>
              <a:gd name="connsiteX2" fmla="*/ 1739629 w 8832236"/>
              <a:gd name="connsiteY2" fmla="*/ 0 h 6858000"/>
              <a:gd name="connsiteX3" fmla="*/ 1923392 w 8832236"/>
              <a:gd name="connsiteY3" fmla="*/ 0 h 6858000"/>
              <a:gd name="connsiteX4" fmla="*/ 2094910 w 8832236"/>
              <a:gd name="connsiteY4" fmla="*/ 0 h 6858000"/>
              <a:gd name="connsiteX5" fmla="*/ 2402895 w 8832236"/>
              <a:gd name="connsiteY5" fmla="*/ 0 h 6858000"/>
              <a:gd name="connsiteX6" fmla="*/ 2666962 w 8832236"/>
              <a:gd name="connsiteY6" fmla="*/ 0 h 6858000"/>
              <a:gd name="connsiteX7" fmla="*/ 2890490 w 8832236"/>
              <a:gd name="connsiteY7" fmla="*/ 0 h 6858000"/>
              <a:gd name="connsiteX8" fmla="*/ 3076858 w 8832236"/>
              <a:gd name="connsiteY8" fmla="*/ 0 h 6858000"/>
              <a:gd name="connsiteX9" fmla="*/ 3229442 w 8832236"/>
              <a:gd name="connsiteY9" fmla="*/ 0 h 6858000"/>
              <a:gd name="connsiteX10" fmla="*/ 3351623 w 8832236"/>
              <a:gd name="connsiteY10" fmla="*/ 0 h 6858000"/>
              <a:gd name="connsiteX11" fmla="*/ 3446777 w 8832236"/>
              <a:gd name="connsiteY11" fmla="*/ 0 h 6858000"/>
              <a:gd name="connsiteX12" fmla="*/ 3518284 w 8832236"/>
              <a:gd name="connsiteY12" fmla="*/ 0 h 6858000"/>
              <a:gd name="connsiteX13" fmla="*/ 3569521 w 8832236"/>
              <a:gd name="connsiteY13" fmla="*/ 0 h 6858000"/>
              <a:gd name="connsiteX14" fmla="*/ 3603867 w 8832236"/>
              <a:gd name="connsiteY14" fmla="*/ 0 h 6858000"/>
              <a:gd name="connsiteX15" fmla="*/ 3624699 w 8832236"/>
              <a:gd name="connsiteY15" fmla="*/ 0 h 6858000"/>
              <a:gd name="connsiteX16" fmla="*/ 3635397 w 8832236"/>
              <a:gd name="connsiteY16" fmla="*/ 0 h 6858000"/>
              <a:gd name="connsiteX17" fmla="*/ 3639901 w 8832236"/>
              <a:gd name="connsiteY17" fmla="*/ 0 h 6858000"/>
              <a:gd name="connsiteX18" fmla="*/ 3703874 w 8832236"/>
              <a:gd name="connsiteY18" fmla="*/ 368087 h 6858000"/>
              <a:gd name="connsiteX19" fmla="*/ 4081315 w 8832236"/>
              <a:gd name="connsiteY19" fmla="*/ 368087 h 6858000"/>
              <a:gd name="connsiteX20" fmla="*/ 4145288 w 8832236"/>
              <a:gd name="connsiteY20" fmla="*/ 595341 h 6858000"/>
              <a:gd name="connsiteX21" fmla="*/ 3707073 w 8832236"/>
              <a:gd name="connsiteY21" fmla="*/ 707368 h 6858000"/>
              <a:gd name="connsiteX22" fmla="*/ 2520374 w 8832236"/>
              <a:gd name="connsiteY22" fmla="*/ 822595 h 6858000"/>
              <a:gd name="connsiteX23" fmla="*/ 1848657 w 8832236"/>
              <a:gd name="connsiteY23" fmla="*/ 1273902 h 6858000"/>
              <a:gd name="connsiteX24" fmla="*/ 1375257 w 8832236"/>
              <a:gd name="connsiteY24" fmla="*/ 2160511 h 6858000"/>
              <a:gd name="connsiteX25" fmla="*/ 1247311 w 8832236"/>
              <a:gd name="connsiteY25" fmla="*/ 2589413 h 6858000"/>
              <a:gd name="connsiteX26" fmla="*/ 1253709 w 8832236"/>
              <a:gd name="connsiteY26" fmla="*/ 3034318 h 6858000"/>
              <a:gd name="connsiteX27" fmla="*/ 1544786 w 8832236"/>
              <a:gd name="connsiteY27" fmla="*/ 4532273 h 6858000"/>
              <a:gd name="connsiteX28" fmla="*/ 1986199 w 8832236"/>
              <a:gd name="connsiteY28" fmla="*/ 5278049 h 6858000"/>
              <a:gd name="connsiteX29" fmla="*/ 3495962 w 8832236"/>
              <a:gd name="connsiteY29" fmla="*/ 6529546 h 6858000"/>
              <a:gd name="connsiteX30" fmla="*/ 4298823 w 8832236"/>
              <a:gd name="connsiteY30" fmla="*/ 6724792 h 6858000"/>
              <a:gd name="connsiteX31" fmla="*/ 6768180 w 8832236"/>
              <a:gd name="connsiteY31" fmla="*/ 6174262 h 6858000"/>
              <a:gd name="connsiteX32" fmla="*/ 8824911 w 8832236"/>
              <a:gd name="connsiteY32" fmla="*/ 6779205 h 6858000"/>
              <a:gd name="connsiteX33" fmla="*/ 8832236 w 8832236"/>
              <a:gd name="connsiteY33" fmla="*/ 6858000 h 6858000"/>
              <a:gd name="connsiteX34" fmla="*/ 3544539 w 8832236"/>
              <a:gd name="connsiteY34" fmla="*/ 6858000 h 6858000"/>
              <a:gd name="connsiteX35" fmla="*/ 3492763 w 8832236"/>
              <a:gd name="connsiteY35" fmla="*/ 6808012 h 6858000"/>
              <a:gd name="connsiteX36" fmla="*/ 1877445 w 8832236"/>
              <a:gd name="connsiteY36" fmla="*/ 5476496 h 6858000"/>
              <a:gd name="connsiteX37" fmla="*/ 1173742 w 8832236"/>
              <a:gd name="connsiteY37" fmla="*/ 5486099 h 6858000"/>
              <a:gd name="connsiteX38" fmla="*/ 703541 w 8832236"/>
              <a:gd name="connsiteY38" fmla="*/ 5895796 h 6858000"/>
              <a:gd name="connsiteX39" fmla="*/ 118188 w 8832236"/>
              <a:gd name="connsiteY39" fmla="*/ 6379110 h 6858000"/>
              <a:gd name="connsiteX40" fmla="*/ 3143 w 8832236"/>
              <a:gd name="connsiteY40" fmla="*/ 5345084 h 6858000"/>
              <a:gd name="connsiteX41" fmla="*/ 0 w 8832236"/>
              <a:gd name="connsiteY41" fmla="*/ 5310760 h 6858000"/>
              <a:gd name="connsiteX42" fmla="*/ 0 w 8832236"/>
              <a:gd name="connsiteY42" fmla="*/ 2620801 h 6858000"/>
              <a:gd name="connsiteX43" fmla="*/ 53610 w 8832236"/>
              <a:gd name="connsiteY43" fmla="*/ 2608649 h 6858000"/>
              <a:gd name="connsiteX44" fmla="*/ 194956 w 8832236"/>
              <a:gd name="connsiteY44" fmla="*/ 2576610 h 6858000"/>
              <a:gd name="connsiteX45" fmla="*/ 508423 w 8832236"/>
              <a:gd name="connsiteY45" fmla="*/ 2525398 h 6858000"/>
              <a:gd name="connsiteX46" fmla="*/ 1176941 w 8832236"/>
              <a:gd name="connsiteY46" fmla="*/ 2042084 h 6858000"/>
              <a:gd name="connsiteX47" fmla="*/ 1621553 w 8832236"/>
              <a:gd name="connsiteY47" fmla="*/ 1200284 h 6858000"/>
              <a:gd name="connsiteX48" fmla="*/ 1589567 w 8832236"/>
              <a:gd name="connsiteY48" fmla="*/ 406496 h 6858000"/>
              <a:gd name="connsiteX49" fmla="*/ 1333675 w 8832236"/>
              <a:gd name="connsiteY4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8832236" h="6858000">
                <a:moveTo>
                  <a:pt x="1333675" y="0"/>
                </a:moveTo>
                <a:lnTo>
                  <a:pt x="1543197" y="0"/>
                </a:lnTo>
                <a:lnTo>
                  <a:pt x="1739629" y="0"/>
                </a:lnTo>
                <a:lnTo>
                  <a:pt x="1923392" y="0"/>
                </a:lnTo>
                <a:lnTo>
                  <a:pt x="2094910" y="0"/>
                </a:lnTo>
                <a:lnTo>
                  <a:pt x="2402895" y="0"/>
                </a:lnTo>
                <a:lnTo>
                  <a:pt x="2666962" y="0"/>
                </a:lnTo>
                <a:lnTo>
                  <a:pt x="2890490" y="0"/>
                </a:lnTo>
                <a:lnTo>
                  <a:pt x="3076858" y="0"/>
                </a:lnTo>
                <a:lnTo>
                  <a:pt x="3229442" y="0"/>
                </a:lnTo>
                <a:lnTo>
                  <a:pt x="3351623" y="0"/>
                </a:lnTo>
                <a:lnTo>
                  <a:pt x="3446777" y="0"/>
                </a:lnTo>
                <a:lnTo>
                  <a:pt x="3518284" y="0"/>
                </a:lnTo>
                <a:lnTo>
                  <a:pt x="3569521" y="0"/>
                </a:lnTo>
                <a:lnTo>
                  <a:pt x="3603867" y="0"/>
                </a:lnTo>
                <a:lnTo>
                  <a:pt x="3624699" y="0"/>
                </a:lnTo>
                <a:lnTo>
                  <a:pt x="3635397" y="0"/>
                </a:lnTo>
                <a:lnTo>
                  <a:pt x="3639901" y="0"/>
                </a:lnTo>
                <a:cubicBezTo>
                  <a:pt x="3703874" y="368087"/>
                  <a:pt x="3703874" y="368087"/>
                  <a:pt x="3703874" y="368087"/>
                </a:cubicBezTo>
                <a:cubicBezTo>
                  <a:pt x="4081315" y="368087"/>
                  <a:pt x="4081315" y="368087"/>
                  <a:pt x="4081315" y="368087"/>
                </a:cubicBezTo>
                <a:cubicBezTo>
                  <a:pt x="4145288" y="595341"/>
                  <a:pt x="4145288" y="595341"/>
                  <a:pt x="4145288" y="595341"/>
                </a:cubicBezTo>
                <a:cubicBezTo>
                  <a:pt x="3707073" y="707368"/>
                  <a:pt x="3707073" y="707368"/>
                  <a:pt x="3707073" y="707368"/>
                </a:cubicBezTo>
                <a:cubicBezTo>
                  <a:pt x="2520374" y="822595"/>
                  <a:pt x="2520374" y="822595"/>
                  <a:pt x="2520374" y="822595"/>
                </a:cubicBezTo>
                <a:cubicBezTo>
                  <a:pt x="2270879" y="848201"/>
                  <a:pt x="1967008" y="1053049"/>
                  <a:pt x="1848657" y="1273902"/>
                </a:cubicBezTo>
                <a:cubicBezTo>
                  <a:pt x="1375257" y="2160511"/>
                  <a:pt x="1375257" y="2160511"/>
                  <a:pt x="1375257" y="2160511"/>
                </a:cubicBezTo>
                <a:cubicBezTo>
                  <a:pt x="1317682" y="2272538"/>
                  <a:pt x="1272901" y="2429375"/>
                  <a:pt x="1247311" y="2589413"/>
                </a:cubicBezTo>
                <a:cubicBezTo>
                  <a:pt x="1253709" y="3034318"/>
                  <a:pt x="1253709" y="3034318"/>
                  <a:pt x="1253709" y="3034318"/>
                </a:cubicBezTo>
                <a:cubicBezTo>
                  <a:pt x="1544786" y="4532273"/>
                  <a:pt x="1544786" y="4532273"/>
                  <a:pt x="1544786" y="4532273"/>
                </a:cubicBezTo>
                <a:cubicBezTo>
                  <a:pt x="1592766" y="4778731"/>
                  <a:pt x="1794280" y="5114811"/>
                  <a:pt x="1986199" y="5278049"/>
                </a:cubicBezTo>
                <a:cubicBezTo>
                  <a:pt x="3495962" y="6529546"/>
                  <a:pt x="3495962" y="6529546"/>
                  <a:pt x="3495962" y="6529546"/>
                </a:cubicBezTo>
                <a:cubicBezTo>
                  <a:pt x="3687881" y="6692784"/>
                  <a:pt x="4049328" y="6779205"/>
                  <a:pt x="4298823" y="6724792"/>
                </a:cubicBezTo>
                <a:cubicBezTo>
                  <a:pt x="6768180" y="6174262"/>
                  <a:pt x="6768180" y="6174262"/>
                  <a:pt x="6768180" y="6174262"/>
                </a:cubicBezTo>
                <a:cubicBezTo>
                  <a:pt x="8824911" y="6779205"/>
                  <a:pt x="8824911" y="6779205"/>
                  <a:pt x="8824911" y="6779205"/>
                </a:cubicBezTo>
                <a:lnTo>
                  <a:pt x="8832236" y="6858000"/>
                </a:lnTo>
                <a:lnTo>
                  <a:pt x="3544539" y="6858000"/>
                </a:lnTo>
                <a:lnTo>
                  <a:pt x="3492763" y="6808012"/>
                </a:lnTo>
                <a:cubicBezTo>
                  <a:pt x="1877445" y="5476496"/>
                  <a:pt x="1877445" y="5476496"/>
                  <a:pt x="1877445" y="5476496"/>
                </a:cubicBezTo>
                <a:cubicBezTo>
                  <a:pt x="1682328" y="5316459"/>
                  <a:pt x="1365661" y="5319659"/>
                  <a:pt x="1173742" y="5486099"/>
                </a:cubicBezTo>
                <a:cubicBezTo>
                  <a:pt x="703541" y="5895796"/>
                  <a:pt x="703541" y="5895796"/>
                  <a:pt x="703541" y="5895796"/>
                </a:cubicBezTo>
                <a:cubicBezTo>
                  <a:pt x="118188" y="6379110"/>
                  <a:pt x="118188" y="6379110"/>
                  <a:pt x="118188" y="6379110"/>
                </a:cubicBezTo>
                <a:cubicBezTo>
                  <a:pt x="110191" y="6303092"/>
                  <a:pt x="43469" y="5766965"/>
                  <a:pt x="3143" y="5345084"/>
                </a:cubicBezTo>
                <a:lnTo>
                  <a:pt x="0" y="5310760"/>
                </a:lnTo>
                <a:lnTo>
                  <a:pt x="0" y="2620801"/>
                </a:lnTo>
                <a:lnTo>
                  <a:pt x="53610" y="2608649"/>
                </a:lnTo>
                <a:cubicBezTo>
                  <a:pt x="194956" y="2576610"/>
                  <a:pt x="194956" y="2576610"/>
                  <a:pt x="194956" y="2576610"/>
                </a:cubicBezTo>
                <a:cubicBezTo>
                  <a:pt x="508423" y="2525398"/>
                  <a:pt x="508423" y="2525398"/>
                  <a:pt x="508423" y="2525398"/>
                </a:cubicBezTo>
                <a:cubicBezTo>
                  <a:pt x="757918" y="2483788"/>
                  <a:pt x="1058591" y="2266137"/>
                  <a:pt x="1176941" y="2042084"/>
                </a:cubicBezTo>
                <a:cubicBezTo>
                  <a:pt x="1621553" y="1200284"/>
                  <a:pt x="1621553" y="1200284"/>
                  <a:pt x="1621553" y="1200284"/>
                </a:cubicBezTo>
                <a:cubicBezTo>
                  <a:pt x="1739903" y="976231"/>
                  <a:pt x="1727109" y="620947"/>
                  <a:pt x="1589567" y="406496"/>
                </a:cubicBezTo>
                <a:cubicBezTo>
                  <a:pt x="1333675" y="0"/>
                  <a:pt x="1333675" y="0"/>
                  <a:pt x="1333675" y="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639563 w 12192000"/>
              <a:gd name="connsiteY0" fmla="*/ 0 h 6858000"/>
              <a:gd name="connsiteX1" fmla="*/ 4053406 w 12192000"/>
              <a:gd name="connsiteY1" fmla="*/ 0 h 6858000"/>
              <a:gd name="connsiteX2" fmla="*/ 4441393 w 12192000"/>
              <a:gd name="connsiteY2" fmla="*/ 0 h 6858000"/>
              <a:gd name="connsiteX3" fmla="*/ 4804357 w 12192000"/>
              <a:gd name="connsiteY3" fmla="*/ 0 h 6858000"/>
              <a:gd name="connsiteX4" fmla="*/ 5143133 w 12192000"/>
              <a:gd name="connsiteY4" fmla="*/ 0 h 6858000"/>
              <a:gd name="connsiteX5" fmla="*/ 5458554 w 12192000"/>
              <a:gd name="connsiteY5" fmla="*/ 0 h 6858000"/>
              <a:gd name="connsiteX6" fmla="*/ 5751455 w 12192000"/>
              <a:gd name="connsiteY6" fmla="*/ 0 h 6858000"/>
              <a:gd name="connsiteX7" fmla="*/ 6022671 w 12192000"/>
              <a:gd name="connsiteY7" fmla="*/ 0 h 6858000"/>
              <a:gd name="connsiteX8" fmla="*/ 6273034 w 12192000"/>
              <a:gd name="connsiteY8" fmla="*/ 0 h 6858000"/>
              <a:gd name="connsiteX9" fmla="*/ 6503379 w 12192000"/>
              <a:gd name="connsiteY9" fmla="*/ 0 h 6858000"/>
              <a:gd name="connsiteX10" fmla="*/ 6714541 w 12192000"/>
              <a:gd name="connsiteY10" fmla="*/ 0 h 6858000"/>
              <a:gd name="connsiteX11" fmla="*/ 6907352 w 12192000"/>
              <a:gd name="connsiteY11" fmla="*/ 0 h 6858000"/>
              <a:gd name="connsiteX12" fmla="*/ 7082648 w 12192000"/>
              <a:gd name="connsiteY12" fmla="*/ 0 h 6858000"/>
              <a:gd name="connsiteX13" fmla="*/ 7241262 w 12192000"/>
              <a:gd name="connsiteY13" fmla="*/ 0 h 6858000"/>
              <a:gd name="connsiteX14" fmla="*/ 7384029 w 12192000"/>
              <a:gd name="connsiteY14" fmla="*/ 0 h 6858000"/>
              <a:gd name="connsiteX15" fmla="*/ 7511783 w 12192000"/>
              <a:gd name="connsiteY15" fmla="*/ 0 h 6858000"/>
              <a:gd name="connsiteX16" fmla="*/ 7625357 w 12192000"/>
              <a:gd name="connsiteY16" fmla="*/ 0 h 6858000"/>
              <a:gd name="connsiteX17" fmla="*/ 7725585 w 12192000"/>
              <a:gd name="connsiteY17" fmla="*/ 0 h 6858000"/>
              <a:gd name="connsiteX18" fmla="*/ 7813303 w 12192000"/>
              <a:gd name="connsiteY18" fmla="*/ 0 h 6858000"/>
              <a:gd name="connsiteX19" fmla="*/ 7954540 w 12192000"/>
              <a:gd name="connsiteY19" fmla="*/ 0 h 6858000"/>
              <a:gd name="connsiteX20" fmla="*/ 8055742 w 12192000"/>
              <a:gd name="connsiteY20" fmla="*/ 0 h 6858000"/>
              <a:gd name="connsiteX21" fmla="*/ 8123581 w 12192000"/>
              <a:gd name="connsiteY21" fmla="*/ 0 h 6858000"/>
              <a:gd name="connsiteX22" fmla="*/ 8164729 w 12192000"/>
              <a:gd name="connsiteY22" fmla="*/ 0 h 6858000"/>
              <a:gd name="connsiteX23" fmla="*/ 8185859 w 12192000"/>
              <a:gd name="connsiteY23" fmla="*/ 0 h 6858000"/>
              <a:gd name="connsiteX24" fmla="*/ 8193644 w 12192000"/>
              <a:gd name="connsiteY24" fmla="*/ 0 h 6858000"/>
              <a:gd name="connsiteX25" fmla="*/ 8194756 w 12192000"/>
              <a:gd name="connsiteY25" fmla="*/ 0 h 6858000"/>
              <a:gd name="connsiteX26" fmla="*/ 8412720 w 12192000"/>
              <a:gd name="connsiteY26" fmla="*/ 0 h 6858000"/>
              <a:gd name="connsiteX27" fmla="*/ 8617067 w 12192000"/>
              <a:gd name="connsiteY27" fmla="*/ 0 h 6858000"/>
              <a:gd name="connsiteX28" fmla="*/ 8808235 w 12192000"/>
              <a:gd name="connsiteY28" fmla="*/ 0 h 6858000"/>
              <a:gd name="connsiteX29" fmla="*/ 8986664 w 12192000"/>
              <a:gd name="connsiteY29" fmla="*/ 0 h 6858000"/>
              <a:gd name="connsiteX30" fmla="*/ 9307058 w 12192000"/>
              <a:gd name="connsiteY30" fmla="*/ 0 h 6858000"/>
              <a:gd name="connsiteX31" fmla="*/ 9581766 w 12192000"/>
              <a:gd name="connsiteY31" fmla="*/ 0 h 6858000"/>
              <a:gd name="connsiteX32" fmla="*/ 9814301 w 12192000"/>
              <a:gd name="connsiteY32" fmla="*/ 0 h 6858000"/>
              <a:gd name="connsiteX33" fmla="*/ 10008178 w 12192000"/>
              <a:gd name="connsiteY33" fmla="*/ 0 h 6858000"/>
              <a:gd name="connsiteX34" fmla="*/ 10166911 w 12192000"/>
              <a:gd name="connsiteY34" fmla="*/ 0 h 6858000"/>
              <a:gd name="connsiteX35" fmla="*/ 10294015 w 12192000"/>
              <a:gd name="connsiteY35" fmla="*/ 0 h 6858000"/>
              <a:gd name="connsiteX36" fmla="*/ 10393003 w 12192000"/>
              <a:gd name="connsiteY36" fmla="*/ 0 h 6858000"/>
              <a:gd name="connsiteX37" fmla="*/ 10467391 w 12192000"/>
              <a:gd name="connsiteY37" fmla="*/ 0 h 6858000"/>
              <a:gd name="connsiteX38" fmla="*/ 10520693 w 12192000"/>
              <a:gd name="connsiteY38" fmla="*/ 0 h 6858000"/>
              <a:gd name="connsiteX39" fmla="*/ 10556422 w 12192000"/>
              <a:gd name="connsiteY39" fmla="*/ 0 h 6858000"/>
              <a:gd name="connsiteX40" fmla="*/ 10578094 w 12192000"/>
              <a:gd name="connsiteY40" fmla="*/ 0 h 6858000"/>
              <a:gd name="connsiteX41" fmla="*/ 10589223 w 12192000"/>
              <a:gd name="connsiteY41" fmla="*/ 0 h 6858000"/>
              <a:gd name="connsiteX42" fmla="*/ 10593909 w 12192000"/>
              <a:gd name="connsiteY42" fmla="*/ 0 h 6858000"/>
              <a:gd name="connsiteX43" fmla="*/ 10964417 w 12192000"/>
              <a:gd name="connsiteY43" fmla="*/ 0 h 6858000"/>
              <a:gd name="connsiteX44" fmla="*/ 11288676 w 12192000"/>
              <a:gd name="connsiteY44" fmla="*/ 0 h 6858000"/>
              <a:gd name="connsiteX45" fmla="*/ 11569769 w 12192000"/>
              <a:gd name="connsiteY45" fmla="*/ 0 h 6858000"/>
              <a:gd name="connsiteX46" fmla="*/ 11810779 w 12192000"/>
              <a:gd name="connsiteY46" fmla="*/ 0 h 6858000"/>
              <a:gd name="connsiteX47" fmla="*/ 12014790 w 12192000"/>
              <a:gd name="connsiteY47" fmla="*/ 0 h 6858000"/>
              <a:gd name="connsiteX48" fmla="*/ 12184885 w 12192000"/>
              <a:gd name="connsiteY48" fmla="*/ 0 h 6858000"/>
              <a:gd name="connsiteX49" fmla="*/ 12192000 w 12192000"/>
              <a:gd name="connsiteY49" fmla="*/ 0 h 6858000"/>
              <a:gd name="connsiteX50" fmla="*/ 12192000 w 12192000"/>
              <a:gd name="connsiteY50" fmla="*/ 6858000 h 6858000"/>
              <a:gd name="connsiteX51" fmla="*/ 8661018 w 12192000"/>
              <a:gd name="connsiteY51" fmla="*/ 6858000 h 6858000"/>
              <a:gd name="connsiteX52" fmla="*/ 8618886 w 12192000"/>
              <a:gd name="connsiteY52" fmla="*/ 6845587 h 6858000"/>
              <a:gd name="connsiteX53" fmla="*/ 6524945 w 12192000"/>
              <a:gd name="connsiteY53" fmla="*/ 6228674 h 6858000"/>
              <a:gd name="connsiteX54" fmla="*/ 5610068 w 12192000"/>
              <a:gd name="connsiteY54" fmla="*/ 5959811 h 6858000"/>
              <a:gd name="connsiteX55" fmla="*/ 4810350 w 12192000"/>
              <a:gd name="connsiteY55" fmla="*/ 5102008 h 6858000"/>
              <a:gd name="connsiteX56" fmla="*/ 4151383 w 12192000"/>
              <a:gd name="connsiteY56" fmla="*/ 2067690 h 6858000"/>
              <a:gd name="connsiteX57" fmla="*/ 3418841 w 12192000"/>
              <a:gd name="connsiteY57" fmla="*/ 1747614 h 6858000"/>
              <a:gd name="connsiteX58" fmla="*/ 1253205 w 12192000"/>
              <a:gd name="connsiteY58" fmla="*/ 3034318 h 6858000"/>
              <a:gd name="connsiteX59" fmla="*/ 1003694 w 12192000"/>
              <a:gd name="connsiteY59" fmla="*/ 3181553 h 6858000"/>
              <a:gd name="connsiteX60" fmla="*/ 498272 w 12192000"/>
              <a:gd name="connsiteY60" fmla="*/ 4205796 h 6858000"/>
              <a:gd name="connsiteX61" fmla="*/ 703000 w 12192000"/>
              <a:gd name="connsiteY61" fmla="*/ 5895796 h 6858000"/>
              <a:gd name="connsiteX62" fmla="*/ 811779 w 12192000"/>
              <a:gd name="connsiteY62" fmla="*/ 6789988 h 6858000"/>
              <a:gd name="connsiteX63" fmla="*/ 820053 w 12192000"/>
              <a:gd name="connsiteY63" fmla="*/ 6858000 h 6858000"/>
              <a:gd name="connsiteX64" fmla="*/ 0 w 12192000"/>
              <a:gd name="connsiteY64" fmla="*/ 6858000 h 6858000"/>
              <a:gd name="connsiteX65" fmla="*/ 0 w 12192000"/>
              <a:gd name="connsiteY65" fmla="*/ 1386925 h 6858000"/>
              <a:gd name="connsiteX66" fmla="*/ 8776 w 12192000"/>
              <a:gd name="connsiteY66" fmla="*/ 1442892 h 6858000"/>
              <a:gd name="connsiteX67" fmla="*/ 171987 w 12192000"/>
              <a:gd name="connsiteY67" fmla="*/ 2483788 h 6858000"/>
              <a:gd name="connsiteX68" fmla="*/ 194379 w 12192000"/>
              <a:gd name="connsiteY68" fmla="*/ 2576610 h 6858000"/>
              <a:gd name="connsiteX69" fmla="*/ 866142 w 12192000"/>
              <a:gd name="connsiteY69" fmla="*/ 2813466 h 6858000"/>
              <a:gd name="connsiteX70" fmla="*/ 1246808 w 12192000"/>
              <a:gd name="connsiteY70" fmla="*/ 2589413 h 6858000"/>
              <a:gd name="connsiteX71" fmla="*/ 3242903 w 12192000"/>
              <a:gd name="connsiteY71" fmla="*/ 1414735 h 6858000"/>
              <a:gd name="connsiteX72" fmla="*/ 3706740 w 12192000"/>
              <a:gd name="connsiteY72" fmla="*/ 707368 h 6858000"/>
              <a:gd name="connsiteX73" fmla="*/ 3709938 w 12192000"/>
              <a:gd name="connsiteY73" fmla="*/ 400095 h 6858000"/>
              <a:gd name="connsiteX74" fmla="*/ 3639563 w 12192000"/>
              <a:gd name="connsiteY7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2192000" h="6858000">
                <a:moveTo>
                  <a:pt x="3639563" y="0"/>
                </a:moveTo>
                <a:lnTo>
                  <a:pt x="4053406" y="0"/>
                </a:lnTo>
                <a:lnTo>
                  <a:pt x="4441393" y="0"/>
                </a:lnTo>
                <a:lnTo>
                  <a:pt x="4804357" y="0"/>
                </a:lnTo>
                <a:lnTo>
                  <a:pt x="5143133" y="0"/>
                </a:lnTo>
                <a:lnTo>
                  <a:pt x="5458554" y="0"/>
                </a:lnTo>
                <a:lnTo>
                  <a:pt x="5751455" y="0"/>
                </a:lnTo>
                <a:lnTo>
                  <a:pt x="6022671" y="0"/>
                </a:lnTo>
                <a:lnTo>
                  <a:pt x="6273034" y="0"/>
                </a:lnTo>
                <a:lnTo>
                  <a:pt x="6503379" y="0"/>
                </a:lnTo>
                <a:lnTo>
                  <a:pt x="6714541" y="0"/>
                </a:lnTo>
                <a:lnTo>
                  <a:pt x="6907352" y="0"/>
                </a:lnTo>
                <a:lnTo>
                  <a:pt x="7082648" y="0"/>
                </a:lnTo>
                <a:lnTo>
                  <a:pt x="7241262" y="0"/>
                </a:lnTo>
                <a:lnTo>
                  <a:pt x="7384029" y="0"/>
                </a:lnTo>
                <a:lnTo>
                  <a:pt x="7511783" y="0"/>
                </a:lnTo>
                <a:lnTo>
                  <a:pt x="7625357" y="0"/>
                </a:lnTo>
                <a:lnTo>
                  <a:pt x="7725585" y="0"/>
                </a:lnTo>
                <a:lnTo>
                  <a:pt x="7813303" y="0"/>
                </a:lnTo>
                <a:lnTo>
                  <a:pt x="7954540" y="0"/>
                </a:lnTo>
                <a:lnTo>
                  <a:pt x="8055742" y="0"/>
                </a:lnTo>
                <a:lnTo>
                  <a:pt x="8123581" y="0"/>
                </a:lnTo>
                <a:lnTo>
                  <a:pt x="8164729" y="0"/>
                </a:lnTo>
                <a:lnTo>
                  <a:pt x="8185859" y="0"/>
                </a:lnTo>
                <a:lnTo>
                  <a:pt x="8193644" y="0"/>
                </a:lnTo>
                <a:lnTo>
                  <a:pt x="8194756" y="0"/>
                </a:lnTo>
                <a:lnTo>
                  <a:pt x="8412720" y="0"/>
                </a:lnTo>
                <a:lnTo>
                  <a:pt x="8617067" y="0"/>
                </a:lnTo>
                <a:lnTo>
                  <a:pt x="8808235" y="0"/>
                </a:lnTo>
                <a:lnTo>
                  <a:pt x="8986664" y="0"/>
                </a:lnTo>
                <a:lnTo>
                  <a:pt x="9307058" y="0"/>
                </a:lnTo>
                <a:lnTo>
                  <a:pt x="9581766" y="0"/>
                </a:lnTo>
                <a:lnTo>
                  <a:pt x="9814301" y="0"/>
                </a:lnTo>
                <a:lnTo>
                  <a:pt x="10008178" y="0"/>
                </a:lnTo>
                <a:lnTo>
                  <a:pt x="10166911" y="0"/>
                </a:lnTo>
                <a:lnTo>
                  <a:pt x="10294015" y="0"/>
                </a:lnTo>
                <a:lnTo>
                  <a:pt x="10393003" y="0"/>
                </a:lnTo>
                <a:lnTo>
                  <a:pt x="10467391" y="0"/>
                </a:lnTo>
                <a:lnTo>
                  <a:pt x="10520693" y="0"/>
                </a:lnTo>
                <a:lnTo>
                  <a:pt x="10556422" y="0"/>
                </a:lnTo>
                <a:lnTo>
                  <a:pt x="10578094" y="0"/>
                </a:lnTo>
                <a:lnTo>
                  <a:pt x="10589223" y="0"/>
                </a:lnTo>
                <a:lnTo>
                  <a:pt x="10593909" y="0"/>
                </a:lnTo>
                <a:lnTo>
                  <a:pt x="10964417" y="0"/>
                </a:lnTo>
                <a:lnTo>
                  <a:pt x="11288676" y="0"/>
                </a:lnTo>
                <a:lnTo>
                  <a:pt x="11569769" y="0"/>
                </a:lnTo>
                <a:lnTo>
                  <a:pt x="11810779" y="0"/>
                </a:lnTo>
                <a:lnTo>
                  <a:pt x="12014790" y="0"/>
                </a:lnTo>
                <a:lnTo>
                  <a:pt x="1218488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661018" y="6858000"/>
                </a:lnTo>
                <a:lnTo>
                  <a:pt x="8618886" y="6845587"/>
                </a:lnTo>
                <a:cubicBezTo>
                  <a:pt x="6524945" y="6228674"/>
                  <a:pt x="6524945" y="6228674"/>
                  <a:pt x="6524945" y="6228674"/>
                </a:cubicBezTo>
                <a:cubicBezTo>
                  <a:pt x="5610068" y="5959811"/>
                  <a:pt x="5610068" y="5959811"/>
                  <a:pt x="5610068" y="5959811"/>
                </a:cubicBezTo>
                <a:cubicBezTo>
                  <a:pt x="5251795" y="5850985"/>
                  <a:pt x="4890323" y="5466894"/>
                  <a:pt x="4810350" y="5102008"/>
                </a:cubicBezTo>
                <a:cubicBezTo>
                  <a:pt x="4151383" y="2067690"/>
                  <a:pt x="4151383" y="2067690"/>
                  <a:pt x="4151383" y="2067690"/>
                </a:cubicBezTo>
                <a:cubicBezTo>
                  <a:pt x="4071411" y="1699602"/>
                  <a:pt x="3741927" y="1558769"/>
                  <a:pt x="3418841" y="1747614"/>
                </a:cubicBezTo>
                <a:cubicBezTo>
                  <a:pt x="1253205" y="3034318"/>
                  <a:pt x="1253205" y="3034318"/>
                  <a:pt x="1253205" y="3034318"/>
                </a:cubicBezTo>
                <a:cubicBezTo>
                  <a:pt x="1003694" y="3181553"/>
                  <a:pt x="1003694" y="3181553"/>
                  <a:pt x="1003694" y="3181553"/>
                </a:cubicBezTo>
                <a:cubicBezTo>
                  <a:pt x="680608" y="3373599"/>
                  <a:pt x="453488" y="3831307"/>
                  <a:pt x="498272" y="4205796"/>
                </a:cubicBezTo>
                <a:cubicBezTo>
                  <a:pt x="703000" y="5895796"/>
                  <a:pt x="703000" y="5895796"/>
                  <a:pt x="703000" y="5895796"/>
                </a:cubicBezTo>
                <a:cubicBezTo>
                  <a:pt x="748484" y="6269684"/>
                  <a:pt x="784018" y="6561785"/>
                  <a:pt x="811779" y="6789988"/>
                </a:cubicBezTo>
                <a:lnTo>
                  <a:pt x="820053" y="6858000"/>
                </a:lnTo>
                <a:lnTo>
                  <a:pt x="0" y="6858000"/>
                </a:lnTo>
                <a:lnTo>
                  <a:pt x="0" y="1386925"/>
                </a:lnTo>
                <a:lnTo>
                  <a:pt x="8776" y="1442892"/>
                </a:lnTo>
                <a:cubicBezTo>
                  <a:pt x="171987" y="2483788"/>
                  <a:pt x="171987" y="2483788"/>
                  <a:pt x="171987" y="2483788"/>
                </a:cubicBezTo>
                <a:cubicBezTo>
                  <a:pt x="178385" y="2515796"/>
                  <a:pt x="184783" y="2547803"/>
                  <a:pt x="194379" y="2576610"/>
                </a:cubicBezTo>
                <a:cubicBezTo>
                  <a:pt x="287146" y="2877481"/>
                  <a:pt x="571846" y="2986307"/>
                  <a:pt x="866142" y="2813466"/>
                </a:cubicBezTo>
                <a:cubicBezTo>
                  <a:pt x="1246808" y="2589413"/>
                  <a:pt x="1246808" y="2589413"/>
                  <a:pt x="1246808" y="2589413"/>
                </a:cubicBezTo>
                <a:cubicBezTo>
                  <a:pt x="3242903" y="1414735"/>
                  <a:pt x="3242903" y="1414735"/>
                  <a:pt x="3242903" y="1414735"/>
                </a:cubicBezTo>
                <a:cubicBezTo>
                  <a:pt x="3479620" y="1277102"/>
                  <a:pt x="3655558" y="992235"/>
                  <a:pt x="3706740" y="707368"/>
                </a:cubicBezTo>
                <a:cubicBezTo>
                  <a:pt x="3725933" y="601743"/>
                  <a:pt x="3729132" y="499318"/>
                  <a:pt x="3709938" y="400095"/>
                </a:cubicBezTo>
                <a:cubicBezTo>
                  <a:pt x="3639563" y="0"/>
                  <a:pt x="3639563" y="0"/>
                  <a:pt x="3639563" y="0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8" name="Group 17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accent5"/>
          </a:solidFill>
        </p:grpSpPr>
        <p:sp>
          <p:nvSpPr>
            <p:cNvPr id="19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991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00</a:t>
            </a:r>
            <a:endParaRPr lang="en-US"/>
          </a:p>
          <a:p>
            <a:pPr lvl="0"/>
            <a:endParaRPr lang="en-US"/>
          </a:p>
          <a:p>
            <a:pPr lvl="0"/>
            <a:endParaRPr lang="en-US" noProof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/>
              <a:t>Chapter name </a:t>
            </a:r>
            <a:br>
              <a:rPr lang="en-US" noProof="0"/>
            </a:br>
            <a:r>
              <a:rPr lang="en-US" noProof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22357156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68209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048909 w 12192000"/>
              <a:gd name="connsiteY0" fmla="*/ 0 h 6858000"/>
              <a:gd name="connsiteX1" fmla="*/ 1437815 w 12192000"/>
              <a:gd name="connsiteY1" fmla="*/ 0 h 6858000"/>
              <a:gd name="connsiteX2" fmla="*/ 1416616 w 12192000"/>
              <a:gd name="connsiteY2" fmla="*/ 63049 h 6858000"/>
              <a:gd name="connsiteX3" fmla="*/ 2816130 w 12192000"/>
              <a:gd name="connsiteY3" fmla="*/ 4208716 h 6858000"/>
              <a:gd name="connsiteX4" fmla="*/ 7652880 w 12192000"/>
              <a:gd name="connsiteY4" fmla="*/ 1881693 h 6858000"/>
              <a:gd name="connsiteX5" fmla="*/ 7686890 w 12192000"/>
              <a:gd name="connsiteY5" fmla="*/ 260273 h 6858000"/>
              <a:gd name="connsiteX6" fmla="*/ 7621110 w 12192000"/>
              <a:gd name="connsiteY6" fmla="*/ 0 h 6858000"/>
              <a:gd name="connsiteX7" fmla="*/ 8544177 w 12192000"/>
              <a:gd name="connsiteY7" fmla="*/ 0 h 6858000"/>
              <a:gd name="connsiteX8" fmla="*/ 8534881 w 12192000"/>
              <a:gd name="connsiteY8" fmla="*/ 27654 h 6858000"/>
              <a:gd name="connsiteX9" fmla="*/ 8868237 w 12192000"/>
              <a:gd name="connsiteY9" fmla="*/ 2461905 h 6858000"/>
              <a:gd name="connsiteX10" fmla="*/ 12032141 w 12192000"/>
              <a:gd name="connsiteY10" fmla="*/ 2639688 h 6858000"/>
              <a:gd name="connsiteX11" fmla="*/ 12192000 w 12192000"/>
              <a:gd name="connsiteY11" fmla="*/ 2566729 h 6858000"/>
              <a:gd name="connsiteX12" fmla="*/ 12192000 w 12192000"/>
              <a:gd name="connsiteY12" fmla="*/ 5274395 h 6858000"/>
              <a:gd name="connsiteX13" fmla="*/ 12109445 w 12192000"/>
              <a:gd name="connsiteY13" fmla="*/ 5202936 h 6858000"/>
              <a:gd name="connsiteX14" fmla="*/ 8843559 w 12192000"/>
              <a:gd name="connsiteY14" fmla="*/ 3187171 h 6858000"/>
              <a:gd name="connsiteX15" fmla="*/ 6548571 w 12192000"/>
              <a:gd name="connsiteY15" fmla="*/ 5362969 h 6858000"/>
              <a:gd name="connsiteX16" fmla="*/ 7312459 w 12192000"/>
              <a:gd name="connsiteY16" fmla="*/ 6747870 h 6858000"/>
              <a:gd name="connsiteX17" fmla="*/ 7402349 w 12192000"/>
              <a:gd name="connsiteY17" fmla="*/ 6858000 h 6858000"/>
              <a:gd name="connsiteX18" fmla="*/ 6793220 w 12192000"/>
              <a:gd name="connsiteY18" fmla="*/ 6858000 h 6858000"/>
              <a:gd name="connsiteX19" fmla="*/ 6780454 w 12192000"/>
              <a:gd name="connsiteY19" fmla="*/ 6849222 h 6858000"/>
              <a:gd name="connsiteX20" fmla="*/ 4262283 w 12192000"/>
              <a:gd name="connsiteY20" fmla="*/ 6852446 h 6858000"/>
              <a:gd name="connsiteX21" fmla="*/ 4251244 w 12192000"/>
              <a:gd name="connsiteY21" fmla="*/ 6858000 h 6858000"/>
              <a:gd name="connsiteX22" fmla="*/ 1584781 w 12192000"/>
              <a:gd name="connsiteY22" fmla="*/ 6858000 h 6858000"/>
              <a:gd name="connsiteX23" fmla="*/ 1548685 w 12192000"/>
              <a:gd name="connsiteY23" fmla="*/ 6742445 h 6858000"/>
              <a:gd name="connsiteX24" fmla="*/ 193301 w 12192000"/>
              <a:gd name="connsiteY24" fmla="*/ 4363992 h 6858000"/>
              <a:gd name="connsiteX25" fmla="*/ 0 w 12192000"/>
              <a:gd name="connsiteY25" fmla="*/ 4101454 h 6858000"/>
              <a:gd name="connsiteX26" fmla="*/ 0 w 12192000"/>
              <a:gd name="connsiteY26" fmla="*/ 1829578 h 6858000"/>
              <a:gd name="connsiteX27" fmla="*/ 44396 w 12192000"/>
              <a:gd name="connsiteY27" fmla="*/ 1812744 h 6858000"/>
              <a:gd name="connsiteX28" fmla="*/ 1036786 w 12192000"/>
              <a:gd name="connsiteY28" fmla="*/ 479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2192000" h="6858000">
                <a:moveTo>
                  <a:pt x="1048909" y="0"/>
                </a:moveTo>
                <a:lnTo>
                  <a:pt x="1437815" y="0"/>
                </a:lnTo>
                <a:lnTo>
                  <a:pt x="1416616" y="63049"/>
                </a:lnTo>
                <a:cubicBezTo>
                  <a:pt x="992565" y="1544377"/>
                  <a:pt x="1463892" y="3409380"/>
                  <a:pt x="2816130" y="4208716"/>
                </a:cubicBezTo>
                <a:cubicBezTo>
                  <a:pt x="5009325" y="5504936"/>
                  <a:pt x="7251874" y="4378459"/>
                  <a:pt x="7652880" y="1881693"/>
                </a:cubicBezTo>
                <a:cubicBezTo>
                  <a:pt x="7782051" y="1285663"/>
                  <a:pt x="7787111" y="748706"/>
                  <a:pt x="7686890" y="260273"/>
                </a:cubicBezTo>
                <a:lnTo>
                  <a:pt x="7621110" y="0"/>
                </a:lnTo>
                <a:lnTo>
                  <a:pt x="8544177" y="0"/>
                </a:lnTo>
                <a:lnTo>
                  <a:pt x="8534881" y="27654"/>
                </a:lnTo>
                <a:cubicBezTo>
                  <a:pt x="8264692" y="917087"/>
                  <a:pt x="8339410" y="1890180"/>
                  <a:pt x="8868237" y="2461905"/>
                </a:cubicBezTo>
                <a:cubicBezTo>
                  <a:pt x="9562479" y="3216683"/>
                  <a:pt x="11087554" y="3034258"/>
                  <a:pt x="12032141" y="2639688"/>
                </a:cubicBezTo>
                <a:lnTo>
                  <a:pt x="12192000" y="2566729"/>
                </a:lnTo>
                <a:lnTo>
                  <a:pt x="12192000" y="5274395"/>
                </a:lnTo>
                <a:lnTo>
                  <a:pt x="12109445" y="5202936"/>
                </a:lnTo>
                <a:cubicBezTo>
                  <a:pt x="11001136" y="4281532"/>
                  <a:pt x="9774742" y="3519327"/>
                  <a:pt x="8843559" y="3187171"/>
                </a:cubicBezTo>
                <a:cubicBezTo>
                  <a:pt x="8013786" y="2893979"/>
                  <a:pt x="6434439" y="4418580"/>
                  <a:pt x="6548571" y="5362969"/>
                </a:cubicBezTo>
                <a:cubicBezTo>
                  <a:pt x="6624917" y="6006449"/>
                  <a:pt x="6909477" y="6262800"/>
                  <a:pt x="7312459" y="6747870"/>
                </a:cubicBezTo>
                <a:lnTo>
                  <a:pt x="7402349" y="6858000"/>
                </a:lnTo>
                <a:lnTo>
                  <a:pt x="6793220" y="6858000"/>
                </a:lnTo>
                <a:lnTo>
                  <a:pt x="6780454" y="6849222"/>
                </a:lnTo>
                <a:cubicBezTo>
                  <a:pt x="6043609" y="6404533"/>
                  <a:pt x="5082598" y="6474138"/>
                  <a:pt x="4262283" y="6852446"/>
                </a:cubicBezTo>
                <a:lnTo>
                  <a:pt x="4251244" y="6858000"/>
                </a:lnTo>
                <a:lnTo>
                  <a:pt x="1584781" y="6858000"/>
                </a:lnTo>
                <a:lnTo>
                  <a:pt x="1548685" y="6742445"/>
                </a:lnTo>
                <a:cubicBezTo>
                  <a:pt x="1258353" y="5895779"/>
                  <a:pt x="735767" y="5109994"/>
                  <a:pt x="193301" y="4363992"/>
                </a:cubicBezTo>
                <a:lnTo>
                  <a:pt x="0" y="4101454"/>
                </a:lnTo>
                <a:lnTo>
                  <a:pt x="0" y="1829578"/>
                </a:lnTo>
                <a:lnTo>
                  <a:pt x="44396" y="1812744"/>
                </a:lnTo>
                <a:cubicBezTo>
                  <a:pt x="583685" y="1572617"/>
                  <a:pt x="878396" y="656734"/>
                  <a:pt x="1036786" y="4791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500104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21720 w 12192000"/>
              <a:gd name="connsiteY3" fmla="*/ 6858000 h 6858000"/>
              <a:gd name="connsiteX4" fmla="*/ 7237775 w 12192000"/>
              <a:gd name="connsiteY4" fmla="*/ 6819435 h 6858000"/>
              <a:gd name="connsiteX5" fmla="*/ 3518715 w 12192000"/>
              <a:gd name="connsiteY5" fmla="*/ 3017531 h 6858000"/>
              <a:gd name="connsiteX6" fmla="*/ 315503 w 12192000"/>
              <a:gd name="connsiteY6" fmla="*/ 4221858 h 6858000"/>
              <a:gd name="connsiteX7" fmla="*/ 0 w 12192000"/>
              <a:gd name="connsiteY7" fmla="*/ 4410739 h 6858000"/>
              <a:gd name="connsiteX8" fmla="*/ 0 w 12192000"/>
              <a:gd name="connsiteY8" fmla="*/ 3559956 h 6858000"/>
              <a:gd name="connsiteX9" fmla="*/ 14834 w 12192000"/>
              <a:gd name="connsiteY9" fmla="*/ 3558786 h 6858000"/>
              <a:gd name="connsiteX10" fmla="*/ 2614859 w 12192000"/>
              <a:gd name="connsiteY10" fmla="*/ 2721259 h 6858000"/>
              <a:gd name="connsiteX11" fmla="*/ 4920506 w 12192000"/>
              <a:gd name="connsiteY11" fmla="*/ 16407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0104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21720" y="6858000"/>
                </a:lnTo>
                <a:lnTo>
                  <a:pt x="7237775" y="6819435"/>
                </a:lnTo>
                <a:cubicBezTo>
                  <a:pt x="8169822" y="4313901"/>
                  <a:pt x="5459267" y="2690590"/>
                  <a:pt x="3518715" y="3017531"/>
                </a:cubicBezTo>
                <a:cubicBezTo>
                  <a:pt x="2350334" y="3211959"/>
                  <a:pt x="1301685" y="3656366"/>
                  <a:pt x="315503" y="4221858"/>
                </a:cubicBezTo>
                <a:lnTo>
                  <a:pt x="0" y="4410739"/>
                </a:lnTo>
                <a:lnTo>
                  <a:pt x="0" y="3559956"/>
                </a:lnTo>
                <a:lnTo>
                  <a:pt x="14834" y="3558786"/>
                </a:lnTo>
                <a:cubicBezTo>
                  <a:pt x="1005734" y="3455332"/>
                  <a:pt x="2070964" y="3027175"/>
                  <a:pt x="2614859" y="2721259"/>
                </a:cubicBezTo>
                <a:cubicBezTo>
                  <a:pt x="3683753" y="2116371"/>
                  <a:pt x="4438525" y="1086171"/>
                  <a:pt x="4920506" y="16407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tx2"/>
          </a:solidFill>
        </p:grpSpPr>
        <p:sp>
          <p:nvSpPr>
            <p:cNvPr id="20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991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00</a:t>
            </a:r>
            <a:endParaRPr lang="en-US"/>
          </a:p>
          <a:p>
            <a:pPr lvl="0"/>
            <a:endParaRPr lang="en-US"/>
          </a:p>
          <a:p>
            <a:pPr lvl="0"/>
            <a:endParaRPr lang="en-US" noProof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/>
              <a:t>Chapter name </a:t>
            </a:r>
            <a:br>
              <a:rPr lang="en-US" noProof="0"/>
            </a:br>
            <a:r>
              <a:rPr lang="en-US" noProof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25711939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55166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grpSp>
        <p:nvGrpSpPr>
          <p:cNvPr id="2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5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32629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58586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grpSp>
        <p:nvGrpSpPr>
          <p:cNvPr id="9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0969365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7286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grpSp>
        <p:nvGrpSpPr>
          <p:cNvPr id="9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30186360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0039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2" name="Gruppieren 1"/>
          <p:cNvGrpSpPr/>
          <p:nvPr userDrawn="1"/>
        </p:nvGrpSpPr>
        <p:grpSpPr bwMode="gray"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6343 h 6536"/>
                <a:gd name="T2" fmla="*/ 13648 w 13648"/>
                <a:gd name="T3" fmla="*/ 6112 h 6536"/>
                <a:gd name="T4" fmla="*/ 13648 w 13648"/>
                <a:gd name="T5" fmla="*/ 961 h 6536"/>
                <a:gd name="T6" fmla="*/ 12687 w 13648"/>
                <a:gd name="T7" fmla="*/ 0 h 6536"/>
                <a:gd name="T8" fmla="*/ 11669 w 13648"/>
                <a:gd name="T9" fmla="*/ 0 h 6536"/>
                <a:gd name="T10" fmla="*/ 11538 w 13648"/>
                <a:gd name="T11" fmla="*/ 53 h 6536"/>
                <a:gd name="T12" fmla="*/ 9497 w 13648"/>
                <a:gd name="T13" fmla="*/ 1968 h 6536"/>
                <a:gd name="T14" fmla="*/ 6824 w 13648"/>
                <a:gd name="T15" fmla="*/ 2994 h 6536"/>
                <a:gd name="T16" fmla="*/ 4064 w 13648"/>
                <a:gd name="T17" fmla="*/ 1885 h 6536"/>
                <a:gd name="T18" fmla="*/ 2550 w 13648"/>
                <a:gd name="T19" fmla="*/ 463 h 6536"/>
                <a:gd name="T20" fmla="*/ 1410 w 13648"/>
                <a:gd name="T21" fmla="*/ 0 h 6536"/>
                <a:gd name="T22" fmla="*/ 192 w 13648"/>
                <a:gd name="T23" fmla="*/ 0 h 6536"/>
                <a:gd name="T24" fmla="*/ 0 w 13648"/>
                <a:gd name="T25" fmla="*/ 192 h 6536"/>
                <a:gd name="T26" fmla="*/ 0 w 13648"/>
                <a:gd name="T27" fmla="*/ 5575 h 6536"/>
                <a:gd name="T28" fmla="*/ 961 w 13648"/>
                <a:gd name="T29" fmla="*/ 6536 h 6536"/>
                <a:gd name="T30" fmla="*/ 1333 w 13648"/>
                <a:gd name="T31" fmla="*/ 6536 h 6536"/>
                <a:gd name="T32" fmla="*/ 1584 w 13648"/>
                <a:gd name="T33" fmla="*/ 6536 h 6536"/>
                <a:gd name="T34" fmla="*/ 1777 w 13648"/>
                <a:gd name="T35" fmla="*/ 6342 h 6536"/>
                <a:gd name="T36" fmla="*/ 1778 w 13648"/>
                <a:gd name="T37" fmla="*/ 4427 h 6536"/>
                <a:gd name="T38" fmla="*/ 2679 w 13648"/>
                <a:gd name="T39" fmla="*/ 3514 h 6536"/>
                <a:gd name="T40" fmla="*/ 4847 w 13648"/>
                <a:gd name="T41" fmla="*/ 4823 h 6536"/>
                <a:gd name="T42" fmla="*/ 6824 w 13648"/>
                <a:gd name="T43" fmla="*/ 6085 h 6536"/>
                <a:gd name="T44" fmla="*/ 8801 w 13648"/>
                <a:gd name="T45" fmla="*/ 4823 h 6536"/>
                <a:gd name="T46" fmla="*/ 10968 w 13648"/>
                <a:gd name="T47" fmla="*/ 3514 h 6536"/>
                <a:gd name="T48" fmla="*/ 11869 w 13648"/>
                <a:gd name="T49" fmla="*/ 4419 h 6536"/>
                <a:gd name="T50" fmla="*/ 11869 w 13648"/>
                <a:gd name="T51" fmla="*/ 5575 h 6536"/>
                <a:gd name="T52" fmla="*/ 12831 w 13648"/>
                <a:gd name="T53" fmla="*/ 6535 h 6536"/>
                <a:gd name="T54" fmla="*/ 13246 w 13648"/>
                <a:gd name="T55" fmla="*/ 6535 h 6536"/>
                <a:gd name="T56" fmla="*/ 13455 w 13648"/>
                <a:gd name="T57" fmla="*/ 6536 h 6536"/>
                <a:gd name="T58" fmla="*/ 13455 w 13648"/>
                <a:gd name="T59" fmla="*/ 6536 h 6536"/>
                <a:gd name="T60" fmla="*/ 13648 w 13648"/>
                <a:gd name="T61" fmla="*/ 6343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648" h="6536">
                  <a:moveTo>
                    <a:pt x="13648" y="6343"/>
                  </a:moveTo>
                  <a:cubicBezTo>
                    <a:pt x="13648" y="6112"/>
                    <a:pt x="13648" y="6112"/>
                    <a:pt x="13648" y="6112"/>
                  </a:cubicBezTo>
                  <a:cubicBezTo>
                    <a:pt x="13648" y="5089"/>
                    <a:pt x="13648" y="1001"/>
                    <a:pt x="13648" y="961"/>
                  </a:cubicBezTo>
                  <a:cubicBezTo>
                    <a:pt x="13648" y="430"/>
                    <a:pt x="1321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8" y="2625"/>
                    <a:pt x="7858" y="2994"/>
                    <a:pt x="6824" y="2994"/>
                  </a:cubicBezTo>
                  <a:cubicBezTo>
                    <a:pt x="5746" y="2994"/>
                    <a:pt x="4770" y="2591"/>
                    <a:pt x="4064" y="1885"/>
                  </a:cubicBezTo>
                  <a:cubicBezTo>
                    <a:pt x="4064" y="1885"/>
                    <a:pt x="2563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5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2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3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3"/>
                  </a:cubicBezTo>
                  <a:cubicBezTo>
                    <a:pt x="9395" y="4299"/>
                    <a:pt x="10052" y="3514"/>
                    <a:pt x="10968" y="3514"/>
                  </a:cubicBezTo>
                  <a:cubicBezTo>
                    <a:pt x="11458" y="3514"/>
                    <a:pt x="11865" y="3922"/>
                    <a:pt x="11869" y="4419"/>
                  </a:cubicBezTo>
                  <a:cubicBezTo>
                    <a:pt x="11869" y="4419"/>
                    <a:pt x="11869" y="5567"/>
                    <a:pt x="11869" y="5575"/>
                  </a:cubicBezTo>
                  <a:cubicBezTo>
                    <a:pt x="11869" y="6105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4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1" y="6536"/>
                    <a:pt x="13648" y="6449"/>
                    <a:pt x="13648" y="6343"/>
                  </a:cubicBezTo>
                  <a:close/>
                </a:path>
              </a:pathLst>
            </a:custGeom>
            <a:solidFill>
              <a:srgbClr val="FFC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388880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15602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4038600" y="2404526"/>
            <a:ext cx="4114800" cy="2048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7431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467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92022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73564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 bwMode="gray">
          <a:xfrm>
            <a:off x="6240464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 bwMode="gray">
          <a:xfrm>
            <a:off x="623392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5024881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193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4845" y="1484314"/>
            <a:ext cx="345493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4368803" y="1484314"/>
            <a:ext cx="3455986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 bwMode="gray">
          <a:xfrm>
            <a:off x="8112000" y="1484313"/>
            <a:ext cx="345600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53805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D17C077-F28C-C648-7CF3-9772DB3821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1AFE086-B907-0427-36D7-B3466A727C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80E39CF6-FD2C-D535-B245-6FFA1BFBF6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D006937-F84F-8250-FA9D-22E15AB65F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64E03-B8D9-4FA7-89DA-B24DAF0BE8A7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33E8772-804E-46DF-CC2A-808721D11F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52330F6-BDC2-A473-AEC7-AEBA992019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8E09-8AC3-409D-9A37-A314A19285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83401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365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125" y="1484314"/>
            <a:ext cx="25191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</a:t>
            </a:r>
            <a:br>
              <a:rPr lang="en-US"/>
            </a:br>
            <a:r>
              <a:rPr lang="en-US"/>
              <a:t>for </a:t>
            </a:r>
            <a:r>
              <a:rPr lang="en-US" err="1"/>
              <a:t>copytext</a:t>
            </a:r>
            <a:r>
              <a:rPr lang="en-US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3432159" y="1484314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Or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6240000" y="1484313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</a:t>
            </a:r>
            <a:br>
              <a:rPr lang="en-US"/>
            </a:br>
            <a:r>
              <a:rPr lang="en-US"/>
              <a:t>for </a:t>
            </a:r>
            <a:r>
              <a:rPr lang="en-US" err="1"/>
              <a:t>copytext</a:t>
            </a:r>
            <a:r>
              <a:rPr lang="en-US"/>
              <a:t> or bullet levels. 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Or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494873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4036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lnSpc>
                <a:spcPct val="105000"/>
              </a:lnSpc>
              <a:defRPr baseline="0"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lvl="0"/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lnSpc>
                <a:spcPct val="105000"/>
              </a:lnSpc>
              <a:defRPr sz="1200" baseline="0">
                <a:solidFill>
                  <a:schemeClr val="accent1"/>
                </a:solidFill>
              </a:defRPr>
            </a:lvl1pPr>
            <a:lvl2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2pPr>
            <a:lvl3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3pPr>
            <a:lvl4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You can use this field to enter marginal note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554880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6752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3888" y="1484312"/>
            <a:ext cx="3960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You can use this field to enter text, a table, a diagram, a </a:t>
            </a:r>
            <a:r>
              <a:rPr lang="en-US" err="1"/>
              <a:t>SmartArts</a:t>
            </a:r>
            <a:r>
              <a:rPr lang="en-US"/>
              <a:t> or tex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4872296" y="1484312"/>
            <a:ext cx="3888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You can use this field to enter text, a table, a diagram, a </a:t>
            </a:r>
            <a:r>
              <a:rPr lang="en-US" err="1"/>
              <a:t>SmartArts</a:t>
            </a:r>
            <a:r>
              <a:rPr lang="en-US"/>
              <a:t> or tex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You can use this field to enter marginal note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5289276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0272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9048750" y="1484310"/>
            <a:ext cx="2518051" cy="460851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You can use this field to enter marginal note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8135936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3862096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90981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 bwMode="gray">
          <a:xfrm>
            <a:off x="6240464" y="1484313"/>
            <a:ext cx="5327650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3"/>
            <a:ext cx="5327650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You can use this field to enter text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736555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272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0464" y="1484310"/>
            <a:ext cx="5327650" cy="460851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You can use this field to enter text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5327650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790331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418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/>
          </p:nvPr>
        </p:nvSpPr>
        <p:spPr bwMode="gray">
          <a:xfrm>
            <a:off x="623888" y="4437469"/>
            <a:ext cx="3960000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/>
          </p:nvPr>
        </p:nvSpPr>
        <p:spPr bwMode="gray">
          <a:xfrm>
            <a:off x="4871713" y="4437469"/>
            <a:ext cx="3888112" cy="16558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 bwMode="gray">
          <a:xfrm>
            <a:off x="9048750" y="1484310"/>
            <a:ext cx="2518051" cy="4608986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You can use this field to enter marginal note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076700"/>
            <a:ext cx="8135936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 noProof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 bwMode="gray">
          <a:xfrm>
            <a:off x="623888" y="1484310"/>
            <a:ext cx="8135936" cy="2376000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2799257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77923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 bwMode="gray">
          <a:xfrm>
            <a:off x="9048750" y="1484310"/>
            <a:ext cx="2518051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You can use this field to enter text, a table, a diagram or a SmartArt.</a:t>
            </a:r>
            <a:br>
              <a:rPr lang="en-US"/>
            </a:br>
            <a:r>
              <a:rPr lang="en-US"/>
              <a:t>Use the buttons “Increase List Level” for </a:t>
            </a:r>
            <a:r>
              <a:rPr lang="en-US" err="1"/>
              <a:t>copytext</a:t>
            </a:r>
            <a:r>
              <a:rPr lang="en-US"/>
              <a:t> or bullet levels.</a:t>
            </a:r>
            <a:br>
              <a:rPr lang="en-US"/>
            </a:br>
            <a:r>
              <a:rPr lang="en-US"/>
              <a:t>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2082684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6805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3430866" y="1484310"/>
            <a:ext cx="8135936" cy="460852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a SmartArt.</a:t>
            </a:r>
            <a:br>
              <a:rPr lang="en-US"/>
            </a:br>
            <a:r>
              <a:rPr lang="en-US"/>
              <a:t>Use the buttons “Increase List Level” for </a:t>
            </a:r>
            <a:r>
              <a:rPr lang="en-US" err="1"/>
              <a:t>copytext</a:t>
            </a:r>
            <a:r>
              <a:rPr lang="en-US"/>
              <a:t> or bullet levels.</a:t>
            </a:r>
            <a:br>
              <a:rPr lang="en-US"/>
            </a:br>
            <a:r>
              <a:rPr lang="en-US"/>
              <a:t>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2518051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540120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31463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IO_VALID_LAYOUT" hidden="1"/>
          <p:cNvSpPr/>
          <p:nvPr userDrawn="1"/>
        </p:nvSpPr>
        <p:spPr bwMode="gray">
          <a:xfrm>
            <a:off x="263056" y="157877"/>
            <a:ext cx="641166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 bwMode="gray"/>
        <p:txBody>
          <a:bodyPr/>
          <a:lstStyle/>
          <a:p>
            <a:fld id="{7C13EB76-EF81-47B5-BEE8-51CDB48536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 bwMode="gray">
          <a:xfrm>
            <a:off x="6600057" y="476251"/>
            <a:ext cx="4968551" cy="5616578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You can use this field to enter text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72613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0153CA-52A6-9E1B-65EF-0C950122A3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7D384A2-A953-E9C3-228C-8832E859DF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75C3A5FC-C5FA-4B42-2154-E64CD585F2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BBC4F30E-C96C-333F-E1DD-06C9849E04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24C7DCE6-A585-1DFA-6C04-C922427FFFF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0C7C4664-2E29-BD06-1AD5-E052A6FC4E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64E03-B8D9-4FA7-89DA-B24DAF0BE8A7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626BB3DC-2B66-63FF-E599-80F63139D6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D0BB5840-A0AA-1518-2C1A-B5D20280C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8E09-8AC3-409D-9A37-A314A19285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738063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34050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0365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67836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759868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251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127878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CD3C7B-A8D7-458A-B3B1-196F239FBE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C90924-219C-43A3-8485-08F7E3CBFF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8D3C86-73A2-43E8-853D-15DD5E7167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94976-7EB2-4A65-8729-D5F9A78DAD2D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8B4EA1-2016-4A44-A42D-456948903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5FF837-605D-41F2-8D64-01C805899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46A48-0FF3-4ABC-A28E-1D01CCCAB2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29416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Only Title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>
              <a:solidFill>
                <a:srgbClr val="50329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540000"/>
            <a:ext cx="10944225" cy="307777"/>
          </a:xfrm>
        </p:spPr>
        <p:txBody>
          <a:bodyPr bIns="0"/>
          <a:lstStyle>
            <a:lvl1pPr>
              <a:defRPr sz="2000"/>
            </a:lvl1pPr>
          </a:lstStyle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09071338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copytext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623889" y="6238875"/>
            <a:ext cx="6436788" cy="401638"/>
          </a:xfrm>
        </p:spPr>
        <p:txBody>
          <a:bodyPr anchor="b" anchorCtr="0"/>
          <a:lstStyle>
            <a:lvl1pPr>
              <a:defRPr sz="800"/>
            </a:lvl1pPr>
          </a:lstStyle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409468" y="6238875"/>
            <a:ext cx="2725918" cy="401638"/>
          </a:xfrm>
        </p:spPr>
        <p:txBody>
          <a:bodyPr anchor="b" anchorCtr="0"/>
          <a:lstStyle>
            <a:lvl1pPr algn="r">
              <a:defRPr sz="8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2487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11256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885410"/>
            <a:ext cx="3967700" cy="2613421"/>
            <a:chOff x="1" y="1885410"/>
            <a:chExt cx="3967700" cy="2613421"/>
          </a:xfrm>
        </p:grpSpPr>
        <p:sp>
          <p:nvSpPr>
            <p:cNvPr id="8" name="Rectl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34"/>
            <p:cNvSpPr>
              <a:spLocks/>
            </p:cNvSpPr>
            <p:nvPr userDrawn="1"/>
          </p:nvSpPr>
          <p:spPr bwMode="gray">
            <a:xfrm>
              <a:off x="3009726" y="3438341"/>
              <a:ext cx="957975" cy="1060490"/>
            </a:xfrm>
            <a:custGeom>
              <a:avLst/>
              <a:gdLst>
                <a:gd name="T0" fmla="*/ 1071 w 3325"/>
                <a:gd name="T1" fmla="*/ 3118 h 3410"/>
                <a:gd name="T2" fmla="*/ 1238 w 3325"/>
                <a:gd name="T3" fmla="*/ 3410 h 3410"/>
                <a:gd name="T4" fmla="*/ 1068 w 3325"/>
                <a:gd name="T5" fmla="*/ 3410 h 3410"/>
                <a:gd name="T6" fmla="*/ 52 w 3325"/>
                <a:gd name="T7" fmla="*/ 1638 h 3410"/>
                <a:gd name="T8" fmla="*/ 52 w 3325"/>
                <a:gd name="T9" fmla="*/ 1311 h 3410"/>
                <a:gd name="T10" fmla="*/ 719 w 3325"/>
                <a:gd name="T11" fmla="*/ 163 h 3410"/>
                <a:gd name="T12" fmla="*/ 1002 w 3325"/>
                <a:gd name="T13" fmla="*/ 0 h 3410"/>
                <a:gd name="T14" fmla="*/ 2330 w 3325"/>
                <a:gd name="T15" fmla="*/ 3 h 3410"/>
                <a:gd name="T16" fmla="*/ 2613 w 3325"/>
                <a:gd name="T17" fmla="*/ 167 h 3410"/>
                <a:gd name="T18" fmla="*/ 3274 w 3325"/>
                <a:gd name="T19" fmla="*/ 1318 h 3410"/>
                <a:gd name="T20" fmla="*/ 3273 w 3325"/>
                <a:gd name="T21" fmla="*/ 1645 h 3410"/>
                <a:gd name="T22" fmla="*/ 2607 w 3325"/>
                <a:gd name="T23" fmla="*/ 2793 h 3410"/>
                <a:gd name="T24" fmla="*/ 2323 w 3325"/>
                <a:gd name="T25" fmla="*/ 2956 h 3410"/>
                <a:gd name="T26" fmla="*/ 1166 w 3325"/>
                <a:gd name="T27" fmla="*/ 2955 h 3410"/>
                <a:gd name="T28" fmla="*/ 1071 w 3325"/>
                <a:gd name="T29" fmla="*/ 3118 h 3410"/>
                <a:gd name="connsiteX0" fmla="*/ 3065 w 9805"/>
                <a:gd name="connsiteY0" fmla="*/ 9144 h 10585"/>
                <a:gd name="connsiteX1" fmla="*/ 3567 w 9805"/>
                <a:gd name="connsiteY1" fmla="*/ 10000 h 10585"/>
                <a:gd name="connsiteX2" fmla="*/ 3674 w 9805"/>
                <a:gd name="connsiteY2" fmla="*/ 10460 h 10585"/>
                <a:gd name="connsiteX3" fmla="*/ 3056 w 9805"/>
                <a:gd name="connsiteY3" fmla="*/ 10000 h 10585"/>
                <a:gd name="connsiteX4" fmla="*/ 0 w 9805"/>
                <a:gd name="connsiteY4" fmla="*/ 4804 h 10585"/>
                <a:gd name="connsiteX5" fmla="*/ 0 w 9805"/>
                <a:gd name="connsiteY5" fmla="*/ 3845 h 10585"/>
                <a:gd name="connsiteX6" fmla="*/ 2006 w 9805"/>
                <a:gd name="connsiteY6" fmla="*/ 478 h 10585"/>
                <a:gd name="connsiteX7" fmla="*/ 2858 w 9805"/>
                <a:gd name="connsiteY7" fmla="*/ 0 h 10585"/>
                <a:gd name="connsiteX8" fmla="*/ 6852 w 9805"/>
                <a:gd name="connsiteY8" fmla="*/ 9 h 10585"/>
                <a:gd name="connsiteX9" fmla="*/ 7703 w 9805"/>
                <a:gd name="connsiteY9" fmla="*/ 490 h 10585"/>
                <a:gd name="connsiteX10" fmla="*/ 9691 w 9805"/>
                <a:gd name="connsiteY10" fmla="*/ 3865 h 10585"/>
                <a:gd name="connsiteX11" fmla="*/ 9688 w 9805"/>
                <a:gd name="connsiteY11" fmla="*/ 4824 h 10585"/>
                <a:gd name="connsiteX12" fmla="*/ 7685 w 9805"/>
                <a:gd name="connsiteY12" fmla="*/ 8191 h 10585"/>
                <a:gd name="connsiteX13" fmla="*/ 6830 w 9805"/>
                <a:gd name="connsiteY13" fmla="*/ 8669 h 10585"/>
                <a:gd name="connsiteX14" fmla="*/ 3351 w 9805"/>
                <a:gd name="connsiteY14" fmla="*/ 8666 h 10585"/>
                <a:gd name="connsiteX15" fmla="*/ 3065 w 9805"/>
                <a:gd name="connsiteY15" fmla="*/ 9144 h 10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805" h="10585">
                  <a:moveTo>
                    <a:pt x="3065" y="9144"/>
                  </a:moveTo>
                  <a:cubicBezTo>
                    <a:pt x="3567" y="10000"/>
                    <a:pt x="3466" y="9781"/>
                    <a:pt x="3567" y="10000"/>
                  </a:cubicBezTo>
                  <a:cubicBezTo>
                    <a:pt x="3668" y="10219"/>
                    <a:pt x="3768" y="10465"/>
                    <a:pt x="3674" y="10460"/>
                  </a:cubicBezTo>
                  <a:cubicBezTo>
                    <a:pt x="3598" y="10465"/>
                    <a:pt x="3668" y="10942"/>
                    <a:pt x="3056" y="10000"/>
                  </a:cubicBezTo>
                  <a:cubicBezTo>
                    <a:pt x="2444" y="9058"/>
                    <a:pt x="0" y="4804"/>
                    <a:pt x="0" y="4804"/>
                  </a:cubicBezTo>
                  <a:cubicBezTo>
                    <a:pt x="-156" y="4540"/>
                    <a:pt x="-156" y="4109"/>
                    <a:pt x="0" y="3845"/>
                  </a:cubicBezTo>
                  <a:lnTo>
                    <a:pt x="2006" y="478"/>
                  </a:lnTo>
                  <a:cubicBezTo>
                    <a:pt x="2163" y="214"/>
                    <a:pt x="2548" y="0"/>
                    <a:pt x="2858" y="0"/>
                  </a:cubicBezTo>
                  <a:lnTo>
                    <a:pt x="6852" y="9"/>
                  </a:lnTo>
                  <a:cubicBezTo>
                    <a:pt x="7164" y="9"/>
                    <a:pt x="7546" y="226"/>
                    <a:pt x="7703" y="490"/>
                  </a:cubicBezTo>
                  <a:lnTo>
                    <a:pt x="9691" y="3865"/>
                  </a:lnTo>
                  <a:cubicBezTo>
                    <a:pt x="9844" y="4129"/>
                    <a:pt x="9844" y="4560"/>
                    <a:pt x="9688" y="4824"/>
                  </a:cubicBezTo>
                  <a:lnTo>
                    <a:pt x="7685" y="8191"/>
                  </a:lnTo>
                  <a:cubicBezTo>
                    <a:pt x="7525" y="8455"/>
                    <a:pt x="7143" y="8669"/>
                    <a:pt x="6830" y="8669"/>
                  </a:cubicBezTo>
                  <a:lnTo>
                    <a:pt x="3351" y="8666"/>
                  </a:lnTo>
                  <a:cubicBezTo>
                    <a:pt x="3038" y="8663"/>
                    <a:pt x="2912" y="8880"/>
                    <a:pt x="3065" y="914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Rectangle 1"/>
          <p:cNvSpPr/>
          <p:nvPr userDrawn="1"/>
        </p:nvSpPr>
        <p:spPr bwMode="gray">
          <a:xfrm>
            <a:off x="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8" y="306722"/>
                  <a:pt x="4230365" y="306768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3" y="713203"/>
                  <a:pt x="4382282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8" y="78703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4" y="1362235"/>
                  <a:pt x="3578989" y="1359959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4" y="860305"/>
                  <a:pt x="3206540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6" y="930522"/>
                  <a:pt x="2514130" y="931884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4" y="1566804"/>
                  <a:pt x="2230056" y="1568766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56" y="2132859"/>
                  <a:pt x="2639393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5" y="2062343"/>
                  <a:pt x="3332608" y="2059331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3" y="1279274"/>
                  <a:pt x="3865905" y="1280575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88" y="1577240"/>
                  <a:pt x="4120602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6" y="1505272"/>
                  <a:pt x="4579567" y="1503279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4" y="1074122"/>
                  <a:pt x="4744341" y="1071144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4" y="425385"/>
                  <a:pt x="4455510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5" y="354582"/>
                  <a:pt x="5074601" y="353254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3798641" y="6858001"/>
                </a:lnTo>
                <a:lnTo>
                  <a:pt x="3808977" y="6840186"/>
                </a:lnTo>
                <a:cubicBezTo>
                  <a:pt x="3875779" y="6724581"/>
                  <a:pt x="3875779" y="6535759"/>
                  <a:pt x="3810262" y="6420154"/>
                </a:cubicBezTo>
                <a:cubicBezTo>
                  <a:pt x="3810262" y="6420154"/>
                  <a:pt x="3810262" y="6420154"/>
                  <a:pt x="2961102" y="4941694"/>
                </a:cubicBezTo>
                <a:lnTo>
                  <a:pt x="2937921" y="4908297"/>
                </a:lnTo>
                <a:lnTo>
                  <a:pt x="2918773" y="4875174"/>
                </a:lnTo>
                <a:cubicBezTo>
                  <a:pt x="2862729" y="4778222"/>
                  <a:pt x="2793752" y="4658897"/>
                  <a:pt x="2708856" y="4512036"/>
                </a:cubicBezTo>
                <a:cubicBezTo>
                  <a:pt x="2691937" y="4482974"/>
                  <a:pt x="2697960" y="4457890"/>
                  <a:pt x="2720946" y="4447178"/>
                </a:cubicBezTo>
                <a:lnTo>
                  <a:pt x="2746422" y="4442214"/>
                </a:lnTo>
                <a:lnTo>
                  <a:pt x="2756015" y="4442214"/>
                </a:lnTo>
                <a:cubicBezTo>
                  <a:pt x="2819224" y="4442214"/>
                  <a:pt x="3021494" y="4442214"/>
                  <a:pt x="3668758" y="4442214"/>
                </a:cubicBezTo>
                <a:cubicBezTo>
                  <a:pt x="3742436" y="4442214"/>
                  <a:pt x="3832751" y="4389919"/>
                  <a:pt x="3869590" y="4326034"/>
                </a:cubicBezTo>
                <a:cubicBezTo>
                  <a:pt x="3869590" y="4326034"/>
                  <a:pt x="3869590" y="4326034"/>
                  <a:pt x="4340180" y="3510692"/>
                </a:cubicBezTo>
                <a:cubicBezTo>
                  <a:pt x="4377018" y="3447105"/>
                  <a:pt x="4377018" y="3342810"/>
                  <a:pt x="4340180" y="3278926"/>
                </a:cubicBezTo>
                <a:cubicBezTo>
                  <a:pt x="4340180" y="3278926"/>
                  <a:pt x="4340180" y="3278926"/>
                  <a:pt x="3869590" y="2463584"/>
                </a:cubicBezTo>
                <a:cubicBezTo>
                  <a:pt x="3841961" y="2415671"/>
                  <a:pt x="3784252" y="2374444"/>
                  <a:pt x="3726041" y="2356825"/>
                </a:cubicBezTo>
                <a:lnTo>
                  <a:pt x="3668961" y="2347734"/>
                </a:lnTo>
                <a:lnTo>
                  <a:pt x="3505115" y="2347734"/>
                </a:lnTo>
                <a:cubicBezTo>
                  <a:pt x="2732636" y="2347734"/>
                  <a:pt x="2729377" y="2347734"/>
                  <a:pt x="2729363" y="2347734"/>
                </a:cubicBezTo>
                <a:cubicBezTo>
                  <a:pt x="2655982" y="2347734"/>
                  <a:pt x="2565667" y="2400030"/>
                  <a:pt x="2528828" y="2463914"/>
                </a:cubicBezTo>
                <a:cubicBezTo>
                  <a:pt x="2059864" y="3275928"/>
                  <a:pt x="2057950" y="3279243"/>
                  <a:pt x="2057942" y="3279256"/>
                </a:cubicBezTo>
                <a:cubicBezTo>
                  <a:pt x="2021103" y="3342843"/>
                  <a:pt x="2021103" y="3447138"/>
                  <a:pt x="2057942" y="3511022"/>
                </a:cubicBezTo>
                <a:cubicBezTo>
                  <a:pt x="2150856" y="3672330"/>
                  <a:pt x="2232157" y="3813474"/>
                  <a:pt x="2303295" y="3936976"/>
                </a:cubicBezTo>
                <a:lnTo>
                  <a:pt x="2385586" y="4079840"/>
                </a:lnTo>
                <a:lnTo>
                  <a:pt x="2385872" y="4080886"/>
                </a:lnTo>
                <a:cubicBezTo>
                  <a:pt x="2385872" y="4080886"/>
                  <a:pt x="2385872" y="4080886"/>
                  <a:pt x="2467416" y="4222092"/>
                </a:cubicBezTo>
                <a:lnTo>
                  <a:pt x="2509890" y="4295642"/>
                </a:lnTo>
                <a:lnTo>
                  <a:pt x="2528988" y="4328797"/>
                </a:lnTo>
                <a:lnTo>
                  <a:pt x="2529157" y="4329005"/>
                </a:lnTo>
                <a:lnTo>
                  <a:pt x="2565024" y="4391116"/>
                </a:lnTo>
                <a:cubicBezTo>
                  <a:pt x="2606367" y="4462707"/>
                  <a:pt x="2657250" y="4550819"/>
                  <a:pt x="2719876" y="4659265"/>
                </a:cubicBezTo>
                <a:cubicBezTo>
                  <a:pt x="2742183" y="4697869"/>
                  <a:pt x="2723811" y="4729799"/>
                  <a:pt x="2679225" y="4729911"/>
                </a:cubicBezTo>
                <a:cubicBezTo>
                  <a:pt x="2679225" y="4729911"/>
                  <a:pt x="2679225" y="4729911"/>
                  <a:pt x="2411781" y="4730390"/>
                </a:cubicBezTo>
                <a:lnTo>
                  <a:pt x="2355833" y="4730490"/>
                </a:lnTo>
                <a:lnTo>
                  <a:pt x="2293907" y="4730350"/>
                </a:lnTo>
                <a:cubicBezTo>
                  <a:pt x="2057746" y="4729817"/>
                  <a:pt x="1637903" y="4728868"/>
                  <a:pt x="891516" y="4727182"/>
                </a:cubicBezTo>
                <a:cubicBezTo>
                  <a:pt x="759196" y="4727182"/>
                  <a:pt x="594760" y="4820951"/>
                  <a:pt x="527958" y="4936556"/>
                </a:cubicBezTo>
                <a:cubicBezTo>
                  <a:pt x="527958" y="4936556"/>
                  <a:pt x="527958" y="4936556"/>
                  <a:pt x="68354" y="5727502"/>
                </a:cubicBezTo>
                <a:lnTo>
                  <a:pt x="0" y="5845133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3644826"/>
            <a:ext cx="640873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  <a:br>
              <a:rPr lang="en-US" noProof="0"/>
            </a:br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2924818"/>
            <a:ext cx="6408113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Subtitle and other information of this presentation</a:t>
            </a:r>
            <a:endParaRPr lang="en-US"/>
          </a:p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1532405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468665" y="5341463"/>
            <a:ext cx="2520000" cy="1254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7278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1266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3762770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Elem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34126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3710620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97824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accent5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/>
              <a:t>Insert your agenda points here. Use the button “increase list level” to add </a:t>
            </a:r>
            <a:r>
              <a:rPr lang="en-US" err="1"/>
              <a:t>subitems</a:t>
            </a:r>
            <a:r>
              <a:rPr lang="en-US"/>
              <a:t>.</a:t>
            </a:r>
            <a:br>
              <a:rPr lang="en-US"/>
            </a:br>
            <a:r>
              <a:rPr lang="en-US"/>
              <a:t>You can find other agenda designs within the slide library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919024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E3BAE33-1CCA-0802-CB7D-29B65A8A32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E24F60DA-429C-4165-36D0-ED4295B8E5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64E03-B8D9-4FA7-89DA-B24DAF0BE8A7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83D422AA-7659-BF48-843A-FB6A70CDC5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1243CB9A-CE6D-6964-2941-405495DA1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8E09-8AC3-409D-9A37-A314A19285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734437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97102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9" name="Rectangle 1"/>
          <p:cNvSpPr/>
          <p:nvPr userDrawn="1"/>
        </p:nvSpPr>
        <p:spPr bwMode="gray">
          <a:xfrm>
            <a:off x="1" y="0"/>
            <a:ext cx="5832941" cy="6858000"/>
          </a:xfrm>
          <a:custGeom>
            <a:avLst/>
            <a:gdLst/>
            <a:ahLst/>
            <a:cxnLst/>
            <a:rect l="l" t="t" r="r" b="b"/>
            <a:pathLst>
              <a:path w="5832941" h="6859095">
                <a:moveTo>
                  <a:pt x="0" y="1095"/>
                </a:moveTo>
                <a:lnTo>
                  <a:pt x="2379070" y="1095"/>
                </a:lnTo>
                <a:lnTo>
                  <a:pt x="2375872" y="4439"/>
                </a:lnTo>
                <a:cubicBezTo>
                  <a:pt x="2375863" y="4452"/>
                  <a:pt x="2373953" y="7453"/>
                  <a:pt x="1944472" y="682162"/>
                </a:cubicBezTo>
                <a:cubicBezTo>
                  <a:pt x="1884685" y="775964"/>
                  <a:pt x="1877651" y="934256"/>
                  <a:pt x="1930404" y="1032749"/>
                </a:cubicBezTo>
                <a:cubicBezTo>
                  <a:pt x="1930408" y="1032756"/>
                  <a:pt x="1931244" y="1034335"/>
                  <a:pt x="2127348" y="1404441"/>
                </a:cubicBezTo>
                <a:cubicBezTo>
                  <a:pt x="2178929" y="1502934"/>
                  <a:pt x="2312569" y="1599081"/>
                  <a:pt x="2422764" y="1616669"/>
                </a:cubicBezTo>
                <a:cubicBezTo>
                  <a:pt x="2422777" y="1616671"/>
                  <a:pt x="2427199" y="1617400"/>
                  <a:pt x="3965491" y="1871109"/>
                </a:cubicBezTo>
                <a:cubicBezTo>
                  <a:pt x="4075686" y="1888697"/>
                  <a:pt x="4164779" y="1995397"/>
                  <a:pt x="4164779" y="2106788"/>
                </a:cubicBezTo>
                <a:cubicBezTo>
                  <a:pt x="4164779" y="2106805"/>
                  <a:pt x="4164779" y="2110586"/>
                  <a:pt x="4164779" y="2954528"/>
                </a:cubicBezTo>
                <a:cubicBezTo>
                  <a:pt x="4164779" y="3065918"/>
                  <a:pt x="4075686" y="3172618"/>
                  <a:pt x="3964319" y="3190206"/>
                </a:cubicBezTo>
                <a:cubicBezTo>
                  <a:pt x="3964302" y="3190209"/>
                  <a:pt x="3960071" y="3190896"/>
                  <a:pt x="2910435" y="3361396"/>
                </a:cubicBezTo>
                <a:cubicBezTo>
                  <a:pt x="2800240" y="3380156"/>
                  <a:pt x="2691217" y="3483339"/>
                  <a:pt x="2667772" y="3593557"/>
                </a:cubicBezTo>
                <a:cubicBezTo>
                  <a:pt x="2667771" y="3593562"/>
                  <a:pt x="2667429" y="3595183"/>
                  <a:pt x="2548199" y="4159890"/>
                </a:cubicBezTo>
                <a:cubicBezTo>
                  <a:pt x="2525925" y="4268935"/>
                  <a:pt x="2593918" y="4385016"/>
                  <a:pt x="2700595" y="4417847"/>
                </a:cubicBezTo>
                <a:cubicBezTo>
                  <a:pt x="2700612" y="4417852"/>
                  <a:pt x="2705245" y="4419265"/>
                  <a:pt x="4000659" y="4814162"/>
                </a:cubicBezTo>
                <a:cubicBezTo>
                  <a:pt x="4107337" y="4846993"/>
                  <a:pt x="4195259" y="4965419"/>
                  <a:pt x="4195259" y="5076809"/>
                </a:cubicBezTo>
                <a:cubicBezTo>
                  <a:pt x="4195259" y="5076821"/>
                  <a:pt x="4195259" y="5081382"/>
                  <a:pt x="4195259" y="6818752"/>
                </a:cubicBezTo>
                <a:lnTo>
                  <a:pt x="4195259" y="6859095"/>
                </a:lnTo>
                <a:lnTo>
                  <a:pt x="999485" y="6859095"/>
                </a:lnTo>
                <a:lnTo>
                  <a:pt x="963855" y="6799716"/>
                </a:lnTo>
                <a:cubicBezTo>
                  <a:pt x="953671" y="6773755"/>
                  <a:pt x="948029" y="6746201"/>
                  <a:pt x="948029" y="6718353"/>
                </a:cubicBezTo>
                <a:cubicBezTo>
                  <a:pt x="948029" y="6718334"/>
                  <a:pt x="948029" y="6713539"/>
                  <a:pt x="948029" y="5494230"/>
                </a:cubicBezTo>
                <a:cubicBezTo>
                  <a:pt x="948029" y="5381667"/>
                  <a:pt x="1026573" y="5243309"/>
                  <a:pt x="1122700" y="5185855"/>
                </a:cubicBezTo>
                <a:cubicBezTo>
                  <a:pt x="1122719" y="5185844"/>
                  <a:pt x="1127232" y="5183128"/>
                  <a:pt x="2217614" y="4526892"/>
                </a:cubicBezTo>
                <a:cubicBezTo>
                  <a:pt x="2313742" y="4469438"/>
                  <a:pt x="2409869" y="4333424"/>
                  <a:pt x="2433315" y="4223206"/>
                </a:cubicBezTo>
                <a:cubicBezTo>
                  <a:pt x="2433318" y="4223192"/>
                  <a:pt x="2433954" y="4220138"/>
                  <a:pt x="2573989" y="3547828"/>
                </a:cubicBezTo>
                <a:cubicBezTo>
                  <a:pt x="2596262" y="3438783"/>
                  <a:pt x="2545854" y="3288699"/>
                  <a:pt x="2461449" y="3216002"/>
                </a:cubicBezTo>
                <a:cubicBezTo>
                  <a:pt x="2461438" y="3215993"/>
                  <a:pt x="2459581" y="3214371"/>
                  <a:pt x="2128521" y="2925214"/>
                </a:cubicBezTo>
                <a:cubicBezTo>
                  <a:pt x="2044116" y="2852517"/>
                  <a:pt x="1904614" y="2850172"/>
                  <a:pt x="1817865" y="2921697"/>
                </a:cubicBezTo>
                <a:cubicBezTo>
                  <a:pt x="1817853" y="2921707"/>
                  <a:pt x="1814998" y="2924053"/>
                  <a:pt x="1102771" y="3509135"/>
                </a:cubicBezTo>
                <a:cubicBezTo>
                  <a:pt x="1017194" y="3580659"/>
                  <a:pt x="946857" y="3730743"/>
                  <a:pt x="946857" y="3842134"/>
                </a:cubicBezTo>
                <a:cubicBezTo>
                  <a:pt x="946857" y="3842145"/>
                  <a:pt x="946857" y="3845670"/>
                  <a:pt x="946857" y="4995905"/>
                </a:cubicBezTo>
                <a:cubicBezTo>
                  <a:pt x="946857" y="5107295"/>
                  <a:pt x="860108" y="5228066"/>
                  <a:pt x="753430" y="5264414"/>
                </a:cubicBezTo>
                <a:cubicBezTo>
                  <a:pt x="753412" y="5264420"/>
                  <a:pt x="750175" y="5265507"/>
                  <a:pt x="146651" y="5468184"/>
                </a:cubicBezTo>
                <a:lnTo>
                  <a:pt x="0" y="5517432"/>
                </a:lnTo>
                <a:lnTo>
                  <a:pt x="0" y="3305712"/>
                </a:lnTo>
                <a:lnTo>
                  <a:pt x="96951" y="3327228"/>
                </a:lnTo>
                <a:cubicBezTo>
                  <a:pt x="255209" y="3362349"/>
                  <a:pt x="466220" y="3409177"/>
                  <a:pt x="747569" y="3471614"/>
                </a:cubicBezTo>
                <a:cubicBezTo>
                  <a:pt x="856591" y="3496237"/>
                  <a:pt x="1017194" y="3457543"/>
                  <a:pt x="1102771" y="3386019"/>
                </a:cubicBezTo>
                <a:cubicBezTo>
                  <a:pt x="1102784" y="3386009"/>
                  <a:pt x="1105685" y="3383597"/>
                  <a:pt x="1768629" y="2832584"/>
                </a:cubicBezTo>
                <a:cubicBezTo>
                  <a:pt x="1854206" y="2761060"/>
                  <a:pt x="1942127" y="2613321"/>
                  <a:pt x="1964400" y="2504275"/>
                </a:cubicBezTo>
                <a:cubicBezTo>
                  <a:pt x="1964403" y="2504262"/>
                  <a:pt x="1964982" y="2501309"/>
                  <a:pt x="2095697" y="1834760"/>
                </a:cubicBezTo>
                <a:cubicBezTo>
                  <a:pt x="2116797" y="1724542"/>
                  <a:pt x="2091007" y="1554525"/>
                  <a:pt x="2038254" y="1456033"/>
                </a:cubicBezTo>
                <a:cubicBezTo>
                  <a:pt x="2038251" y="1456027"/>
                  <a:pt x="2037470" y="1454557"/>
                  <a:pt x="1830760" y="1065579"/>
                </a:cubicBezTo>
                <a:cubicBezTo>
                  <a:pt x="1778007" y="967087"/>
                  <a:pt x="1644367" y="876802"/>
                  <a:pt x="1533000" y="866249"/>
                </a:cubicBezTo>
                <a:cubicBezTo>
                  <a:pt x="1532991" y="866248"/>
                  <a:pt x="1529527" y="865906"/>
                  <a:pt x="252897" y="739783"/>
                </a:cubicBezTo>
                <a:lnTo>
                  <a:pt x="0" y="714798"/>
                </a:lnTo>
                <a:close/>
                <a:moveTo>
                  <a:pt x="2916470" y="0"/>
                </a:moveTo>
                <a:lnTo>
                  <a:pt x="3205161" y="0"/>
                </a:lnTo>
                <a:lnTo>
                  <a:pt x="3205161" y="1095"/>
                </a:lnTo>
                <a:lnTo>
                  <a:pt x="5832941" y="1095"/>
                </a:lnTo>
                <a:lnTo>
                  <a:pt x="5832941" y="26517"/>
                </a:lnTo>
                <a:cubicBezTo>
                  <a:pt x="5832941" y="128773"/>
                  <a:pt x="5832941" y="362500"/>
                  <a:pt x="5832941" y="896735"/>
                </a:cubicBezTo>
                <a:cubicBezTo>
                  <a:pt x="5832941" y="1008125"/>
                  <a:pt x="5749709" y="1138277"/>
                  <a:pt x="5647720" y="1185178"/>
                </a:cubicBezTo>
                <a:cubicBezTo>
                  <a:pt x="5647705" y="1185185"/>
                  <a:pt x="5645028" y="1186430"/>
                  <a:pt x="5163566" y="1410304"/>
                </a:cubicBezTo>
                <a:cubicBezTo>
                  <a:pt x="5062750" y="1457205"/>
                  <a:pt x="4903319" y="1444307"/>
                  <a:pt x="4810708" y="1382163"/>
                </a:cubicBezTo>
                <a:cubicBezTo>
                  <a:pt x="4810695" y="1382154"/>
                  <a:pt x="4805643" y="1378788"/>
                  <a:pt x="2849670" y="75240"/>
                </a:cubicBezTo>
                <a:lnTo>
                  <a:pt x="2738416" y="1095"/>
                </a:lnTo>
                <a:lnTo>
                  <a:pt x="2916470" y="1095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159375" y="4292897"/>
            <a:ext cx="6408738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  <a:br>
              <a:rPr lang="en-US" noProof="0"/>
            </a:br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160000" y="3501080"/>
            <a:ext cx="6408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60000" y="2107718"/>
            <a:ext cx="6408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0" y="2"/>
            <a:ext cx="4165600" cy="5517125"/>
            <a:chOff x="0" y="2"/>
            <a:chExt cx="4165600" cy="5517125"/>
          </a:xfrm>
        </p:grpSpPr>
        <p:sp>
          <p:nvSpPr>
            <p:cNvPr id="20" name="Freeform 40"/>
            <p:cNvSpPr>
              <a:spLocks/>
            </p:cNvSpPr>
            <p:nvPr userDrawn="1"/>
          </p:nvSpPr>
          <p:spPr bwMode="gray">
            <a:xfrm>
              <a:off x="2244725" y="1631950"/>
              <a:ext cx="1920875" cy="1468438"/>
            </a:xfrm>
            <a:custGeom>
              <a:avLst/>
              <a:gdLst>
                <a:gd name="T0" fmla="*/ 658 w 1639"/>
                <a:gd name="T1" fmla="*/ 632 h 1252"/>
                <a:gd name="T2" fmla="*/ 1321 w 1639"/>
                <a:gd name="T3" fmla="*/ 959 h 1252"/>
                <a:gd name="T4" fmla="*/ 1553 w 1639"/>
                <a:gd name="T5" fmla="*/ 866 h 1252"/>
                <a:gd name="T6" fmla="*/ 1639 w 1639"/>
                <a:gd name="T7" fmla="*/ 631 h 1252"/>
                <a:gd name="T8" fmla="*/ 1639 w 1639"/>
                <a:gd name="T9" fmla="*/ 406 h 1252"/>
                <a:gd name="T10" fmla="*/ 1468 w 1639"/>
                <a:gd name="T11" fmla="*/ 204 h 1252"/>
                <a:gd name="T12" fmla="*/ 229 w 1639"/>
                <a:gd name="T13" fmla="*/ 0 h 1252"/>
                <a:gd name="T14" fmla="*/ 354 w 1639"/>
                <a:gd name="T15" fmla="*/ 133 h 1252"/>
                <a:gd name="T16" fmla="*/ 389 w 1639"/>
                <a:gd name="T17" fmla="*/ 280 h 1252"/>
                <a:gd name="T18" fmla="*/ 336 w 1639"/>
                <a:gd name="T19" fmla="*/ 624 h 1252"/>
                <a:gd name="T20" fmla="*/ 0 w 1639"/>
                <a:gd name="T21" fmla="*/ 1189 h 1252"/>
                <a:gd name="T22" fmla="*/ 72 w 1639"/>
                <a:gd name="T23" fmla="*/ 1252 h 1252"/>
                <a:gd name="T24" fmla="*/ 394 w 1639"/>
                <a:gd name="T25" fmla="*/ 710 h 1252"/>
                <a:gd name="T26" fmla="*/ 658 w 1639"/>
                <a:gd name="T27" fmla="*/ 632 h 1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39" h="1252">
                  <a:moveTo>
                    <a:pt x="658" y="632"/>
                  </a:moveTo>
                  <a:cubicBezTo>
                    <a:pt x="1321" y="959"/>
                    <a:pt x="1321" y="959"/>
                    <a:pt x="1321" y="959"/>
                  </a:cubicBezTo>
                  <a:cubicBezTo>
                    <a:pt x="1413" y="1005"/>
                    <a:pt x="1518" y="963"/>
                    <a:pt x="1553" y="866"/>
                  </a:cubicBezTo>
                  <a:cubicBezTo>
                    <a:pt x="1639" y="631"/>
                    <a:pt x="1639" y="631"/>
                    <a:pt x="1639" y="631"/>
                  </a:cubicBezTo>
                  <a:cubicBezTo>
                    <a:pt x="1639" y="406"/>
                    <a:pt x="1639" y="406"/>
                    <a:pt x="1639" y="406"/>
                  </a:cubicBezTo>
                  <a:cubicBezTo>
                    <a:pt x="1639" y="310"/>
                    <a:pt x="1562" y="220"/>
                    <a:pt x="1468" y="204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89" y="19"/>
                    <a:pt x="338" y="68"/>
                    <a:pt x="354" y="133"/>
                  </a:cubicBezTo>
                  <a:cubicBezTo>
                    <a:pt x="389" y="280"/>
                    <a:pt x="389" y="280"/>
                    <a:pt x="389" y="280"/>
                  </a:cubicBezTo>
                  <a:cubicBezTo>
                    <a:pt x="412" y="381"/>
                    <a:pt x="389" y="535"/>
                    <a:pt x="336" y="624"/>
                  </a:cubicBezTo>
                  <a:cubicBezTo>
                    <a:pt x="0" y="1189"/>
                    <a:pt x="0" y="1189"/>
                    <a:pt x="0" y="1189"/>
                  </a:cubicBezTo>
                  <a:cubicBezTo>
                    <a:pt x="72" y="1252"/>
                    <a:pt x="72" y="1252"/>
                    <a:pt x="72" y="1252"/>
                  </a:cubicBezTo>
                  <a:cubicBezTo>
                    <a:pt x="394" y="710"/>
                    <a:pt x="394" y="710"/>
                    <a:pt x="394" y="710"/>
                  </a:cubicBezTo>
                  <a:cubicBezTo>
                    <a:pt x="447" y="621"/>
                    <a:pt x="566" y="586"/>
                    <a:pt x="658" y="63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/>
            <p:nvPr userDrawn="1"/>
          </p:nvSpPr>
          <p:spPr bwMode="gray">
            <a:xfrm>
              <a:off x="1" y="3279574"/>
              <a:ext cx="1336675" cy="2237553"/>
            </a:xfrm>
            <a:custGeom>
              <a:avLst/>
              <a:gdLst>
                <a:gd name="connsiteX0" fmla="*/ 1232317 w 1336675"/>
                <a:gd name="connsiteY0" fmla="*/ 0 h 2237553"/>
                <a:gd name="connsiteX1" fmla="*/ 1336675 w 1336675"/>
                <a:gd name="connsiteY1" fmla="*/ 38681 h 2237553"/>
                <a:gd name="connsiteX2" fmla="*/ 1103335 w 1336675"/>
                <a:gd name="connsiteY2" fmla="*/ 230918 h 2237553"/>
                <a:gd name="connsiteX3" fmla="*/ 946211 w 1336675"/>
                <a:gd name="connsiteY3" fmla="*/ 562644 h 2237553"/>
                <a:gd name="connsiteX4" fmla="*/ 946211 w 1336675"/>
                <a:gd name="connsiteY4" fmla="*/ 1716064 h 2237553"/>
                <a:gd name="connsiteX5" fmla="*/ 753911 w 1336675"/>
                <a:gd name="connsiteY5" fmla="*/ 1984492 h 2237553"/>
                <a:gd name="connsiteX6" fmla="*/ 110565 w 1336675"/>
                <a:gd name="connsiteY6" fmla="*/ 2200440 h 2237553"/>
                <a:gd name="connsiteX7" fmla="*/ 0 w 1336675"/>
                <a:gd name="connsiteY7" fmla="*/ 2237553 h 2237553"/>
                <a:gd name="connsiteX8" fmla="*/ 0 w 1336675"/>
                <a:gd name="connsiteY8" fmla="*/ 26059 h 2237553"/>
                <a:gd name="connsiteX9" fmla="*/ 83039 w 1336675"/>
                <a:gd name="connsiteY9" fmla="*/ 44506 h 2237553"/>
                <a:gd name="connsiteX10" fmla="*/ 748048 w 1336675"/>
                <a:gd name="connsiteY10" fmla="*/ 192236 h 2237553"/>
                <a:gd name="connsiteX11" fmla="*/ 1103335 w 1336675"/>
                <a:gd name="connsiteY11" fmla="*/ 106668 h 2237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36675" h="2237553">
                  <a:moveTo>
                    <a:pt x="1232317" y="0"/>
                  </a:moveTo>
                  <a:cubicBezTo>
                    <a:pt x="1232317" y="0"/>
                    <a:pt x="1232317" y="0"/>
                    <a:pt x="1336675" y="38681"/>
                  </a:cubicBezTo>
                  <a:cubicBezTo>
                    <a:pt x="1336675" y="38681"/>
                    <a:pt x="1336675" y="38681"/>
                    <a:pt x="1103335" y="230918"/>
                  </a:cubicBezTo>
                  <a:cubicBezTo>
                    <a:pt x="1017738" y="301249"/>
                    <a:pt x="946211" y="451287"/>
                    <a:pt x="946211" y="562644"/>
                  </a:cubicBezTo>
                  <a:cubicBezTo>
                    <a:pt x="946211" y="562644"/>
                    <a:pt x="946211" y="562644"/>
                    <a:pt x="946211" y="1716064"/>
                  </a:cubicBezTo>
                  <a:cubicBezTo>
                    <a:pt x="946211" y="1828593"/>
                    <a:pt x="859442" y="1948155"/>
                    <a:pt x="753911" y="1984492"/>
                  </a:cubicBezTo>
                  <a:cubicBezTo>
                    <a:pt x="753911" y="1984492"/>
                    <a:pt x="753911" y="1984492"/>
                    <a:pt x="110565" y="2200440"/>
                  </a:cubicBezTo>
                  <a:lnTo>
                    <a:pt x="0" y="2237553"/>
                  </a:lnTo>
                  <a:lnTo>
                    <a:pt x="0" y="26059"/>
                  </a:lnTo>
                  <a:lnTo>
                    <a:pt x="83039" y="44506"/>
                  </a:lnTo>
                  <a:cubicBezTo>
                    <a:pt x="244798" y="80440"/>
                    <a:pt x="460477" y="128353"/>
                    <a:pt x="748048" y="192236"/>
                  </a:cubicBezTo>
                  <a:cubicBezTo>
                    <a:pt x="857096" y="216852"/>
                    <a:pt x="1016565" y="178170"/>
                    <a:pt x="1103335" y="106668"/>
                  </a:cubicBez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4" name="Freihandform 13"/>
            <p:cNvSpPr/>
            <p:nvPr userDrawn="1"/>
          </p:nvSpPr>
          <p:spPr bwMode="gray">
            <a:xfrm>
              <a:off x="0" y="2"/>
              <a:ext cx="1614244" cy="883735"/>
            </a:xfrm>
            <a:custGeom>
              <a:avLst/>
              <a:gdLst>
                <a:gd name="connsiteX0" fmla="*/ 0 w 1614244"/>
                <a:gd name="connsiteY0" fmla="*/ 0 h 883735"/>
                <a:gd name="connsiteX1" fmla="*/ 827794 w 1614244"/>
                <a:gd name="connsiteY1" fmla="*/ 0 h 883735"/>
                <a:gd name="connsiteX2" fmla="*/ 1088662 w 1614244"/>
                <a:gd name="connsiteY2" fmla="*/ 95411 h 883735"/>
                <a:gd name="connsiteX3" fmla="*/ 1413677 w 1614244"/>
                <a:gd name="connsiteY3" fmla="*/ 214283 h 883735"/>
                <a:gd name="connsiteX4" fmla="*/ 1614145 w 1614244"/>
                <a:gd name="connsiteY4" fmla="*/ 509733 h 883735"/>
                <a:gd name="connsiteX5" fmla="*/ 1604767 w 1614244"/>
                <a:gd name="connsiteY5" fmla="*/ 883735 h 883735"/>
                <a:gd name="connsiteX6" fmla="*/ 1532082 w 1614244"/>
                <a:gd name="connsiteY6" fmla="*/ 867321 h 883735"/>
                <a:gd name="connsiteX7" fmla="*/ 54021 w 1614244"/>
                <a:gd name="connsiteY7" fmla="*/ 721231 h 883735"/>
                <a:gd name="connsiteX8" fmla="*/ 0 w 1614244"/>
                <a:gd name="connsiteY8" fmla="*/ 715892 h 883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4244" h="883735">
                  <a:moveTo>
                    <a:pt x="0" y="0"/>
                  </a:moveTo>
                  <a:lnTo>
                    <a:pt x="827794" y="0"/>
                  </a:lnTo>
                  <a:lnTo>
                    <a:pt x="1088662" y="95411"/>
                  </a:lnTo>
                  <a:cubicBezTo>
                    <a:pt x="1190088" y="132507"/>
                    <a:pt x="1298277" y="172076"/>
                    <a:pt x="1413677" y="214283"/>
                  </a:cubicBezTo>
                  <a:cubicBezTo>
                    <a:pt x="1527393" y="256490"/>
                    <a:pt x="1617662" y="388974"/>
                    <a:pt x="1614145" y="509733"/>
                  </a:cubicBezTo>
                  <a:cubicBezTo>
                    <a:pt x="1614145" y="509733"/>
                    <a:pt x="1614145" y="509733"/>
                    <a:pt x="1604767" y="883735"/>
                  </a:cubicBezTo>
                  <a:cubicBezTo>
                    <a:pt x="1580148" y="875528"/>
                    <a:pt x="1555529" y="869666"/>
                    <a:pt x="1532082" y="867321"/>
                  </a:cubicBezTo>
                  <a:cubicBezTo>
                    <a:pt x="1532082" y="867321"/>
                    <a:pt x="1532082" y="867321"/>
                    <a:pt x="54021" y="721231"/>
                  </a:cubicBezTo>
                  <a:lnTo>
                    <a:pt x="0" y="715892"/>
                  </a:lnTo>
                  <a:close/>
                </a:path>
              </a:pathLst>
            </a:cu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indent="0" algn="ctr">
                <a:spcBef>
                  <a:spcPts val="300"/>
                </a:spcBef>
                <a:spcAft>
                  <a:spcPts val="300"/>
                </a:spcAft>
                <a:buClr>
                  <a:schemeClr val="bg1"/>
                </a:buClr>
                <a:buSzPct val="100000"/>
                <a:buFont typeface="Arial" panose="020B0604020202020204" pitchFamily="34" charset="0"/>
                <a:buNone/>
              </a:pPr>
              <a:endParaRPr lang="en-US" sz="1400" kern="0">
                <a:solidFill>
                  <a:srgbClr val="FFFFFF"/>
                </a:solidFill>
                <a:latin typeface="Verdana"/>
              </a:endParaRPr>
            </a:p>
          </p:txBody>
        </p:sp>
      </p:grp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271744" y="5271235"/>
            <a:ext cx="2520000" cy="1254109"/>
          </a:xfrm>
          <a:prstGeom prst="rect">
            <a:avLst/>
          </a:prstGeom>
        </p:spPr>
      </p:pic>
      <p:grpSp>
        <p:nvGrpSpPr>
          <p:cNvPr id="13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15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87305517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906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Freeform 15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028369 w 12192000"/>
              <a:gd name="connsiteY0" fmla="*/ 0 h 6858000"/>
              <a:gd name="connsiteX1" fmla="*/ 6019945 w 12192000"/>
              <a:gd name="connsiteY1" fmla="*/ 0 h 6858000"/>
              <a:gd name="connsiteX2" fmla="*/ 6010517 w 12192000"/>
              <a:gd name="connsiteY2" fmla="*/ 24413 h 6858000"/>
              <a:gd name="connsiteX3" fmla="*/ 5988728 w 12192000"/>
              <a:gd name="connsiteY3" fmla="*/ 542902 h 6858000"/>
              <a:gd name="connsiteX4" fmla="*/ 8283293 w 12192000"/>
              <a:gd name="connsiteY4" fmla="*/ 2994229 h 6858000"/>
              <a:gd name="connsiteX5" fmla="*/ 11934313 w 12192000"/>
              <a:gd name="connsiteY5" fmla="*/ 4275389 h 6858000"/>
              <a:gd name="connsiteX6" fmla="*/ 12139920 w 12192000"/>
              <a:gd name="connsiteY6" fmla="*/ 4248830 h 6858000"/>
              <a:gd name="connsiteX7" fmla="*/ 12192000 w 12192000"/>
              <a:gd name="connsiteY7" fmla="*/ 4238176 h 6858000"/>
              <a:gd name="connsiteX8" fmla="*/ 12192000 w 12192000"/>
              <a:gd name="connsiteY8" fmla="*/ 4877795 h 6858000"/>
              <a:gd name="connsiteX9" fmla="*/ 12173693 w 12192000"/>
              <a:gd name="connsiteY9" fmla="*/ 4890450 h 6858000"/>
              <a:gd name="connsiteX10" fmla="*/ 11823388 w 12192000"/>
              <a:gd name="connsiteY10" fmla="*/ 5651684 h 6858000"/>
              <a:gd name="connsiteX11" fmla="*/ 12181381 w 12192000"/>
              <a:gd name="connsiteY11" fmla="*/ 6745688 h 6858000"/>
              <a:gd name="connsiteX12" fmla="*/ 12192000 w 12192000"/>
              <a:gd name="connsiteY12" fmla="*/ 6767229 h 6858000"/>
              <a:gd name="connsiteX13" fmla="*/ 12192000 w 12192000"/>
              <a:gd name="connsiteY13" fmla="*/ 6858000 h 6858000"/>
              <a:gd name="connsiteX14" fmla="*/ 11748516 w 12192000"/>
              <a:gd name="connsiteY14" fmla="*/ 6858000 h 6858000"/>
              <a:gd name="connsiteX15" fmla="*/ 11744223 w 12192000"/>
              <a:gd name="connsiteY15" fmla="*/ 6845586 h 6858000"/>
              <a:gd name="connsiteX16" fmla="*/ 11424057 w 12192000"/>
              <a:gd name="connsiteY16" fmla="*/ 5987830 h 6858000"/>
              <a:gd name="connsiteX17" fmla="*/ 8644592 w 12192000"/>
              <a:gd name="connsiteY17" fmla="*/ 3856792 h 6858000"/>
              <a:gd name="connsiteX18" fmla="*/ 5459457 w 12192000"/>
              <a:gd name="connsiteY18" fmla="*/ 4687643 h 6858000"/>
              <a:gd name="connsiteX19" fmla="*/ 4527600 w 12192000"/>
              <a:gd name="connsiteY19" fmla="*/ 6636628 h 6858000"/>
              <a:gd name="connsiteX20" fmla="*/ 4523380 w 12192000"/>
              <a:gd name="connsiteY20" fmla="*/ 6858000 h 6858000"/>
              <a:gd name="connsiteX21" fmla="*/ 4101261 w 12192000"/>
              <a:gd name="connsiteY21" fmla="*/ 6858000 h 6858000"/>
              <a:gd name="connsiteX22" fmla="*/ 4129024 w 12192000"/>
              <a:gd name="connsiteY22" fmla="*/ 6686756 h 6858000"/>
              <a:gd name="connsiteX23" fmla="*/ 5583060 w 12192000"/>
              <a:gd name="connsiteY23" fmla="*/ 860020 h 6858000"/>
              <a:gd name="connsiteX24" fmla="*/ 3662471 w 12192000"/>
              <a:gd name="connsiteY24" fmla="*/ 270180 h 6858000"/>
              <a:gd name="connsiteX25" fmla="*/ 198439 w 12192000"/>
              <a:gd name="connsiteY25" fmla="*/ 2486840 h 6858000"/>
              <a:gd name="connsiteX26" fmla="*/ 0 w 12192000"/>
              <a:gd name="connsiteY26" fmla="*/ 2850498 h 6858000"/>
              <a:gd name="connsiteX27" fmla="*/ 0 w 12192000"/>
              <a:gd name="connsiteY27" fmla="*/ 651095 h 6858000"/>
              <a:gd name="connsiteX28" fmla="*/ 13333 w 12192000"/>
              <a:gd name="connsiteY28" fmla="*/ 659740 h 6858000"/>
              <a:gd name="connsiteX29" fmla="*/ 1529540 w 12192000"/>
              <a:gd name="connsiteY29" fmla="*/ 571443 h 6858000"/>
              <a:gd name="connsiteX30" fmla="*/ 2758320 w 12192000"/>
              <a:gd name="connsiteY30" fmla="*/ 1001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192000" h="6858000">
                <a:moveTo>
                  <a:pt x="3028369" y="0"/>
                </a:moveTo>
                <a:lnTo>
                  <a:pt x="6019945" y="0"/>
                </a:lnTo>
                <a:lnTo>
                  <a:pt x="6010517" y="24413"/>
                </a:lnTo>
                <a:cubicBezTo>
                  <a:pt x="5959413" y="184558"/>
                  <a:pt x="5947528" y="357387"/>
                  <a:pt x="5988728" y="542902"/>
                </a:cubicBezTo>
                <a:cubicBezTo>
                  <a:pt x="6483137" y="1684529"/>
                  <a:pt x="7269121" y="2328280"/>
                  <a:pt x="8283293" y="2994229"/>
                </a:cubicBezTo>
                <a:cubicBezTo>
                  <a:pt x="9376697" y="3714089"/>
                  <a:pt x="10672936" y="4269046"/>
                  <a:pt x="11934313" y="4275389"/>
                </a:cubicBezTo>
                <a:cubicBezTo>
                  <a:pt x="11977098" y="4275389"/>
                  <a:pt x="12048407" y="4265875"/>
                  <a:pt x="12139920" y="4248830"/>
                </a:cubicBezTo>
                <a:lnTo>
                  <a:pt x="12192000" y="4238176"/>
                </a:lnTo>
                <a:lnTo>
                  <a:pt x="12192000" y="4877795"/>
                </a:lnTo>
                <a:lnTo>
                  <a:pt x="12173693" y="4890450"/>
                </a:lnTo>
                <a:cubicBezTo>
                  <a:pt x="11925003" y="5082654"/>
                  <a:pt x="11809126" y="5309196"/>
                  <a:pt x="11823388" y="5651684"/>
                </a:cubicBezTo>
                <a:cubicBezTo>
                  <a:pt x="11831707" y="5818171"/>
                  <a:pt x="11946792" y="6244448"/>
                  <a:pt x="12181381" y="6745688"/>
                </a:cubicBezTo>
                <a:lnTo>
                  <a:pt x="12192000" y="6767229"/>
                </a:lnTo>
                <a:lnTo>
                  <a:pt x="12192000" y="6858000"/>
                </a:lnTo>
                <a:lnTo>
                  <a:pt x="11748516" y="6858000"/>
                </a:lnTo>
                <a:lnTo>
                  <a:pt x="11744223" y="6845586"/>
                </a:lnTo>
                <a:cubicBezTo>
                  <a:pt x="11639321" y="6545909"/>
                  <a:pt x="11479520" y="6112695"/>
                  <a:pt x="11424057" y="5987830"/>
                </a:cubicBezTo>
                <a:cubicBezTo>
                  <a:pt x="10920140" y="4849374"/>
                  <a:pt x="9953508" y="3920216"/>
                  <a:pt x="8644592" y="3856792"/>
                </a:cubicBezTo>
                <a:cubicBezTo>
                  <a:pt x="7446601" y="3799711"/>
                  <a:pt x="6365874" y="3986811"/>
                  <a:pt x="5459457" y="4687643"/>
                </a:cubicBezTo>
                <a:cubicBezTo>
                  <a:pt x="4849369" y="5159357"/>
                  <a:pt x="4574137" y="5876293"/>
                  <a:pt x="4527600" y="6636628"/>
                </a:cubicBezTo>
                <a:lnTo>
                  <a:pt x="4523380" y="6858000"/>
                </a:lnTo>
                <a:lnTo>
                  <a:pt x="4101261" y="6858000"/>
                </a:lnTo>
                <a:lnTo>
                  <a:pt x="4129024" y="6686756"/>
                </a:lnTo>
                <a:cubicBezTo>
                  <a:pt x="4619962" y="3869418"/>
                  <a:pt x="5877804" y="2678696"/>
                  <a:pt x="5583060" y="860020"/>
                </a:cubicBezTo>
                <a:cubicBezTo>
                  <a:pt x="5434103" y="-59624"/>
                  <a:pt x="4099833" y="127476"/>
                  <a:pt x="3662471" y="270180"/>
                </a:cubicBezTo>
                <a:cubicBezTo>
                  <a:pt x="1529540" y="980525"/>
                  <a:pt x="1031962" y="1034436"/>
                  <a:pt x="198439" y="2486840"/>
                </a:cubicBezTo>
                <a:lnTo>
                  <a:pt x="0" y="2850498"/>
                </a:lnTo>
                <a:lnTo>
                  <a:pt x="0" y="651095"/>
                </a:lnTo>
                <a:lnTo>
                  <a:pt x="13333" y="659740"/>
                </a:lnTo>
                <a:cubicBezTo>
                  <a:pt x="306591" y="810471"/>
                  <a:pt x="766534" y="821173"/>
                  <a:pt x="1529540" y="571443"/>
                </a:cubicBezTo>
                <a:cubicBezTo>
                  <a:pt x="1798930" y="482253"/>
                  <a:pt x="2293636" y="276621"/>
                  <a:pt x="2758320" y="10010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49336 w 12160800"/>
              <a:gd name="connsiteY0" fmla="*/ 0 h 6858000"/>
              <a:gd name="connsiteX1" fmla="*/ 2343649 w 12160800"/>
              <a:gd name="connsiteY1" fmla="*/ 0 h 6858000"/>
              <a:gd name="connsiteX2" fmla="*/ 2362300 w 12160800"/>
              <a:gd name="connsiteY2" fmla="*/ 74444 h 6858000"/>
              <a:gd name="connsiteX3" fmla="*/ 3066495 w 12160800"/>
              <a:gd name="connsiteY3" fmla="*/ 1483638 h 6858000"/>
              <a:gd name="connsiteX4" fmla="*/ 3887362 w 12160800"/>
              <a:gd name="connsiteY4" fmla="*/ 1569259 h 6858000"/>
              <a:gd name="connsiteX5" fmla="*/ 4635346 w 12160800"/>
              <a:gd name="connsiteY5" fmla="*/ 56135 h 6858000"/>
              <a:gd name="connsiteX6" fmla="*/ 4613106 w 12160800"/>
              <a:gd name="connsiteY6" fmla="*/ 0 h 6858000"/>
              <a:gd name="connsiteX7" fmla="*/ 12160800 w 12160800"/>
              <a:gd name="connsiteY7" fmla="*/ 0 h 6858000"/>
              <a:gd name="connsiteX8" fmla="*/ 12160800 w 12160800"/>
              <a:gd name="connsiteY8" fmla="*/ 6858000 h 6858000"/>
              <a:gd name="connsiteX9" fmla="*/ 6255540 w 12160800"/>
              <a:gd name="connsiteY9" fmla="*/ 6858000 h 6858000"/>
              <a:gd name="connsiteX10" fmla="*/ 6191495 w 12160800"/>
              <a:gd name="connsiteY10" fmla="*/ 6468735 h 6858000"/>
              <a:gd name="connsiteX11" fmla="*/ 5449862 w 12160800"/>
              <a:gd name="connsiteY11" fmla="*/ 4474062 h 6858000"/>
              <a:gd name="connsiteX12" fmla="*/ 4895222 w 12160800"/>
              <a:gd name="connsiteY12" fmla="*/ 3322923 h 6858000"/>
              <a:gd name="connsiteX13" fmla="*/ 2527702 w 12160800"/>
              <a:gd name="connsiteY13" fmla="*/ 2714056 h 6858000"/>
              <a:gd name="connsiteX14" fmla="*/ 870120 w 12160800"/>
              <a:gd name="connsiteY14" fmla="*/ 4667504 h 6858000"/>
              <a:gd name="connsiteX15" fmla="*/ 677253 w 12160800"/>
              <a:gd name="connsiteY15" fmla="*/ 6722405 h 6858000"/>
              <a:gd name="connsiteX16" fmla="*/ 731247 w 12160800"/>
              <a:gd name="connsiteY16" fmla="*/ 6858000 h 6858000"/>
              <a:gd name="connsiteX17" fmla="*/ 0 w 12160800"/>
              <a:gd name="connsiteY17" fmla="*/ 6858000 h 6858000"/>
              <a:gd name="connsiteX18" fmla="*/ 0 w 12160800"/>
              <a:gd name="connsiteY18" fmla="*/ 4583499 h 6858000"/>
              <a:gd name="connsiteX19" fmla="*/ 125318 w 12160800"/>
              <a:gd name="connsiteY19" fmla="*/ 4534314 h 6858000"/>
              <a:gd name="connsiteX20" fmla="*/ 2207595 w 12160800"/>
              <a:gd name="connsiteY20" fmla="*/ 2580866 h 6858000"/>
              <a:gd name="connsiteX21" fmla="*/ 2404096 w 12160800"/>
              <a:gd name="connsiteY21" fmla="*/ 674986 h 6858000"/>
              <a:gd name="connsiteX22" fmla="*/ 1418422 w 12160800"/>
              <a:gd name="connsiteY22" fmla="*/ 9038 h 6858000"/>
              <a:gd name="connsiteX23" fmla="*/ 88715 w 12160800"/>
              <a:gd name="connsiteY23" fmla="*/ 380165 h 6858000"/>
              <a:gd name="connsiteX24" fmla="*/ 0 w 12160800"/>
              <a:gd name="connsiteY24" fmla="*/ 432649 h 6858000"/>
              <a:gd name="connsiteX25" fmla="*/ 0 w 12160800"/>
              <a:gd name="connsiteY25" fmla="*/ 218659 h 6858000"/>
              <a:gd name="connsiteX26" fmla="*/ 3446 w 12160800"/>
              <a:gd name="connsiteY26" fmla="*/ 216602 h 6858000"/>
              <a:gd name="connsiteX27" fmla="*/ 331723 w 12160800"/>
              <a:gd name="connsiteY27" fmla="*/ 118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2160800" h="6858000">
                <a:moveTo>
                  <a:pt x="349336" y="0"/>
                </a:moveTo>
                <a:lnTo>
                  <a:pt x="2343649" y="0"/>
                </a:lnTo>
                <a:lnTo>
                  <a:pt x="2362300" y="74444"/>
                </a:lnTo>
                <a:cubicBezTo>
                  <a:pt x="2552462" y="724338"/>
                  <a:pt x="2869202" y="1267204"/>
                  <a:pt x="3066495" y="1483638"/>
                </a:cubicBezTo>
                <a:cubicBezTo>
                  <a:pt x="3180592" y="1610485"/>
                  <a:pt x="3510207" y="1750017"/>
                  <a:pt x="3887362" y="1569259"/>
                </a:cubicBezTo>
                <a:cubicBezTo>
                  <a:pt x="4392085" y="1325078"/>
                  <a:pt x="4857982" y="738559"/>
                  <a:pt x="4635346" y="56135"/>
                </a:cubicBezTo>
                <a:lnTo>
                  <a:pt x="4613106" y="0"/>
                </a:lnTo>
                <a:lnTo>
                  <a:pt x="12160800" y="0"/>
                </a:lnTo>
                <a:lnTo>
                  <a:pt x="12160800" y="6858000"/>
                </a:lnTo>
                <a:lnTo>
                  <a:pt x="6255540" y="6858000"/>
                </a:lnTo>
                <a:lnTo>
                  <a:pt x="6191495" y="6468735"/>
                </a:lnTo>
                <a:cubicBezTo>
                  <a:pt x="6052043" y="5780588"/>
                  <a:pt x="5760461" y="5120983"/>
                  <a:pt x="5449862" y="4474062"/>
                </a:cubicBezTo>
                <a:cubicBezTo>
                  <a:pt x="5430846" y="4436007"/>
                  <a:pt x="5120248" y="3808114"/>
                  <a:pt x="4895222" y="3322923"/>
                </a:cubicBezTo>
                <a:cubicBezTo>
                  <a:pt x="4473696" y="2409622"/>
                  <a:pt x="3082342" y="2162270"/>
                  <a:pt x="2527702" y="2714056"/>
                </a:cubicBezTo>
                <a:cubicBezTo>
                  <a:pt x="2042788" y="3199247"/>
                  <a:pt x="1082468" y="4302818"/>
                  <a:pt x="870120" y="4667504"/>
                </a:cubicBezTo>
                <a:cubicBezTo>
                  <a:pt x="495738" y="5314028"/>
                  <a:pt x="439234" y="6018823"/>
                  <a:pt x="677253" y="6722405"/>
                </a:cubicBezTo>
                <a:lnTo>
                  <a:pt x="731247" y="6858000"/>
                </a:lnTo>
                <a:lnTo>
                  <a:pt x="0" y="6858000"/>
                </a:lnTo>
                <a:lnTo>
                  <a:pt x="0" y="4583499"/>
                </a:lnTo>
                <a:lnTo>
                  <a:pt x="125318" y="4534314"/>
                </a:lnTo>
                <a:cubicBezTo>
                  <a:pt x="1028589" y="4156944"/>
                  <a:pt x="1789238" y="3465626"/>
                  <a:pt x="2207595" y="2580866"/>
                </a:cubicBezTo>
                <a:cubicBezTo>
                  <a:pt x="2473823" y="2010054"/>
                  <a:pt x="2679832" y="1299709"/>
                  <a:pt x="2404096" y="674986"/>
                </a:cubicBezTo>
                <a:cubicBezTo>
                  <a:pt x="2229781" y="288102"/>
                  <a:pt x="1843118" y="18552"/>
                  <a:pt x="1418422" y="9038"/>
                </a:cubicBezTo>
                <a:cubicBezTo>
                  <a:pt x="966390" y="-4836"/>
                  <a:pt x="516785" y="141534"/>
                  <a:pt x="88715" y="380165"/>
                </a:cubicBezTo>
                <a:lnTo>
                  <a:pt x="0" y="432649"/>
                </a:lnTo>
                <a:lnTo>
                  <a:pt x="0" y="218659"/>
                </a:lnTo>
                <a:lnTo>
                  <a:pt x="3446" y="216602"/>
                </a:lnTo>
                <a:cubicBezTo>
                  <a:pt x="117494" y="147282"/>
                  <a:pt x="227332" y="79002"/>
                  <a:pt x="331723" y="1181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808663" y="3501000"/>
            <a:ext cx="5759450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</a:p>
          <a:p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807692" y="2709681"/>
            <a:ext cx="5760420" cy="647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807692" y="1316405"/>
            <a:ext cx="5760420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983432" y="5070131"/>
            <a:ext cx="2880000" cy="1455213"/>
          </a:xfrm>
          <a:prstGeom prst="rect">
            <a:avLst/>
          </a:prstGeom>
        </p:spPr>
      </p:pic>
      <p:grpSp>
        <p:nvGrpSpPr>
          <p:cNvPr id="11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1"/>
          </a:solidFill>
        </p:grpSpPr>
        <p:sp>
          <p:nvSpPr>
            <p:cNvPr id="12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4199665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ynthe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55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1" y="1885410"/>
            <a:ext cx="1552255" cy="1502862"/>
            <a:chOff x="1" y="1885410"/>
            <a:chExt cx="1552255" cy="1502862"/>
          </a:xfrm>
        </p:grpSpPr>
        <p:sp>
          <p:nvSpPr>
            <p:cNvPr id="8" name="Rectangle 2"/>
            <p:cNvSpPr/>
            <p:nvPr userDrawn="1"/>
          </p:nvSpPr>
          <p:spPr bwMode="gray">
            <a:xfrm>
              <a:off x="1" y="1885410"/>
              <a:ext cx="1552255" cy="818268"/>
            </a:xfrm>
            <a:custGeom>
              <a:avLst/>
              <a:gdLst/>
              <a:ahLst/>
              <a:cxnLst/>
              <a:rect l="l" t="t" r="r" b="b"/>
              <a:pathLst>
                <a:path w="1552255" h="818268">
                  <a:moveTo>
                    <a:pt x="876974" y="0"/>
                  </a:moveTo>
                  <a:lnTo>
                    <a:pt x="891654" y="0"/>
                  </a:lnTo>
                  <a:lnTo>
                    <a:pt x="891959" y="0"/>
                  </a:lnTo>
                  <a:lnTo>
                    <a:pt x="992885" y="327"/>
                  </a:lnTo>
                  <a:lnTo>
                    <a:pt x="1100691" y="573"/>
                  </a:lnTo>
                  <a:cubicBezTo>
                    <a:pt x="1118277" y="573"/>
                    <a:pt x="1139838" y="12929"/>
                    <a:pt x="1148401" y="28230"/>
                  </a:cubicBezTo>
                  <a:lnTo>
                    <a:pt x="1260184" y="222241"/>
                  </a:lnTo>
                  <a:cubicBezTo>
                    <a:pt x="1268747" y="237460"/>
                    <a:pt x="1268747" y="262172"/>
                    <a:pt x="1259878" y="277473"/>
                  </a:cubicBezTo>
                  <a:lnTo>
                    <a:pt x="1184795" y="406759"/>
                  </a:lnTo>
                  <a:cubicBezTo>
                    <a:pt x="1179443" y="416169"/>
                    <a:pt x="1173938" y="425579"/>
                    <a:pt x="1168586" y="434989"/>
                  </a:cubicBezTo>
                  <a:cubicBezTo>
                    <a:pt x="1166445" y="438753"/>
                    <a:pt x="1164305" y="442435"/>
                    <a:pt x="1162164" y="446200"/>
                  </a:cubicBezTo>
                  <a:cubicBezTo>
                    <a:pt x="1153295" y="461419"/>
                    <a:pt x="1160329" y="473775"/>
                    <a:pt x="1177761" y="473775"/>
                  </a:cubicBezTo>
                  <a:lnTo>
                    <a:pt x="1439402" y="474675"/>
                  </a:lnTo>
                  <a:cubicBezTo>
                    <a:pt x="1456682" y="474675"/>
                    <a:pt x="1478243" y="487276"/>
                    <a:pt x="1487112" y="502578"/>
                  </a:cubicBezTo>
                  <a:lnTo>
                    <a:pt x="1552255" y="616398"/>
                  </a:lnTo>
                  <a:cubicBezTo>
                    <a:pt x="1561124" y="631618"/>
                    <a:pt x="1561124" y="656330"/>
                    <a:pt x="1552255" y="671631"/>
                  </a:cubicBezTo>
                  <a:lnTo>
                    <a:pt x="1486042" y="785124"/>
                  </a:lnTo>
                  <a:cubicBezTo>
                    <a:pt x="1477632" y="800344"/>
                    <a:pt x="1455917" y="812700"/>
                    <a:pt x="1438485" y="812700"/>
                  </a:cubicBezTo>
                  <a:lnTo>
                    <a:pt x="1307129" y="812127"/>
                  </a:lnTo>
                  <a:cubicBezTo>
                    <a:pt x="1289544" y="812127"/>
                    <a:pt x="1267982" y="799771"/>
                    <a:pt x="1259419" y="784470"/>
                  </a:cubicBezTo>
                  <a:lnTo>
                    <a:pt x="1193971" y="670731"/>
                  </a:lnTo>
                  <a:cubicBezTo>
                    <a:pt x="1185407" y="655430"/>
                    <a:pt x="1185407" y="630800"/>
                    <a:pt x="1194276" y="615498"/>
                  </a:cubicBezTo>
                  <a:lnTo>
                    <a:pt x="1245656" y="526717"/>
                  </a:lnTo>
                  <a:cubicBezTo>
                    <a:pt x="1254526" y="511497"/>
                    <a:pt x="1247491" y="499059"/>
                    <a:pt x="1229753" y="499059"/>
                  </a:cubicBezTo>
                  <a:lnTo>
                    <a:pt x="986615" y="498159"/>
                  </a:lnTo>
                  <a:lnTo>
                    <a:pt x="890736" y="498159"/>
                  </a:lnTo>
                  <a:cubicBezTo>
                    <a:pt x="890430" y="498159"/>
                    <a:pt x="889971" y="497914"/>
                    <a:pt x="889666" y="497914"/>
                  </a:cubicBezTo>
                  <a:lnTo>
                    <a:pt x="875903" y="497914"/>
                  </a:lnTo>
                  <a:cubicBezTo>
                    <a:pt x="858318" y="497914"/>
                    <a:pt x="836756" y="485231"/>
                    <a:pt x="828193" y="470256"/>
                  </a:cubicBezTo>
                  <a:lnTo>
                    <a:pt x="821312" y="458473"/>
                  </a:lnTo>
                  <a:lnTo>
                    <a:pt x="744700" y="325096"/>
                  </a:lnTo>
                  <a:cubicBezTo>
                    <a:pt x="731702" y="302676"/>
                    <a:pt x="710600" y="302676"/>
                    <a:pt x="697602" y="325096"/>
                  </a:cubicBezTo>
                  <a:lnTo>
                    <a:pt x="434279" y="777760"/>
                  </a:lnTo>
                  <a:cubicBezTo>
                    <a:pt x="421128" y="800344"/>
                    <a:pt x="389321" y="818591"/>
                    <a:pt x="363325" y="818264"/>
                  </a:cubicBezTo>
                  <a:lnTo>
                    <a:pt x="0" y="818035"/>
                  </a:lnTo>
                  <a:lnTo>
                    <a:pt x="0" y="86319"/>
                  </a:lnTo>
                  <a:lnTo>
                    <a:pt x="17274" y="81417"/>
                  </a:lnTo>
                  <a:cubicBezTo>
                    <a:pt x="65443" y="78717"/>
                    <a:pt x="234569" y="81581"/>
                    <a:pt x="343140" y="81663"/>
                  </a:cubicBezTo>
                  <a:lnTo>
                    <a:pt x="365160" y="81663"/>
                  </a:lnTo>
                  <a:cubicBezTo>
                    <a:pt x="391003" y="81990"/>
                    <a:pt x="422810" y="100156"/>
                    <a:pt x="435655" y="122903"/>
                  </a:cubicBezTo>
                  <a:lnTo>
                    <a:pt x="579856" y="373047"/>
                  </a:lnTo>
                  <a:cubicBezTo>
                    <a:pt x="592395" y="395303"/>
                    <a:pt x="613650" y="395303"/>
                    <a:pt x="626801" y="373047"/>
                  </a:cubicBezTo>
                  <a:lnTo>
                    <a:pt x="810608" y="59324"/>
                  </a:lnTo>
                  <a:lnTo>
                    <a:pt x="829111" y="27330"/>
                  </a:lnTo>
                  <a:cubicBezTo>
                    <a:pt x="837827" y="12356"/>
                    <a:pt x="859388" y="0"/>
                    <a:pt x="876974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9" name="Freeform 37"/>
            <p:cNvSpPr>
              <a:spLocks/>
            </p:cNvSpPr>
            <p:nvPr userDrawn="1"/>
          </p:nvSpPr>
          <p:spPr bwMode="gray">
            <a:xfrm>
              <a:off x="495022" y="2449806"/>
              <a:ext cx="853273" cy="938466"/>
            </a:xfrm>
            <a:custGeom>
              <a:avLst/>
              <a:gdLst>
                <a:gd name="T0" fmla="*/ 2900 w 2953"/>
                <a:gd name="T1" fmla="*/ 2800 h 2900"/>
                <a:gd name="T2" fmla="*/ 2620 w 2953"/>
                <a:gd name="T3" fmla="*/ 2639 h 2900"/>
                <a:gd name="T4" fmla="*/ 1478 w 2953"/>
                <a:gd name="T5" fmla="*/ 2637 h 2900"/>
                <a:gd name="T6" fmla="*/ 1385 w 2953"/>
                <a:gd name="T7" fmla="*/ 2476 h 2900"/>
                <a:gd name="T8" fmla="*/ 2148 w 2953"/>
                <a:gd name="T9" fmla="*/ 1150 h 2900"/>
                <a:gd name="T10" fmla="*/ 2148 w 2953"/>
                <a:gd name="T11" fmla="*/ 828 h 2900"/>
                <a:gd name="T12" fmla="*/ 1764 w 2953"/>
                <a:gd name="T13" fmla="*/ 162 h 2900"/>
                <a:gd name="T14" fmla="*/ 1485 w 2953"/>
                <a:gd name="T15" fmla="*/ 0 h 2900"/>
                <a:gd name="T16" fmla="*/ 715 w 2953"/>
                <a:gd name="T17" fmla="*/ 0 h 2900"/>
                <a:gd name="T18" fmla="*/ 436 w 2953"/>
                <a:gd name="T19" fmla="*/ 161 h 2900"/>
                <a:gd name="T20" fmla="*/ 51 w 2953"/>
                <a:gd name="T21" fmla="*/ 827 h 2900"/>
                <a:gd name="T22" fmla="*/ 51 w 2953"/>
                <a:gd name="T23" fmla="*/ 1150 h 2900"/>
                <a:gd name="T24" fmla="*/ 436 w 2953"/>
                <a:gd name="T25" fmla="*/ 1816 h 2900"/>
                <a:gd name="T26" fmla="*/ 715 w 2953"/>
                <a:gd name="T27" fmla="*/ 1977 h 2900"/>
                <a:gd name="T28" fmla="*/ 1317 w 2953"/>
                <a:gd name="T29" fmla="*/ 1977 h 2900"/>
                <a:gd name="T30" fmla="*/ 1410 w 2953"/>
                <a:gd name="T31" fmla="*/ 2139 h 2900"/>
                <a:gd name="T32" fmla="*/ 972 w 2953"/>
                <a:gd name="T33" fmla="*/ 2900 h 2900"/>
                <a:gd name="T34" fmla="*/ 2953 w 2953"/>
                <a:gd name="T35" fmla="*/ 2893 h 2900"/>
                <a:gd name="T36" fmla="*/ 2900 w 2953"/>
                <a:gd name="T37" fmla="*/ 2800 h 2900"/>
                <a:gd name="connsiteX0" fmla="*/ 9648 w 9827"/>
                <a:gd name="connsiteY0" fmla="*/ 9655 h 11005"/>
                <a:gd name="connsiteX1" fmla="*/ 8699 w 9827"/>
                <a:gd name="connsiteY1" fmla="*/ 9100 h 11005"/>
                <a:gd name="connsiteX2" fmla="*/ 4832 w 9827"/>
                <a:gd name="connsiteY2" fmla="*/ 9093 h 11005"/>
                <a:gd name="connsiteX3" fmla="*/ 4517 w 9827"/>
                <a:gd name="connsiteY3" fmla="*/ 8538 h 11005"/>
                <a:gd name="connsiteX4" fmla="*/ 7101 w 9827"/>
                <a:gd name="connsiteY4" fmla="*/ 3966 h 11005"/>
                <a:gd name="connsiteX5" fmla="*/ 7101 w 9827"/>
                <a:gd name="connsiteY5" fmla="*/ 2855 h 11005"/>
                <a:gd name="connsiteX6" fmla="*/ 5801 w 9827"/>
                <a:gd name="connsiteY6" fmla="*/ 559 h 11005"/>
                <a:gd name="connsiteX7" fmla="*/ 4856 w 9827"/>
                <a:gd name="connsiteY7" fmla="*/ 0 h 11005"/>
                <a:gd name="connsiteX8" fmla="*/ 2248 w 9827"/>
                <a:gd name="connsiteY8" fmla="*/ 0 h 11005"/>
                <a:gd name="connsiteX9" fmla="*/ 1303 w 9827"/>
                <a:gd name="connsiteY9" fmla="*/ 555 h 11005"/>
                <a:gd name="connsiteX10" fmla="*/ 0 w 9827"/>
                <a:gd name="connsiteY10" fmla="*/ 2852 h 11005"/>
                <a:gd name="connsiteX11" fmla="*/ 0 w 9827"/>
                <a:gd name="connsiteY11" fmla="*/ 3966 h 11005"/>
                <a:gd name="connsiteX12" fmla="*/ 1303 w 9827"/>
                <a:gd name="connsiteY12" fmla="*/ 6262 h 11005"/>
                <a:gd name="connsiteX13" fmla="*/ 2248 w 9827"/>
                <a:gd name="connsiteY13" fmla="*/ 6817 h 11005"/>
                <a:gd name="connsiteX14" fmla="*/ 4287 w 9827"/>
                <a:gd name="connsiteY14" fmla="*/ 6817 h 11005"/>
                <a:gd name="connsiteX15" fmla="*/ 4602 w 9827"/>
                <a:gd name="connsiteY15" fmla="*/ 7376 h 11005"/>
                <a:gd name="connsiteX16" fmla="*/ 2497 w 9827"/>
                <a:gd name="connsiteY16" fmla="*/ 11005 h 11005"/>
                <a:gd name="connsiteX17" fmla="*/ 9827 w 9827"/>
                <a:gd name="connsiteY17" fmla="*/ 9976 h 11005"/>
                <a:gd name="connsiteX18" fmla="*/ 9648 w 9827"/>
                <a:gd name="connsiteY18" fmla="*/ 9655 h 11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827" h="11005">
                  <a:moveTo>
                    <a:pt x="9648" y="9655"/>
                  </a:moveTo>
                  <a:cubicBezTo>
                    <a:pt x="9471" y="9348"/>
                    <a:pt x="9048" y="9100"/>
                    <a:pt x="8699" y="9100"/>
                  </a:cubicBezTo>
                  <a:lnTo>
                    <a:pt x="4832" y="9093"/>
                  </a:lnTo>
                  <a:cubicBezTo>
                    <a:pt x="4487" y="9093"/>
                    <a:pt x="4344" y="8845"/>
                    <a:pt x="4517" y="8538"/>
                  </a:cubicBezTo>
                  <a:lnTo>
                    <a:pt x="7101" y="3966"/>
                  </a:lnTo>
                  <a:cubicBezTo>
                    <a:pt x="7277" y="3662"/>
                    <a:pt x="7277" y="3159"/>
                    <a:pt x="7101" y="2855"/>
                  </a:cubicBezTo>
                  <a:lnTo>
                    <a:pt x="5801" y="559"/>
                  </a:lnTo>
                  <a:cubicBezTo>
                    <a:pt x="5628" y="252"/>
                    <a:pt x="5201" y="0"/>
                    <a:pt x="4856" y="0"/>
                  </a:cubicBezTo>
                  <a:lnTo>
                    <a:pt x="2248" y="0"/>
                  </a:lnTo>
                  <a:cubicBezTo>
                    <a:pt x="1903" y="0"/>
                    <a:pt x="1476" y="252"/>
                    <a:pt x="1303" y="555"/>
                  </a:cubicBezTo>
                  <a:lnTo>
                    <a:pt x="0" y="2852"/>
                  </a:lnTo>
                  <a:cubicBezTo>
                    <a:pt x="-173" y="3159"/>
                    <a:pt x="-173" y="3659"/>
                    <a:pt x="0" y="3966"/>
                  </a:cubicBezTo>
                  <a:lnTo>
                    <a:pt x="1303" y="6262"/>
                  </a:lnTo>
                  <a:cubicBezTo>
                    <a:pt x="1476" y="6569"/>
                    <a:pt x="1903" y="6817"/>
                    <a:pt x="2248" y="6817"/>
                  </a:cubicBezTo>
                  <a:lnTo>
                    <a:pt x="4287" y="6817"/>
                  </a:lnTo>
                  <a:cubicBezTo>
                    <a:pt x="4632" y="6817"/>
                    <a:pt x="4900" y="6678"/>
                    <a:pt x="4602" y="7376"/>
                  </a:cubicBezTo>
                  <a:cubicBezTo>
                    <a:pt x="4304" y="8074"/>
                    <a:pt x="2497" y="11005"/>
                    <a:pt x="2497" y="11005"/>
                  </a:cubicBezTo>
                  <a:cubicBezTo>
                    <a:pt x="9205" y="10981"/>
                    <a:pt x="9827" y="9976"/>
                    <a:pt x="9827" y="9976"/>
                  </a:cubicBezTo>
                  <a:lnTo>
                    <a:pt x="9648" y="965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" name="Rectangle 2"/>
          <p:cNvSpPr/>
          <p:nvPr userDrawn="1"/>
        </p:nvSpPr>
        <p:spPr bwMode="gray">
          <a:xfrm>
            <a:off x="-1" y="0"/>
            <a:ext cx="12192000" cy="6858001"/>
          </a:xfrm>
          <a:custGeom>
            <a:avLst/>
            <a:gdLst/>
            <a:ahLst/>
            <a:cxnLst/>
            <a:rect l="l" t="t" r="r" b="b"/>
            <a:pathLst>
              <a:path w="12192000" h="6858001">
                <a:moveTo>
                  <a:pt x="4055910" y="2"/>
                </a:moveTo>
                <a:lnTo>
                  <a:pt x="4064211" y="14593"/>
                </a:lnTo>
                <a:cubicBezTo>
                  <a:pt x="4071842" y="28004"/>
                  <a:pt x="4080562" y="43331"/>
                  <a:pt x="4090528" y="60848"/>
                </a:cubicBezTo>
                <a:lnTo>
                  <a:pt x="4111980" y="98552"/>
                </a:lnTo>
                <a:lnTo>
                  <a:pt x="4110297" y="98553"/>
                </a:lnTo>
                <a:lnTo>
                  <a:pt x="4121274" y="117588"/>
                </a:lnTo>
                <a:cubicBezTo>
                  <a:pt x="4150392" y="168082"/>
                  <a:pt x="4186229" y="230229"/>
                  <a:pt x="4230336" y="306718"/>
                </a:cubicBezTo>
                <a:cubicBezTo>
                  <a:pt x="4230339" y="306723"/>
                  <a:pt x="4230370" y="306776"/>
                  <a:pt x="4230715" y="307375"/>
                </a:cubicBezTo>
                <a:lnTo>
                  <a:pt x="4233363" y="311972"/>
                </a:lnTo>
                <a:lnTo>
                  <a:pt x="4236606" y="317599"/>
                </a:lnTo>
                <a:lnTo>
                  <a:pt x="4256156" y="351961"/>
                </a:lnTo>
                <a:lnTo>
                  <a:pt x="4257049" y="353079"/>
                </a:lnTo>
                <a:lnTo>
                  <a:pt x="4277640" y="388816"/>
                </a:lnTo>
                <a:cubicBezTo>
                  <a:pt x="4306024" y="438073"/>
                  <a:pt x="4351436" y="516887"/>
                  <a:pt x="4424096" y="642989"/>
                </a:cubicBezTo>
                <a:cubicBezTo>
                  <a:pt x="4446431" y="681578"/>
                  <a:pt x="4428156" y="713204"/>
                  <a:pt x="4383488" y="713203"/>
                </a:cubicBezTo>
                <a:cubicBezTo>
                  <a:pt x="4383481" y="713203"/>
                  <a:pt x="4382093" y="713206"/>
                  <a:pt x="4118373" y="713783"/>
                </a:cubicBezTo>
                <a:cubicBezTo>
                  <a:pt x="4112860" y="713783"/>
                  <a:pt x="4107059" y="714364"/>
                  <a:pt x="4101259" y="715234"/>
                </a:cubicBezTo>
                <a:cubicBezTo>
                  <a:pt x="4060650" y="721907"/>
                  <a:pt x="4015980" y="750341"/>
                  <a:pt x="3996547" y="784287"/>
                </a:cubicBezTo>
                <a:cubicBezTo>
                  <a:pt x="3996540" y="784300"/>
                  <a:pt x="3994952" y="787041"/>
                  <a:pt x="3661817" y="1362246"/>
                </a:cubicBezTo>
                <a:cubicBezTo>
                  <a:pt x="3639482" y="1400835"/>
                  <a:pt x="3602645" y="1400835"/>
                  <a:pt x="3580311" y="1362247"/>
                </a:cubicBezTo>
                <a:cubicBezTo>
                  <a:pt x="3580300" y="1362228"/>
                  <a:pt x="3578661" y="1359392"/>
                  <a:pt x="3330859" y="930518"/>
                </a:cubicBezTo>
                <a:cubicBezTo>
                  <a:pt x="3308524" y="891930"/>
                  <a:pt x="3253412" y="860304"/>
                  <a:pt x="3208742" y="860305"/>
                </a:cubicBezTo>
                <a:cubicBezTo>
                  <a:pt x="3208730" y="860305"/>
                  <a:pt x="3206097" y="860305"/>
                  <a:pt x="2636744" y="860305"/>
                </a:cubicBezTo>
                <a:cubicBezTo>
                  <a:pt x="2592074" y="860304"/>
                  <a:pt x="2537253" y="891929"/>
                  <a:pt x="2514918" y="930518"/>
                </a:cubicBezTo>
                <a:cubicBezTo>
                  <a:pt x="2514914" y="930525"/>
                  <a:pt x="2513854" y="932363"/>
                  <a:pt x="2228920" y="1426077"/>
                </a:cubicBezTo>
                <a:cubicBezTo>
                  <a:pt x="2206584" y="1464667"/>
                  <a:pt x="2206584" y="1528206"/>
                  <a:pt x="2228919" y="1566796"/>
                </a:cubicBezTo>
                <a:cubicBezTo>
                  <a:pt x="2228927" y="1566810"/>
                  <a:pt x="2230408" y="1569375"/>
                  <a:pt x="2514919" y="2062355"/>
                </a:cubicBezTo>
                <a:cubicBezTo>
                  <a:pt x="2537254" y="2101234"/>
                  <a:pt x="2592074" y="2132858"/>
                  <a:pt x="2636744" y="2132859"/>
                </a:cubicBezTo>
                <a:cubicBezTo>
                  <a:pt x="2636762" y="2132859"/>
                  <a:pt x="2639988" y="2132859"/>
                  <a:pt x="3208742" y="2132858"/>
                </a:cubicBezTo>
                <a:cubicBezTo>
                  <a:pt x="3253413" y="2132858"/>
                  <a:pt x="3308523" y="2101233"/>
                  <a:pt x="3330858" y="2062355"/>
                </a:cubicBezTo>
                <a:cubicBezTo>
                  <a:pt x="3330866" y="2062341"/>
                  <a:pt x="3332771" y="2059049"/>
                  <a:pt x="3783933" y="1279267"/>
                </a:cubicBezTo>
                <a:cubicBezTo>
                  <a:pt x="3806268" y="1240388"/>
                  <a:pt x="3842815" y="1240388"/>
                  <a:pt x="3865149" y="1279266"/>
                </a:cubicBezTo>
                <a:cubicBezTo>
                  <a:pt x="3865156" y="1279278"/>
                  <a:pt x="3866100" y="1280911"/>
                  <a:pt x="3996547" y="1506736"/>
                </a:cubicBezTo>
                <a:cubicBezTo>
                  <a:pt x="4018881" y="1545326"/>
                  <a:pt x="4073703" y="1577240"/>
                  <a:pt x="4118373" y="1577240"/>
                </a:cubicBezTo>
                <a:cubicBezTo>
                  <a:pt x="4118396" y="1577240"/>
                  <a:pt x="4121116" y="1577240"/>
                  <a:pt x="4454262" y="1577240"/>
                </a:cubicBezTo>
                <a:cubicBezTo>
                  <a:pt x="4498932" y="1577241"/>
                  <a:pt x="4555203" y="1545326"/>
                  <a:pt x="4577538" y="1506737"/>
                </a:cubicBezTo>
                <a:cubicBezTo>
                  <a:pt x="4578118" y="1505576"/>
                  <a:pt x="4578118" y="1505576"/>
                  <a:pt x="4578408" y="1505286"/>
                </a:cubicBezTo>
                <a:cubicBezTo>
                  <a:pt x="4578419" y="1505267"/>
                  <a:pt x="4579756" y="1502951"/>
                  <a:pt x="4746063" y="1214856"/>
                </a:cubicBezTo>
                <a:cubicBezTo>
                  <a:pt x="4768398" y="1176266"/>
                  <a:pt x="4768398" y="1112727"/>
                  <a:pt x="4746063" y="1074137"/>
                </a:cubicBezTo>
                <a:cubicBezTo>
                  <a:pt x="4746051" y="1074116"/>
                  <a:pt x="4744040" y="1070620"/>
                  <a:pt x="4413364" y="495889"/>
                </a:cubicBezTo>
                <a:cubicBezTo>
                  <a:pt x="4391029" y="457010"/>
                  <a:pt x="4409303" y="425384"/>
                  <a:pt x="4453972" y="425385"/>
                </a:cubicBezTo>
                <a:cubicBezTo>
                  <a:pt x="4453988" y="425385"/>
                  <a:pt x="4455756" y="425384"/>
                  <a:pt x="4664080" y="425262"/>
                </a:cubicBezTo>
                <a:lnTo>
                  <a:pt x="4684544" y="425251"/>
                </a:lnTo>
                <a:lnTo>
                  <a:pt x="4758411" y="425795"/>
                </a:lnTo>
                <a:cubicBezTo>
                  <a:pt x="4812899" y="426196"/>
                  <a:pt x="4875172" y="426655"/>
                  <a:pt x="4946341" y="427179"/>
                </a:cubicBezTo>
                <a:cubicBezTo>
                  <a:pt x="4957449" y="427249"/>
                  <a:pt x="4969200" y="425347"/>
                  <a:pt x="4980930" y="421857"/>
                </a:cubicBezTo>
                <a:lnTo>
                  <a:pt x="4986031" y="419659"/>
                </a:lnTo>
                <a:lnTo>
                  <a:pt x="4986745" y="419546"/>
                </a:lnTo>
                <a:lnTo>
                  <a:pt x="5014597" y="407354"/>
                </a:lnTo>
                <a:lnTo>
                  <a:pt x="5015406" y="407005"/>
                </a:lnTo>
                <a:lnTo>
                  <a:pt x="5015426" y="406991"/>
                </a:lnTo>
                <a:lnTo>
                  <a:pt x="5021294" y="404423"/>
                </a:lnTo>
                <a:cubicBezTo>
                  <a:pt x="5043375" y="391656"/>
                  <a:pt x="5062664" y="374030"/>
                  <a:pt x="5073830" y="354591"/>
                </a:cubicBezTo>
                <a:cubicBezTo>
                  <a:pt x="5073838" y="354577"/>
                  <a:pt x="5074799" y="352910"/>
                  <a:pt x="5194242" y="145771"/>
                </a:cubicBezTo>
                <a:lnTo>
                  <a:pt x="5221469" y="98553"/>
                </a:lnTo>
                <a:lnTo>
                  <a:pt x="5220303" y="98552"/>
                </a:lnTo>
                <a:lnTo>
                  <a:pt x="5222692" y="94481"/>
                </a:lnTo>
                <a:lnTo>
                  <a:pt x="5278131" y="2"/>
                </a:lnTo>
                <a:close/>
                <a:moveTo>
                  <a:pt x="31806" y="0"/>
                </a:moveTo>
                <a:lnTo>
                  <a:pt x="12192000" y="0"/>
                </a:lnTo>
                <a:lnTo>
                  <a:pt x="12192000" y="6858001"/>
                </a:lnTo>
                <a:lnTo>
                  <a:pt x="5519936" y="6858001"/>
                </a:lnTo>
                <a:lnTo>
                  <a:pt x="3798641" y="6858001"/>
                </a:lnTo>
                <a:lnTo>
                  <a:pt x="0" y="6858001"/>
                </a:lnTo>
                <a:lnTo>
                  <a:pt x="0" y="5845133"/>
                </a:lnTo>
                <a:lnTo>
                  <a:pt x="0" y="3429000"/>
                </a:lnTo>
                <a:lnTo>
                  <a:pt x="0" y="1307383"/>
                </a:lnTo>
                <a:lnTo>
                  <a:pt x="69908" y="1307234"/>
                </a:lnTo>
                <a:cubicBezTo>
                  <a:pt x="380029" y="1306572"/>
                  <a:pt x="381595" y="1306569"/>
                  <a:pt x="381603" y="1306569"/>
                </a:cubicBezTo>
                <a:cubicBezTo>
                  <a:pt x="455676" y="1306275"/>
                  <a:pt x="485951" y="1358608"/>
                  <a:pt x="449209" y="1422701"/>
                </a:cubicBezTo>
                <a:cubicBezTo>
                  <a:pt x="42396" y="2135148"/>
                  <a:pt x="40932" y="2137712"/>
                  <a:pt x="40927" y="2137721"/>
                </a:cubicBezTo>
                <a:cubicBezTo>
                  <a:pt x="4184" y="2201814"/>
                  <a:pt x="4478" y="2306480"/>
                  <a:pt x="41808" y="2370279"/>
                </a:cubicBezTo>
                <a:cubicBezTo>
                  <a:pt x="515837" y="3184840"/>
                  <a:pt x="517106" y="3187019"/>
                  <a:pt x="517109" y="3187025"/>
                </a:cubicBezTo>
                <a:cubicBezTo>
                  <a:pt x="554145" y="3250824"/>
                  <a:pt x="644973" y="3302569"/>
                  <a:pt x="718752" y="3302569"/>
                </a:cubicBezTo>
                <a:cubicBezTo>
                  <a:pt x="1660268" y="3299053"/>
                  <a:pt x="1663463" y="3299041"/>
                  <a:pt x="1663474" y="3299041"/>
                </a:cubicBezTo>
                <a:cubicBezTo>
                  <a:pt x="1737253" y="3298747"/>
                  <a:pt x="1827786" y="3246120"/>
                  <a:pt x="1864529" y="3182027"/>
                </a:cubicBezTo>
                <a:cubicBezTo>
                  <a:pt x="2332938" y="2363305"/>
                  <a:pt x="2333656" y="2362049"/>
                  <a:pt x="2333657" y="2362047"/>
                </a:cubicBezTo>
                <a:cubicBezTo>
                  <a:pt x="2370399" y="2297954"/>
                  <a:pt x="2370105" y="2193288"/>
                  <a:pt x="2333069" y="2129489"/>
                </a:cubicBezTo>
                <a:cubicBezTo>
                  <a:pt x="1859393" y="1315535"/>
                  <a:pt x="1857774" y="1312753"/>
                  <a:pt x="1857768" y="1312743"/>
                </a:cubicBezTo>
                <a:cubicBezTo>
                  <a:pt x="1820438" y="1248944"/>
                  <a:pt x="1729610" y="1196905"/>
                  <a:pt x="1655832" y="1197199"/>
                </a:cubicBezTo>
                <a:cubicBezTo>
                  <a:pt x="163159" y="1201311"/>
                  <a:pt x="161737" y="1201315"/>
                  <a:pt x="161736" y="1201315"/>
                </a:cubicBezTo>
                <a:cubicBezTo>
                  <a:pt x="87957" y="1201609"/>
                  <a:pt x="57387" y="1149276"/>
                  <a:pt x="94130" y="1085183"/>
                </a:cubicBezTo>
                <a:cubicBezTo>
                  <a:pt x="308606" y="710787"/>
                  <a:pt x="309873" y="708575"/>
                  <a:pt x="309881" y="708562"/>
                </a:cubicBezTo>
                <a:cubicBezTo>
                  <a:pt x="346624" y="644469"/>
                  <a:pt x="346036" y="539803"/>
                  <a:pt x="309000" y="476004"/>
                </a:cubicBezTo>
                <a:cubicBezTo>
                  <a:pt x="99568" y="116363"/>
                  <a:pt x="47210" y="26452"/>
                  <a:pt x="34120" y="3975"/>
                </a:cubicBez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7" name="Picture Placeholder 31"/>
          <p:cNvSpPr>
            <a:spLocks noGrp="1"/>
          </p:cNvSpPr>
          <p:nvPr>
            <p:ph type="pic" sz="quarter" idx="20"/>
          </p:nvPr>
        </p:nvSpPr>
        <p:spPr bwMode="gray">
          <a:xfrm>
            <a:off x="1263273" y="2341919"/>
            <a:ext cx="5552809" cy="4516082"/>
          </a:xfrm>
          <a:custGeom>
            <a:avLst/>
            <a:gdLst>
              <a:gd name="connsiteX0" fmla="*/ 1660621 w 5552809"/>
              <a:gd name="connsiteY0" fmla="*/ 0 h 4516082"/>
              <a:gd name="connsiteX1" fmla="*/ 3503449 w 5552809"/>
              <a:gd name="connsiteY1" fmla="*/ 0 h 4516082"/>
              <a:gd name="connsiteX2" fmla="*/ 3892671 w 5552809"/>
              <a:gd name="connsiteY2" fmla="*/ 0 h 4516082"/>
              <a:gd name="connsiteX3" fmla="*/ 4028266 w 5552809"/>
              <a:gd name="connsiteY3" fmla="*/ 21596 h 4516082"/>
              <a:gd name="connsiteX4" fmla="*/ 4369271 w 5552809"/>
              <a:gd name="connsiteY4" fmla="*/ 275207 h 4516082"/>
              <a:gd name="connsiteX5" fmla="*/ 5487175 w 5552809"/>
              <a:gd name="connsiteY5" fmla="*/ 2212080 h 4516082"/>
              <a:gd name="connsiteX6" fmla="*/ 5487175 w 5552809"/>
              <a:gd name="connsiteY6" fmla="*/ 2762650 h 4516082"/>
              <a:gd name="connsiteX7" fmla="*/ 4509009 w 5552809"/>
              <a:gd name="connsiteY7" fmla="*/ 4457414 h 4516082"/>
              <a:gd name="connsiteX8" fmla="*/ 4475148 w 5552809"/>
              <a:gd name="connsiteY8" fmla="*/ 4516082 h 4516082"/>
              <a:gd name="connsiteX9" fmla="*/ 1075176 w 5552809"/>
              <a:gd name="connsiteY9" fmla="*/ 4516082 h 4516082"/>
              <a:gd name="connsiteX10" fmla="*/ 989424 w 5552809"/>
              <a:gd name="connsiteY10" fmla="*/ 4367209 h 4516082"/>
              <a:gd name="connsiteX11" fmla="*/ 65634 w 5552809"/>
              <a:gd name="connsiteY11" fmla="*/ 2763432 h 4516082"/>
              <a:gd name="connsiteX12" fmla="*/ 65634 w 5552809"/>
              <a:gd name="connsiteY12" fmla="*/ 2212863 h 4516082"/>
              <a:gd name="connsiteX13" fmla="*/ 1184242 w 5552809"/>
              <a:gd name="connsiteY13" fmla="*/ 275990 h 4516082"/>
              <a:gd name="connsiteX14" fmla="*/ 1660621 w 5552809"/>
              <a:gd name="connsiteY14" fmla="*/ 0 h 4516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552809" h="4516082">
                <a:moveTo>
                  <a:pt x="1660621" y="0"/>
                </a:moveTo>
                <a:cubicBezTo>
                  <a:pt x="1660621" y="0"/>
                  <a:pt x="1660621" y="0"/>
                  <a:pt x="3503449" y="0"/>
                </a:cubicBezTo>
                <a:lnTo>
                  <a:pt x="3892671" y="0"/>
                </a:lnTo>
                <a:lnTo>
                  <a:pt x="4028266" y="21596"/>
                </a:lnTo>
                <a:cubicBezTo>
                  <a:pt x="4166548" y="63450"/>
                  <a:pt x="4303639" y="161388"/>
                  <a:pt x="4369271" y="275207"/>
                </a:cubicBezTo>
                <a:cubicBezTo>
                  <a:pt x="5487175" y="2212080"/>
                  <a:pt x="5487175" y="2212080"/>
                  <a:pt x="5487175" y="2212080"/>
                </a:cubicBezTo>
                <a:cubicBezTo>
                  <a:pt x="5574687" y="2363839"/>
                  <a:pt x="5574687" y="2611596"/>
                  <a:pt x="5487175" y="2762650"/>
                </a:cubicBezTo>
                <a:cubicBezTo>
                  <a:pt x="4928223" y="3731086"/>
                  <a:pt x="4648747" y="4215305"/>
                  <a:pt x="4509009" y="4457414"/>
                </a:cubicBezTo>
                <a:lnTo>
                  <a:pt x="4475148" y="4516082"/>
                </a:lnTo>
                <a:lnTo>
                  <a:pt x="1075176" y="4516082"/>
                </a:lnTo>
                <a:lnTo>
                  <a:pt x="989424" y="4367209"/>
                </a:lnTo>
                <a:cubicBezTo>
                  <a:pt x="753668" y="3957915"/>
                  <a:pt x="451899" y="3434018"/>
                  <a:pt x="65634" y="2763432"/>
                </a:cubicBezTo>
                <a:cubicBezTo>
                  <a:pt x="-21878" y="2611673"/>
                  <a:pt x="-21878" y="2363916"/>
                  <a:pt x="65634" y="2212863"/>
                </a:cubicBezTo>
                <a:cubicBezTo>
                  <a:pt x="65634" y="2212863"/>
                  <a:pt x="65634" y="2212863"/>
                  <a:pt x="1184242" y="275990"/>
                </a:cubicBezTo>
                <a:cubicBezTo>
                  <a:pt x="1271754" y="124230"/>
                  <a:pt x="1486301" y="0"/>
                  <a:pt x="1660621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527818" y="3501000"/>
            <a:ext cx="5040294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</a:p>
          <a:p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528047" y="2636984"/>
            <a:ext cx="5040065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528047" y="1244406"/>
            <a:ext cx="5040065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8665" y="5338392"/>
            <a:ext cx="2520000" cy="1256400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40484705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last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4614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5" name="Freihandform 24"/>
          <p:cNvSpPr/>
          <p:nvPr userDrawn="1"/>
        </p:nvSpPr>
        <p:spPr bwMode="gray">
          <a:xfrm>
            <a:off x="2080006" y="1596994"/>
            <a:ext cx="128588" cy="577024"/>
          </a:xfrm>
          <a:custGeom>
            <a:avLst/>
            <a:gdLst>
              <a:gd name="connsiteX0" fmla="*/ 0 w 128588"/>
              <a:gd name="connsiteY0" fmla="*/ 0 h 577024"/>
              <a:gd name="connsiteX1" fmla="*/ 111894 w 128588"/>
              <a:gd name="connsiteY1" fmla="*/ 344776 h 577024"/>
              <a:gd name="connsiteX2" fmla="*/ 124387 w 128588"/>
              <a:gd name="connsiteY2" fmla="*/ 394867 h 577024"/>
              <a:gd name="connsiteX3" fmla="*/ 113945 w 128588"/>
              <a:gd name="connsiteY3" fmla="*/ 540518 h 577024"/>
              <a:gd name="connsiteX4" fmla="*/ 94620 w 128588"/>
              <a:gd name="connsiteY4" fmla="*/ 577024 h 577024"/>
              <a:gd name="connsiteX5" fmla="*/ 69548 w 128588"/>
              <a:gd name="connsiteY5" fmla="*/ 424122 h 577024"/>
              <a:gd name="connsiteX6" fmla="*/ 36876 w 128588"/>
              <a:gd name="connsiteY6" fmla="*/ 224880 h 577024"/>
              <a:gd name="connsiteX7" fmla="*/ 0 w 128588"/>
              <a:gd name="connsiteY7" fmla="*/ 0 h 577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588" h="577024">
                <a:moveTo>
                  <a:pt x="0" y="0"/>
                </a:moveTo>
                <a:lnTo>
                  <a:pt x="111894" y="344776"/>
                </a:lnTo>
                <a:lnTo>
                  <a:pt x="124387" y="394867"/>
                </a:lnTo>
                <a:cubicBezTo>
                  <a:pt x="132657" y="445250"/>
                  <a:pt x="128481" y="495806"/>
                  <a:pt x="113945" y="540518"/>
                </a:cubicBezTo>
                <a:lnTo>
                  <a:pt x="94620" y="577024"/>
                </a:lnTo>
                <a:lnTo>
                  <a:pt x="69548" y="424122"/>
                </a:lnTo>
                <a:cubicBezTo>
                  <a:pt x="59400" y="362234"/>
                  <a:pt x="48526" y="295925"/>
                  <a:pt x="36876" y="224880"/>
                </a:cubicBezTo>
                <a:lnTo>
                  <a:pt x="0" y="0"/>
                </a:lnTo>
                <a:close/>
              </a:path>
            </a:pathLst>
          </a:custGeom>
          <a:solidFill>
            <a:srgbClr val="52328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1" y="1"/>
            <a:ext cx="6160369" cy="5981521"/>
            <a:chOff x="1" y="1"/>
            <a:chExt cx="6160369" cy="5981521"/>
          </a:xfrm>
        </p:grpSpPr>
        <p:sp>
          <p:nvSpPr>
            <p:cNvPr id="24" name="Freihandform 23"/>
            <p:cNvSpPr/>
            <p:nvPr userDrawn="1"/>
          </p:nvSpPr>
          <p:spPr bwMode="gray">
            <a:xfrm>
              <a:off x="1" y="1"/>
              <a:ext cx="2246612" cy="2662617"/>
            </a:xfrm>
            <a:custGeom>
              <a:avLst/>
              <a:gdLst>
                <a:gd name="connsiteX0" fmla="*/ 500398 w 2246612"/>
                <a:gd name="connsiteY0" fmla="*/ 0 h 2662617"/>
                <a:gd name="connsiteX1" fmla="*/ 954996 w 2246612"/>
                <a:gd name="connsiteY1" fmla="*/ 0 h 2662617"/>
                <a:gd name="connsiteX2" fmla="*/ 966522 w 2246612"/>
                <a:gd name="connsiteY2" fmla="*/ 7772 h 2662617"/>
                <a:gd name="connsiteX3" fmla="*/ 1413376 w 2246612"/>
                <a:gd name="connsiteY3" fmla="*/ 253371 h 2662617"/>
                <a:gd name="connsiteX4" fmla="*/ 1776605 w 2246612"/>
                <a:gd name="connsiteY4" fmla="*/ 233048 h 2662617"/>
                <a:gd name="connsiteX5" fmla="*/ 2055400 w 2246612"/>
                <a:gd name="connsiteY5" fmla="*/ 0 h 2662617"/>
                <a:gd name="connsiteX6" fmla="*/ 2246612 w 2246612"/>
                <a:gd name="connsiteY6" fmla="*/ 0 h 2662617"/>
                <a:gd name="connsiteX7" fmla="*/ 1871641 w 2246612"/>
                <a:gd name="connsiteY7" fmla="*/ 317812 h 2662617"/>
                <a:gd name="connsiteX8" fmla="*/ 1785210 w 2246612"/>
                <a:gd name="connsiteY8" fmla="*/ 688648 h 2662617"/>
                <a:gd name="connsiteX9" fmla="*/ 2191896 w 2246612"/>
                <a:gd name="connsiteY9" fmla="*/ 1941757 h 2662617"/>
                <a:gd name="connsiteX10" fmla="*/ 2191899 w 2246612"/>
                <a:gd name="connsiteY10" fmla="*/ 1941769 h 2662617"/>
                <a:gd name="connsiteX11" fmla="*/ 2080005 w 2246612"/>
                <a:gd name="connsiteY11" fmla="*/ 1596993 h 2662617"/>
                <a:gd name="connsiteX12" fmla="*/ 2116881 w 2246612"/>
                <a:gd name="connsiteY12" fmla="*/ 1821873 h 2662617"/>
                <a:gd name="connsiteX13" fmla="*/ 2149553 w 2246612"/>
                <a:gd name="connsiteY13" fmla="*/ 2021115 h 2662617"/>
                <a:gd name="connsiteX14" fmla="*/ 2174625 w 2246612"/>
                <a:gd name="connsiteY14" fmla="*/ 2174017 h 2662617"/>
                <a:gd name="connsiteX15" fmla="*/ 2151682 w 2246612"/>
                <a:gd name="connsiteY15" fmla="*/ 2217358 h 2662617"/>
                <a:gd name="connsiteX16" fmla="*/ 2085496 w 2246612"/>
                <a:gd name="connsiteY16" fmla="*/ 2270920 h 2662617"/>
                <a:gd name="connsiteX17" fmla="*/ 1306147 w 2246612"/>
                <a:gd name="connsiteY17" fmla="*/ 2644371 h 2662617"/>
                <a:gd name="connsiteX18" fmla="*/ 982487 w 2246612"/>
                <a:gd name="connsiteY18" fmla="*/ 2525680 h 2662617"/>
                <a:gd name="connsiteX19" fmla="*/ 0 w 2246612"/>
                <a:gd name="connsiteY19" fmla="*/ 1029945 h 2662617"/>
                <a:gd name="connsiteX20" fmla="*/ 0 w 2246612"/>
                <a:gd name="connsiteY20" fmla="*/ 407538 h 2662617"/>
                <a:gd name="connsiteX21" fmla="*/ 490569 w 2246612"/>
                <a:gd name="connsiteY21" fmla="*/ 8907 h 2662617"/>
                <a:gd name="connsiteX22" fmla="*/ 500398 w 2246612"/>
                <a:gd name="connsiteY22" fmla="*/ 0 h 2662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246612" h="2662617">
                  <a:moveTo>
                    <a:pt x="500398" y="0"/>
                  </a:moveTo>
                  <a:lnTo>
                    <a:pt x="954996" y="0"/>
                  </a:lnTo>
                  <a:lnTo>
                    <a:pt x="966522" y="7772"/>
                  </a:lnTo>
                  <a:lnTo>
                    <a:pt x="1413376" y="253371"/>
                  </a:lnTo>
                  <a:cubicBezTo>
                    <a:pt x="1524743" y="311277"/>
                    <a:pt x="1688138" y="303257"/>
                    <a:pt x="1776605" y="233048"/>
                  </a:cubicBezTo>
                  <a:lnTo>
                    <a:pt x="2055400" y="0"/>
                  </a:lnTo>
                  <a:lnTo>
                    <a:pt x="2246612" y="0"/>
                  </a:lnTo>
                  <a:lnTo>
                    <a:pt x="1871641" y="317812"/>
                  </a:lnTo>
                  <a:cubicBezTo>
                    <a:pt x="1779936" y="389573"/>
                    <a:pt x="1746443" y="557888"/>
                    <a:pt x="1785210" y="688648"/>
                  </a:cubicBezTo>
                  <a:lnTo>
                    <a:pt x="2191896" y="1941757"/>
                  </a:lnTo>
                  <a:lnTo>
                    <a:pt x="2191899" y="1941769"/>
                  </a:lnTo>
                  <a:lnTo>
                    <a:pt x="2080005" y="1596993"/>
                  </a:lnTo>
                  <a:lnTo>
                    <a:pt x="2116881" y="1821873"/>
                  </a:lnTo>
                  <a:cubicBezTo>
                    <a:pt x="2128531" y="1892918"/>
                    <a:pt x="2139405" y="1959227"/>
                    <a:pt x="2149553" y="2021115"/>
                  </a:cubicBezTo>
                  <a:lnTo>
                    <a:pt x="2174625" y="2174017"/>
                  </a:lnTo>
                  <a:lnTo>
                    <a:pt x="2151682" y="2217358"/>
                  </a:lnTo>
                  <a:cubicBezTo>
                    <a:pt x="2133401" y="2240187"/>
                    <a:pt x="2111133" y="2258636"/>
                    <a:pt x="2085496" y="2270920"/>
                  </a:cubicBezTo>
                  <a:lnTo>
                    <a:pt x="1306147" y="2644371"/>
                  </a:lnTo>
                  <a:cubicBezTo>
                    <a:pt x="1203601" y="2693509"/>
                    <a:pt x="1055796" y="2639888"/>
                    <a:pt x="982487" y="2525680"/>
                  </a:cubicBezTo>
                  <a:lnTo>
                    <a:pt x="0" y="1029945"/>
                  </a:lnTo>
                  <a:lnTo>
                    <a:pt x="0" y="407538"/>
                  </a:lnTo>
                  <a:lnTo>
                    <a:pt x="490569" y="8907"/>
                  </a:lnTo>
                  <a:lnTo>
                    <a:pt x="500398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3" name="Freihandform 22"/>
            <p:cNvSpPr/>
            <p:nvPr userDrawn="1"/>
          </p:nvSpPr>
          <p:spPr bwMode="gray">
            <a:xfrm>
              <a:off x="2653779" y="1"/>
              <a:ext cx="3506591" cy="1390583"/>
            </a:xfrm>
            <a:custGeom>
              <a:avLst/>
              <a:gdLst>
                <a:gd name="connsiteX0" fmla="*/ 0 w 3506591"/>
                <a:gd name="connsiteY0" fmla="*/ 0 h 1390583"/>
                <a:gd name="connsiteX1" fmla="*/ 3390444 w 3506591"/>
                <a:gd name="connsiteY1" fmla="*/ 0 h 1390583"/>
                <a:gd name="connsiteX2" fmla="*/ 3460045 w 3506591"/>
                <a:gd name="connsiteY2" fmla="*/ 104891 h 1390583"/>
                <a:gd name="connsiteX3" fmla="*/ 3413013 w 3506591"/>
                <a:gd name="connsiteY3" fmla="*/ 405605 h 1390583"/>
                <a:gd name="connsiteX4" fmla="*/ 1397716 w 3506591"/>
                <a:gd name="connsiteY4" fmla="*/ 1371303 h 1390583"/>
                <a:gd name="connsiteX5" fmla="*/ 1050940 w 3506591"/>
                <a:gd name="connsiteY5" fmla="*/ 1268080 h 1390583"/>
                <a:gd name="connsiteX6" fmla="*/ 0 w 3506591"/>
                <a:gd name="connsiteY6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06591" h="1390583">
                  <a:moveTo>
                    <a:pt x="0" y="0"/>
                  </a:moveTo>
                  <a:lnTo>
                    <a:pt x="3390444" y="0"/>
                  </a:lnTo>
                  <a:lnTo>
                    <a:pt x="3460045" y="104891"/>
                  </a:lnTo>
                  <a:cubicBezTo>
                    <a:pt x="3537733" y="219929"/>
                    <a:pt x="3515559" y="356467"/>
                    <a:pt x="3413013" y="405605"/>
                  </a:cubicBezTo>
                  <a:lnTo>
                    <a:pt x="1397716" y="1371303"/>
                  </a:lnTo>
                  <a:cubicBezTo>
                    <a:pt x="1296249" y="1419924"/>
                    <a:pt x="1139871" y="1373339"/>
                    <a:pt x="1050940" y="126808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1" name="Freihandform 20"/>
            <p:cNvSpPr/>
            <p:nvPr userDrawn="1"/>
          </p:nvSpPr>
          <p:spPr bwMode="gray">
            <a:xfrm>
              <a:off x="1" y="2978510"/>
              <a:ext cx="1254096" cy="3003012"/>
            </a:xfrm>
            <a:custGeom>
              <a:avLst/>
              <a:gdLst>
                <a:gd name="connsiteX0" fmla="*/ 0 w 1254096"/>
                <a:gd name="connsiteY0" fmla="*/ 0 h 3003012"/>
                <a:gd name="connsiteX1" fmla="*/ 983737 w 1254096"/>
                <a:gd name="connsiteY1" fmla="*/ 707595 h 3003012"/>
                <a:gd name="connsiteX2" fmla="*/ 1196849 w 1254096"/>
                <a:gd name="connsiteY2" fmla="*/ 1088625 h 3003012"/>
                <a:gd name="connsiteX3" fmla="*/ 1253012 w 1254096"/>
                <a:gd name="connsiteY3" fmla="*/ 1729339 h 3003012"/>
                <a:gd name="connsiteX4" fmla="*/ 1087196 w 1254096"/>
                <a:gd name="connsiteY4" fmla="*/ 2059155 h 3003012"/>
                <a:gd name="connsiteX5" fmla="*/ 213936 w 1254096"/>
                <a:gd name="connsiteY5" fmla="*/ 2477607 h 3003012"/>
                <a:gd name="connsiteX6" fmla="*/ 13209 w 1254096"/>
                <a:gd name="connsiteY6" fmla="*/ 2806583 h 3003012"/>
                <a:gd name="connsiteX7" fmla="*/ 0 w 1254096"/>
                <a:gd name="connsiteY7" fmla="*/ 3003012 h 3003012"/>
                <a:gd name="connsiteX8" fmla="*/ 0 w 1254096"/>
                <a:gd name="connsiteY8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54096" h="3003012">
                  <a:moveTo>
                    <a:pt x="0" y="0"/>
                  </a:moveTo>
                  <a:lnTo>
                    <a:pt x="983737" y="707595"/>
                  </a:lnTo>
                  <a:cubicBezTo>
                    <a:pt x="1092175" y="781545"/>
                    <a:pt x="1186903" y="954302"/>
                    <a:pt x="1196849" y="1088625"/>
                  </a:cubicBezTo>
                  <a:lnTo>
                    <a:pt x="1253012" y="1729339"/>
                  </a:lnTo>
                  <a:cubicBezTo>
                    <a:pt x="1264037" y="1863145"/>
                    <a:pt x="1189742" y="2010016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Gruppieren 5"/>
          <p:cNvGrpSpPr/>
          <p:nvPr userDrawn="1"/>
        </p:nvGrpSpPr>
        <p:grpSpPr bwMode="gray">
          <a:xfrm>
            <a:off x="0" y="1"/>
            <a:ext cx="6160368" cy="5981521"/>
            <a:chOff x="0" y="1"/>
            <a:chExt cx="6160368" cy="5981521"/>
          </a:xfrm>
        </p:grpSpPr>
        <p:sp>
          <p:nvSpPr>
            <p:cNvPr id="34" name="Freeform 33"/>
            <p:cNvSpPr>
              <a:spLocks/>
            </p:cNvSpPr>
            <p:nvPr userDrawn="1"/>
          </p:nvSpPr>
          <p:spPr bwMode="gray">
            <a:xfrm>
              <a:off x="0" y="2978510"/>
              <a:ext cx="1253258" cy="3003012"/>
            </a:xfrm>
            <a:custGeom>
              <a:avLst/>
              <a:gdLst>
                <a:gd name="connsiteX0" fmla="*/ 0 w 1253258"/>
                <a:gd name="connsiteY0" fmla="*/ 0 h 3003012"/>
                <a:gd name="connsiteX1" fmla="*/ 644699 w 1253258"/>
                <a:gd name="connsiteY1" fmla="*/ 463727 h 3003012"/>
                <a:gd name="connsiteX2" fmla="*/ 625018 w 1253258"/>
                <a:gd name="connsiteY2" fmla="*/ 474245 h 3003012"/>
                <a:gd name="connsiteX3" fmla="*/ 465974 w 1253258"/>
                <a:gd name="connsiteY3" fmla="*/ 627800 h 3003012"/>
                <a:gd name="connsiteX4" fmla="*/ 267051 w 1253258"/>
                <a:gd name="connsiteY4" fmla="*/ 928336 h 3003012"/>
                <a:gd name="connsiteX5" fmla="*/ 345869 w 1253258"/>
                <a:gd name="connsiteY5" fmla="*/ 1247655 h 3003012"/>
                <a:gd name="connsiteX6" fmla="*/ 1238476 w 1253258"/>
                <a:gd name="connsiteY6" fmla="*/ 1756027 h 3003012"/>
                <a:gd name="connsiteX7" fmla="*/ 1253183 w 1253258"/>
                <a:gd name="connsiteY7" fmla="*/ 1764403 h 3003012"/>
                <a:gd name="connsiteX8" fmla="*/ 1253258 w 1253258"/>
                <a:gd name="connsiteY8" fmla="*/ 1779912 h 3003012"/>
                <a:gd name="connsiteX9" fmla="*/ 1087196 w 1253258"/>
                <a:gd name="connsiteY9" fmla="*/ 2059155 h 3003012"/>
                <a:gd name="connsiteX10" fmla="*/ 213936 w 1253258"/>
                <a:gd name="connsiteY10" fmla="*/ 2477607 h 3003012"/>
                <a:gd name="connsiteX11" fmla="*/ 13209 w 1253258"/>
                <a:gd name="connsiteY11" fmla="*/ 2806583 h 3003012"/>
                <a:gd name="connsiteX12" fmla="*/ 0 w 1253258"/>
                <a:gd name="connsiteY12" fmla="*/ 3003012 h 3003012"/>
                <a:gd name="connsiteX13" fmla="*/ 0 w 1253258"/>
                <a:gd name="connsiteY13" fmla="*/ 1103514 h 3003012"/>
                <a:gd name="connsiteX14" fmla="*/ 30463 w 1253258"/>
                <a:gd name="connsiteY14" fmla="*/ 1057811 h 3003012"/>
                <a:gd name="connsiteX15" fmla="*/ 327103 w 1253258"/>
                <a:gd name="connsiteY15" fmla="*/ 612773 h 3003012"/>
                <a:gd name="connsiteX16" fmla="*/ 255791 w 1253258"/>
                <a:gd name="connsiteY16" fmla="*/ 289697 h 3003012"/>
                <a:gd name="connsiteX17" fmla="*/ 62447 w 1253258"/>
                <a:gd name="connsiteY17" fmla="*/ 165880 h 3003012"/>
                <a:gd name="connsiteX18" fmla="*/ 0 w 1253258"/>
                <a:gd name="connsiteY18" fmla="*/ 125890 h 3003012"/>
                <a:gd name="connsiteX19" fmla="*/ 0 w 1253258"/>
                <a:gd name="connsiteY19" fmla="*/ 0 h 300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53258" h="3003012">
                  <a:moveTo>
                    <a:pt x="0" y="0"/>
                  </a:moveTo>
                  <a:lnTo>
                    <a:pt x="644699" y="463727"/>
                  </a:lnTo>
                  <a:lnTo>
                    <a:pt x="625018" y="474245"/>
                  </a:lnTo>
                  <a:cubicBezTo>
                    <a:pt x="559805" y="516977"/>
                    <a:pt x="501629" y="571450"/>
                    <a:pt x="465974" y="627800"/>
                  </a:cubicBezTo>
                  <a:cubicBezTo>
                    <a:pt x="465974" y="627800"/>
                    <a:pt x="465974" y="627800"/>
                    <a:pt x="267051" y="928336"/>
                  </a:cubicBezTo>
                  <a:cubicBezTo>
                    <a:pt x="195739" y="1037280"/>
                    <a:pt x="233272" y="1183791"/>
                    <a:pt x="345869" y="1247655"/>
                  </a:cubicBezTo>
                  <a:cubicBezTo>
                    <a:pt x="345869" y="1247655"/>
                    <a:pt x="345869" y="1247655"/>
                    <a:pt x="1238476" y="1756027"/>
                  </a:cubicBezTo>
                  <a:lnTo>
                    <a:pt x="1253183" y="1764403"/>
                  </a:lnTo>
                  <a:lnTo>
                    <a:pt x="1253258" y="1779912"/>
                  </a:lnTo>
                  <a:cubicBezTo>
                    <a:pt x="1245022" y="1898336"/>
                    <a:pt x="1176924" y="2016159"/>
                    <a:pt x="1087196" y="2059155"/>
                  </a:cubicBezTo>
                  <a:lnTo>
                    <a:pt x="213936" y="2477607"/>
                  </a:lnTo>
                  <a:cubicBezTo>
                    <a:pt x="111391" y="2526745"/>
                    <a:pt x="19192" y="2677804"/>
                    <a:pt x="13209" y="2806583"/>
                  </a:cubicBezTo>
                  <a:lnTo>
                    <a:pt x="0" y="3003012"/>
                  </a:lnTo>
                  <a:lnTo>
                    <a:pt x="0" y="1103514"/>
                  </a:lnTo>
                  <a:lnTo>
                    <a:pt x="30463" y="1057811"/>
                  </a:lnTo>
                  <a:cubicBezTo>
                    <a:pt x="123035" y="918929"/>
                    <a:pt x="221777" y="770789"/>
                    <a:pt x="327103" y="612773"/>
                  </a:cubicBezTo>
                  <a:cubicBezTo>
                    <a:pt x="398415" y="507585"/>
                    <a:pt x="368389" y="357317"/>
                    <a:pt x="255791" y="289697"/>
                  </a:cubicBezTo>
                  <a:cubicBezTo>
                    <a:pt x="255791" y="289697"/>
                    <a:pt x="255791" y="289697"/>
                    <a:pt x="62447" y="165880"/>
                  </a:cubicBezTo>
                  <a:lnTo>
                    <a:pt x="0" y="12589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31" name="Freeform 30"/>
            <p:cNvSpPr/>
            <p:nvPr userDrawn="1"/>
          </p:nvSpPr>
          <p:spPr bwMode="gray">
            <a:xfrm>
              <a:off x="3045424" y="1"/>
              <a:ext cx="3114944" cy="1390583"/>
            </a:xfrm>
            <a:custGeom>
              <a:avLst/>
              <a:gdLst>
                <a:gd name="connsiteX0" fmla="*/ 1954302 w 3114944"/>
                <a:gd name="connsiteY0" fmla="*/ 0 h 1390583"/>
                <a:gd name="connsiteX1" fmla="*/ 2998798 w 3114944"/>
                <a:gd name="connsiteY1" fmla="*/ 0 h 1390583"/>
                <a:gd name="connsiteX2" fmla="*/ 3068398 w 3114944"/>
                <a:gd name="connsiteY2" fmla="*/ 104891 h 1390583"/>
                <a:gd name="connsiteX3" fmla="*/ 3021366 w 3114944"/>
                <a:gd name="connsiteY3" fmla="*/ 405605 h 1390583"/>
                <a:gd name="connsiteX4" fmla="*/ 2489182 w 3114944"/>
                <a:gd name="connsiteY4" fmla="*/ 660619 h 1390583"/>
                <a:gd name="connsiteX5" fmla="*/ 2437018 w 3114944"/>
                <a:gd name="connsiteY5" fmla="*/ 627214 h 1390583"/>
                <a:gd name="connsiteX6" fmla="*/ 2175618 w 3114944"/>
                <a:gd name="connsiteY6" fmla="*/ 459813 h 1390583"/>
                <a:gd name="connsiteX7" fmla="*/ 1762760 w 3114944"/>
                <a:gd name="connsiteY7" fmla="*/ 441030 h 1390583"/>
                <a:gd name="connsiteX8" fmla="*/ 1327382 w 3114944"/>
                <a:gd name="connsiteY8" fmla="*/ 673945 h 1390583"/>
                <a:gd name="connsiteX9" fmla="*/ 1079668 w 3114944"/>
                <a:gd name="connsiteY9" fmla="*/ 1019562 h 1390583"/>
                <a:gd name="connsiteX10" fmla="*/ 1026896 w 3114944"/>
                <a:gd name="connsiteY10" fmla="*/ 1341833 h 1390583"/>
                <a:gd name="connsiteX11" fmla="*/ 1023432 w 3114944"/>
                <a:gd name="connsiteY11" fmla="*/ 1362983 h 1390583"/>
                <a:gd name="connsiteX12" fmla="*/ 1006070 w 3114944"/>
                <a:gd name="connsiteY12" fmla="*/ 1371303 h 1390583"/>
                <a:gd name="connsiteX13" fmla="*/ 659294 w 3114944"/>
                <a:gd name="connsiteY13" fmla="*/ 1268080 h 1390583"/>
                <a:gd name="connsiteX14" fmla="*/ 0 w 3114944"/>
                <a:gd name="connsiteY14" fmla="*/ 472566 h 1390583"/>
                <a:gd name="connsiteX15" fmla="*/ 40018 w 3114944"/>
                <a:gd name="connsiteY15" fmla="*/ 482354 h 1390583"/>
                <a:gd name="connsiteX16" fmla="*/ 824446 w 3114944"/>
                <a:gd name="connsiteY16" fmla="*/ 636378 h 1390583"/>
                <a:gd name="connsiteX17" fmla="*/ 1267330 w 3114944"/>
                <a:gd name="connsiteY17" fmla="*/ 572514 h 1390583"/>
                <a:gd name="connsiteX18" fmla="*/ 1725228 w 3114944"/>
                <a:gd name="connsiteY18" fmla="*/ 328329 h 1390583"/>
                <a:gd name="connsiteX19" fmla="*/ 1949470 w 3114944"/>
                <a:gd name="connsiteY19" fmla="*/ 28021 h 1390583"/>
                <a:gd name="connsiteX20" fmla="*/ 1954302 w 3114944"/>
                <a:gd name="connsiteY20" fmla="*/ 0 h 1390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14944" h="1390583">
                  <a:moveTo>
                    <a:pt x="1954302" y="0"/>
                  </a:moveTo>
                  <a:lnTo>
                    <a:pt x="2998798" y="0"/>
                  </a:lnTo>
                  <a:lnTo>
                    <a:pt x="3068398" y="104891"/>
                  </a:lnTo>
                  <a:cubicBezTo>
                    <a:pt x="3146086" y="219929"/>
                    <a:pt x="3123914" y="356467"/>
                    <a:pt x="3021366" y="405605"/>
                  </a:cubicBezTo>
                  <a:lnTo>
                    <a:pt x="2489182" y="660619"/>
                  </a:lnTo>
                  <a:lnTo>
                    <a:pt x="2437018" y="627214"/>
                  </a:lnTo>
                  <a:cubicBezTo>
                    <a:pt x="2361228" y="578677"/>
                    <a:pt x="2274610" y="523207"/>
                    <a:pt x="2175618" y="459813"/>
                  </a:cubicBezTo>
                  <a:cubicBezTo>
                    <a:pt x="2063020" y="392193"/>
                    <a:pt x="1879110" y="380923"/>
                    <a:pt x="1762760" y="441030"/>
                  </a:cubicBezTo>
                  <a:cubicBezTo>
                    <a:pt x="1762760" y="441030"/>
                    <a:pt x="1762760" y="441030"/>
                    <a:pt x="1327382" y="673945"/>
                  </a:cubicBezTo>
                  <a:cubicBezTo>
                    <a:pt x="1211032" y="737809"/>
                    <a:pt x="1098434" y="891834"/>
                    <a:pt x="1079668" y="1019562"/>
                  </a:cubicBezTo>
                  <a:cubicBezTo>
                    <a:pt x="1079668" y="1019562"/>
                    <a:pt x="1079668" y="1019562"/>
                    <a:pt x="1026896" y="1341833"/>
                  </a:cubicBezTo>
                  <a:lnTo>
                    <a:pt x="1023432" y="1362983"/>
                  </a:lnTo>
                  <a:lnTo>
                    <a:pt x="1006070" y="1371303"/>
                  </a:lnTo>
                  <a:cubicBezTo>
                    <a:pt x="904602" y="1419924"/>
                    <a:pt x="748226" y="1373339"/>
                    <a:pt x="659294" y="1268080"/>
                  </a:cubicBezTo>
                  <a:lnTo>
                    <a:pt x="0" y="472566"/>
                  </a:lnTo>
                  <a:lnTo>
                    <a:pt x="40018" y="482354"/>
                  </a:lnTo>
                  <a:cubicBezTo>
                    <a:pt x="40018" y="482354"/>
                    <a:pt x="40018" y="482354"/>
                    <a:pt x="824446" y="636378"/>
                  </a:cubicBezTo>
                  <a:cubicBezTo>
                    <a:pt x="952058" y="662675"/>
                    <a:pt x="1150980" y="632622"/>
                    <a:pt x="1267330" y="572514"/>
                  </a:cubicBezTo>
                  <a:cubicBezTo>
                    <a:pt x="1267330" y="572514"/>
                    <a:pt x="1267330" y="572514"/>
                    <a:pt x="1725228" y="328329"/>
                  </a:cubicBezTo>
                  <a:cubicBezTo>
                    <a:pt x="1827034" y="272448"/>
                    <a:pt x="1920222" y="144662"/>
                    <a:pt x="1949470" y="28021"/>
                  </a:cubicBezTo>
                  <a:lnTo>
                    <a:pt x="1954302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2" name="Freeform 31"/>
            <p:cNvSpPr/>
            <p:nvPr userDrawn="1"/>
          </p:nvSpPr>
          <p:spPr bwMode="gray">
            <a:xfrm>
              <a:off x="0" y="137804"/>
              <a:ext cx="2047830" cy="1873007"/>
            </a:xfrm>
            <a:custGeom>
              <a:avLst/>
              <a:gdLst>
                <a:gd name="connsiteX0" fmla="*/ 331946 w 2047830"/>
                <a:gd name="connsiteY0" fmla="*/ 0 h 1873007"/>
                <a:gd name="connsiteX1" fmla="*/ 360420 w 2047830"/>
                <a:gd name="connsiteY1" fmla="*/ 47686 h 1873007"/>
                <a:gd name="connsiteX2" fmla="*/ 717140 w 2047830"/>
                <a:gd name="connsiteY2" fmla="*/ 645087 h 1873007"/>
                <a:gd name="connsiteX3" fmla="*/ 1073698 w 2047830"/>
                <a:gd name="connsiteY3" fmla="*/ 896785 h 1873007"/>
                <a:gd name="connsiteX4" fmla="*/ 1861882 w 2047830"/>
                <a:gd name="connsiteY4" fmla="*/ 1062080 h 1873007"/>
                <a:gd name="connsiteX5" fmla="*/ 1912830 w 2047830"/>
                <a:gd name="connsiteY5" fmla="*/ 1067987 h 1873007"/>
                <a:gd name="connsiteX6" fmla="*/ 1952650 w 2047830"/>
                <a:gd name="connsiteY6" fmla="*/ 1066776 h 1873007"/>
                <a:gd name="connsiteX7" fmla="*/ 2047830 w 2047830"/>
                <a:gd name="connsiteY7" fmla="*/ 1360050 h 1873007"/>
                <a:gd name="connsiteX8" fmla="*/ 1986678 w 2047830"/>
                <a:gd name="connsiteY8" fmla="*/ 1274333 h 1873007"/>
                <a:gd name="connsiteX9" fmla="*/ 1809336 w 2047830"/>
                <a:gd name="connsiteY9" fmla="*/ 1171024 h 1873007"/>
                <a:gd name="connsiteX10" fmla="*/ 1148764 w 2047830"/>
                <a:gd name="connsiteY10" fmla="*/ 1028270 h 1873007"/>
                <a:gd name="connsiteX11" fmla="*/ 844750 w 2047830"/>
                <a:gd name="connsiteY11" fmla="*/ 1212348 h 1873007"/>
                <a:gd name="connsiteX12" fmla="*/ 649990 w 2047830"/>
                <a:gd name="connsiteY12" fmla="*/ 1854215 h 1873007"/>
                <a:gd name="connsiteX13" fmla="*/ 644290 w 2047830"/>
                <a:gd name="connsiteY13" fmla="*/ 1873007 h 1873007"/>
                <a:gd name="connsiteX14" fmla="*/ 0 w 2047830"/>
                <a:gd name="connsiteY14" fmla="*/ 892142 h 1873007"/>
                <a:gd name="connsiteX15" fmla="*/ 0 w 2047830"/>
                <a:gd name="connsiteY15" fmla="*/ 269735 h 1873007"/>
                <a:gd name="connsiteX16" fmla="*/ 331946 w 2047830"/>
                <a:gd name="connsiteY16" fmla="*/ 0 h 187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47830" h="1873007">
                  <a:moveTo>
                    <a:pt x="331946" y="0"/>
                  </a:moveTo>
                  <a:lnTo>
                    <a:pt x="360420" y="47686"/>
                  </a:lnTo>
                  <a:cubicBezTo>
                    <a:pt x="455658" y="207182"/>
                    <a:pt x="572874" y="403484"/>
                    <a:pt x="717140" y="645087"/>
                  </a:cubicBezTo>
                  <a:cubicBezTo>
                    <a:pt x="784698" y="754031"/>
                    <a:pt x="946088" y="870488"/>
                    <a:pt x="1073698" y="896785"/>
                  </a:cubicBezTo>
                  <a:cubicBezTo>
                    <a:pt x="1073698" y="896785"/>
                    <a:pt x="1073698" y="896785"/>
                    <a:pt x="1861882" y="1062080"/>
                  </a:cubicBezTo>
                  <a:cubicBezTo>
                    <a:pt x="1878302" y="1065367"/>
                    <a:pt x="1895368" y="1067304"/>
                    <a:pt x="1912830" y="1067987"/>
                  </a:cubicBezTo>
                  <a:lnTo>
                    <a:pt x="1952650" y="1066776"/>
                  </a:lnTo>
                  <a:lnTo>
                    <a:pt x="2047830" y="1360050"/>
                  </a:lnTo>
                  <a:lnTo>
                    <a:pt x="1986678" y="1274333"/>
                  </a:lnTo>
                  <a:cubicBezTo>
                    <a:pt x="1937886" y="1222679"/>
                    <a:pt x="1875018" y="1184173"/>
                    <a:pt x="1809336" y="1171024"/>
                  </a:cubicBezTo>
                  <a:cubicBezTo>
                    <a:pt x="1809336" y="1171024"/>
                    <a:pt x="1809336" y="1171024"/>
                    <a:pt x="1148764" y="1028270"/>
                  </a:cubicBezTo>
                  <a:cubicBezTo>
                    <a:pt x="1017400" y="1001973"/>
                    <a:pt x="882282" y="1084620"/>
                    <a:pt x="844750" y="1212348"/>
                  </a:cubicBezTo>
                  <a:cubicBezTo>
                    <a:pt x="844750" y="1212348"/>
                    <a:pt x="844750" y="1212348"/>
                    <a:pt x="649990" y="1854215"/>
                  </a:cubicBezTo>
                  <a:lnTo>
                    <a:pt x="644290" y="1873007"/>
                  </a:lnTo>
                  <a:lnTo>
                    <a:pt x="0" y="892142"/>
                  </a:lnTo>
                  <a:lnTo>
                    <a:pt x="0" y="269735"/>
                  </a:lnTo>
                  <a:lnTo>
                    <a:pt x="331946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</p:grpSp>
      <p:sp>
        <p:nvSpPr>
          <p:cNvPr id="28" name="Picture Placeholder 19"/>
          <p:cNvSpPr>
            <a:spLocks noGrp="1"/>
          </p:cNvSpPr>
          <p:nvPr userDrawn="1">
            <p:ph type="pic" sz="quarter" idx="18"/>
          </p:nvPr>
        </p:nvSpPr>
        <p:spPr bwMode="gray">
          <a:xfrm>
            <a:off x="1416000" y="1501931"/>
            <a:ext cx="4385900" cy="3924309"/>
          </a:xfrm>
          <a:custGeom>
            <a:avLst/>
            <a:gdLst>
              <a:gd name="connsiteX0" fmla="*/ 2640160 w 4025900"/>
              <a:gd name="connsiteY0" fmla="*/ 1421 h 3602197"/>
              <a:gd name="connsiteX1" fmla="*/ 3141707 w 4025900"/>
              <a:gd name="connsiteY1" fmla="*/ 189633 h 3602197"/>
              <a:gd name="connsiteX2" fmla="*/ 3728661 w 4025900"/>
              <a:gd name="connsiteY2" fmla="*/ 513040 h 3602197"/>
              <a:gd name="connsiteX3" fmla="*/ 4025900 w 4025900"/>
              <a:gd name="connsiteY3" fmla="*/ 1016954 h 3602197"/>
              <a:gd name="connsiteX4" fmla="*/ 4025900 w 4025900"/>
              <a:gd name="connsiteY4" fmla="*/ 3295850 h 3602197"/>
              <a:gd name="connsiteX5" fmla="*/ 3687273 w 4025900"/>
              <a:gd name="connsiteY5" fmla="*/ 3600454 h 3602197"/>
              <a:gd name="connsiteX6" fmla="*/ 338627 w 4025900"/>
              <a:gd name="connsiteY6" fmla="*/ 3235681 h 3602197"/>
              <a:gd name="connsiteX7" fmla="*/ 0 w 4025900"/>
              <a:gd name="connsiteY7" fmla="*/ 2855865 h 3602197"/>
              <a:gd name="connsiteX8" fmla="*/ 0 w 4025900"/>
              <a:gd name="connsiteY8" fmla="*/ 1550953 h 3602197"/>
              <a:gd name="connsiteX9" fmla="*/ 308527 w 4025900"/>
              <a:gd name="connsiteY9" fmla="*/ 1065842 h 3602197"/>
              <a:gd name="connsiteX10" fmla="*/ 2374152 w 4025900"/>
              <a:gd name="connsiteY10" fmla="*/ 95619 h 3602197"/>
              <a:gd name="connsiteX11" fmla="*/ 2640160 w 4025900"/>
              <a:gd name="connsiteY11" fmla="*/ 1421 h 3602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25900" h="3602197">
                <a:moveTo>
                  <a:pt x="2640160" y="1421"/>
                </a:moveTo>
                <a:cubicBezTo>
                  <a:pt x="2765455" y="-10147"/>
                  <a:pt x="2883034" y="48612"/>
                  <a:pt x="3141707" y="189633"/>
                </a:cubicBezTo>
                <a:cubicBezTo>
                  <a:pt x="3141707" y="189633"/>
                  <a:pt x="3141707" y="189633"/>
                  <a:pt x="3728661" y="513040"/>
                </a:cubicBezTo>
                <a:cubicBezTo>
                  <a:pt x="3890449" y="603293"/>
                  <a:pt x="4025900" y="828927"/>
                  <a:pt x="4025900" y="1016954"/>
                </a:cubicBezTo>
                <a:cubicBezTo>
                  <a:pt x="4025900" y="1016954"/>
                  <a:pt x="4025900" y="1016954"/>
                  <a:pt x="4025900" y="3295850"/>
                </a:cubicBezTo>
                <a:cubicBezTo>
                  <a:pt x="4025900" y="3483877"/>
                  <a:pt x="3875399" y="3619257"/>
                  <a:pt x="3687273" y="3600454"/>
                </a:cubicBezTo>
                <a:cubicBezTo>
                  <a:pt x="3687273" y="3600454"/>
                  <a:pt x="3687273" y="3600454"/>
                  <a:pt x="338627" y="3235681"/>
                </a:cubicBezTo>
                <a:cubicBezTo>
                  <a:pt x="154264" y="3213117"/>
                  <a:pt x="0" y="3043892"/>
                  <a:pt x="0" y="2855865"/>
                </a:cubicBezTo>
                <a:cubicBezTo>
                  <a:pt x="0" y="2855865"/>
                  <a:pt x="0" y="2855865"/>
                  <a:pt x="0" y="1550953"/>
                </a:cubicBezTo>
                <a:cubicBezTo>
                  <a:pt x="0" y="1366686"/>
                  <a:pt x="139213" y="1144813"/>
                  <a:pt x="308527" y="1065842"/>
                </a:cubicBezTo>
                <a:cubicBezTo>
                  <a:pt x="308527" y="1065842"/>
                  <a:pt x="308527" y="1065842"/>
                  <a:pt x="2374152" y="95619"/>
                </a:cubicBezTo>
                <a:cubicBezTo>
                  <a:pt x="2487028" y="40621"/>
                  <a:pt x="2564983" y="8362"/>
                  <a:pt x="2640160" y="142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56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6095999" y="4293096"/>
            <a:ext cx="5472113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</a:p>
          <a:p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096000" y="3501080"/>
            <a:ext cx="5472113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096000" y="2107718"/>
            <a:ext cx="5472113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1271744" y="5271077"/>
            <a:ext cx="2520000" cy="1254267"/>
          </a:xfrm>
          <a:prstGeom prst="rect">
            <a:avLst/>
          </a:prstGeom>
        </p:spPr>
      </p:pic>
      <p:grpSp>
        <p:nvGrpSpPr>
          <p:cNvPr id="19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5"/>
          </a:solidFill>
        </p:grpSpPr>
        <p:sp>
          <p:nvSpPr>
            <p:cNvPr id="20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07738299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rganic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5821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Freeform 12"/>
          <p:cNvSpPr/>
          <p:nvPr userDrawn="1"/>
        </p:nvSpPr>
        <p:spPr bwMode="gray">
          <a:xfrm>
            <a:off x="0" y="0"/>
            <a:ext cx="7668866" cy="6858000"/>
          </a:xfrm>
          <a:custGeom>
            <a:avLst/>
            <a:gdLst>
              <a:gd name="connsiteX0" fmla="*/ 0 w 7668866"/>
              <a:gd name="connsiteY0" fmla="*/ 6118796 h 6858000"/>
              <a:gd name="connsiteX1" fmla="*/ 169917 w 7668866"/>
              <a:gd name="connsiteY1" fmla="*/ 6182092 h 6858000"/>
              <a:gd name="connsiteX2" fmla="*/ 2255428 w 7668866"/>
              <a:gd name="connsiteY2" fmla="*/ 6838640 h 6858000"/>
              <a:gd name="connsiteX3" fmla="*/ 2315677 w 7668866"/>
              <a:gd name="connsiteY3" fmla="*/ 6858000 h 6858000"/>
              <a:gd name="connsiteX4" fmla="*/ 0 w 7668866"/>
              <a:gd name="connsiteY4" fmla="*/ 6858000 h 6858000"/>
              <a:gd name="connsiteX5" fmla="*/ 3581596 w 7668866"/>
              <a:gd name="connsiteY5" fmla="*/ 0 h 6858000"/>
              <a:gd name="connsiteX6" fmla="*/ 4015128 w 7668866"/>
              <a:gd name="connsiteY6" fmla="*/ 0 h 6858000"/>
              <a:gd name="connsiteX7" fmla="*/ 4167882 w 7668866"/>
              <a:gd name="connsiteY7" fmla="*/ 298486 h 6858000"/>
              <a:gd name="connsiteX8" fmla="*/ 6467174 w 7668866"/>
              <a:gd name="connsiteY8" fmla="*/ 3012758 h 6858000"/>
              <a:gd name="connsiteX9" fmla="*/ 7668866 w 7668866"/>
              <a:gd name="connsiteY9" fmla="*/ 3005248 h 6858000"/>
              <a:gd name="connsiteX10" fmla="*/ 7668866 w 7668866"/>
              <a:gd name="connsiteY10" fmla="*/ 3200516 h 6858000"/>
              <a:gd name="connsiteX11" fmla="*/ 7514899 w 7668866"/>
              <a:gd name="connsiteY11" fmla="*/ 3193006 h 6858000"/>
              <a:gd name="connsiteX12" fmla="*/ 6598609 w 7668866"/>
              <a:gd name="connsiteY12" fmla="*/ 3211781 h 6858000"/>
              <a:gd name="connsiteX13" fmla="*/ 5776201 w 7668866"/>
              <a:gd name="connsiteY13" fmla="*/ 4661271 h 6858000"/>
              <a:gd name="connsiteX14" fmla="*/ 6369537 w 7668866"/>
              <a:gd name="connsiteY14" fmla="*/ 5618835 h 6858000"/>
              <a:gd name="connsiteX15" fmla="*/ 7668866 w 7668866"/>
              <a:gd name="connsiteY15" fmla="*/ 6095740 h 6858000"/>
              <a:gd name="connsiteX16" fmla="*/ 7668866 w 7668866"/>
              <a:gd name="connsiteY16" fmla="*/ 6730361 h 6858000"/>
              <a:gd name="connsiteX17" fmla="*/ 7478585 w 7668866"/>
              <a:gd name="connsiteY17" fmla="*/ 6858000 h 6858000"/>
              <a:gd name="connsiteX18" fmla="*/ 5290708 w 7668866"/>
              <a:gd name="connsiteY18" fmla="*/ 6858000 h 6858000"/>
              <a:gd name="connsiteX19" fmla="*/ 5386062 w 7668866"/>
              <a:gd name="connsiteY19" fmla="*/ 6791676 h 6858000"/>
              <a:gd name="connsiteX20" fmla="*/ 6155486 w 7668866"/>
              <a:gd name="connsiteY20" fmla="*/ 5618835 h 6858000"/>
              <a:gd name="connsiteX21" fmla="*/ 5749914 w 7668866"/>
              <a:gd name="connsiteY21" fmla="*/ 4845274 h 6858000"/>
              <a:gd name="connsiteX22" fmla="*/ 5205398 w 7668866"/>
              <a:gd name="connsiteY22" fmla="*/ 4278245 h 6858000"/>
              <a:gd name="connsiteX23" fmla="*/ 2982268 w 7668866"/>
              <a:gd name="connsiteY23" fmla="*/ 3902730 h 6858000"/>
              <a:gd name="connsiteX24" fmla="*/ 669011 w 7668866"/>
              <a:gd name="connsiteY24" fmla="*/ 4101753 h 6858000"/>
              <a:gd name="connsiteX25" fmla="*/ 96300 w 7668866"/>
              <a:gd name="connsiteY25" fmla="*/ 4174560 h 6858000"/>
              <a:gd name="connsiteX26" fmla="*/ 0 w 7668866"/>
              <a:gd name="connsiteY26" fmla="*/ 4192923 h 6858000"/>
              <a:gd name="connsiteX27" fmla="*/ 0 w 7668866"/>
              <a:gd name="connsiteY27" fmla="*/ 3924438 h 6858000"/>
              <a:gd name="connsiteX28" fmla="*/ 292367 w 7668866"/>
              <a:gd name="connsiteY28" fmla="*/ 3925789 h 6858000"/>
              <a:gd name="connsiteX29" fmla="*/ 710319 w 7668866"/>
              <a:gd name="connsiteY29" fmla="*/ 3913995 h 6858000"/>
              <a:gd name="connsiteX30" fmla="*/ 2997289 w 7668866"/>
              <a:gd name="connsiteY30" fmla="*/ 3726238 h 6858000"/>
              <a:gd name="connsiteX31" fmla="*/ 3800920 w 7668866"/>
              <a:gd name="connsiteY31" fmla="*/ 2167848 h 6858000"/>
              <a:gd name="connsiteX32" fmla="*/ 2978512 w 7668866"/>
              <a:gd name="connsiteY32" fmla="*/ 1274122 h 6858000"/>
              <a:gd name="connsiteX33" fmla="*/ 163925 w 7668866"/>
              <a:gd name="connsiteY33" fmla="*/ 873259 h 6858000"/>
              <a:gd name="connsiteX34" fmla="*/ 0 w 7668866"/>
              <a:gd name="connsiteY34" fmla="*/ 900488 h 6858000"/>
              <a:gd name="connsiteX35" fmla="*/ 0 w 7668866"/>
              <a:gd name="connsiteY35" fmla="*/ 135524 h 6858000"/>
              <a:gd name="connsiteX36" fmla="*/ 910757 w 7668866"/>
              <a:gd name="connsiteY36" fmla="*/ 423110 h 6858000"/>
              <a:gd name="connsiteX37" fmla="*/ 2802014 w 7668866"/>
              <a:gd name="connsiteY37" fmla="*/ 999995 h 6858000"/>
              <a:gd name="connsiteX38" fmla="*/ 3586869 w 7668866"/>
              <a:gd name="connsiteY38" fmla="*/ 2365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7668866" h="6858000">
                <a:moveTo>
                  <a:pt x="0" y="6118796"/>
                </a:moveTo>
                <a:lnTo>
                  <a:pt x="169917" y="6182092"/>
                </a:lnTo>
                <a:cubicBezTo>
                  <a:pt x="653385" y="6353440"/>
                  <a:pt x="1331769" y="6543923"/>
                  <a:pt x="2255428" y="6838640"/>
                </a:cubicBezTo>
                <a:lnTo>
                  <a:pt x="2315677" y="6858000"/>
                </a:lnTo>
                <a:lnTo>
                  <a:pt x="0" y="6858000"/>
                </a:lnTo>
                <a:close/>
                <a:moveTo>
                  <a:pt x="3581596" y="0"/>
                </a:moveTo>
                <a:lnTo>
                  <a:pt x="4015128" y="0"/>
                </a:lnTo>
                <a:lnTo>
                  <a:pt x="4167882" y="298486"/>
                </a:lnTo>
                <a:cubicBezTo>
                  <a:pt x="4826583" y="1560217"/>
                  <a:pt x="5678564" y="2874756"/>
                  <a:pt x="6467174" y="3012758"/>
                </a:cubicBezTo>
                <a:cubicBezTo>
                  <a:pt x="6673715" y="3050310"/>
                  <a:pt x="7285827" y="3027779"/>
                  <a:pt x="7668866" y="3005248"/>
                </a:cubicBezTo>
                <a:cubicBezTo>
                  <a:pt x="7668866" y="3005248"/>
                  <a:pt x="7668866" y="3005248"/>
                  <a:pt x="7668866" y="3200516"/>
                </a:cubicBezTo>
                <a:cubicBezTo>
                  <a:pt x="7620047" y="3196761"/>
                  <a:pt x="7567473" y="3193006"/>
                  <a:pt x="7514899" y="3193006"/>
                </a:cubicBezTo>
                <a:cubicBezTo>
                  <a:pt x="7345912" y="3193006"/>
                  <a:pt x="6733800" y="3196761"/>
                  <a:pt x="6598609" y="3211781"/>
                </a:cubicBezTo>
                <a:cubicBezTo>
                  <a:pt x="6061603" y="3275619"/>
                  <a:pt x="5333078" y="3827627"/>
                  <a:pt x="5776201" y="4661271"/>
                </a:cubicBezTo>
                <a:cubicBezTo>
                  <a:pt x="5840041" y="4777681"/>
                  <a:pt x="6279410" y="5498671"/>
                  <a:pt x="6369537" y="5618835"/>
                </a:cubicBezTo>
                <a:cubicBezTo>
                  <a:pt x="6531014" y="5832879"/>
                  <a:pt x="7109328" y="6065699"/>
                  <a:pt x="7668866" y="6095740"/>
                </a:cubicBezTo>
                <a:cubicBezTo>
                  <a:pt x="7668866" y="6095740"/>
                  <a:pt x="7668866" y="6095740"/>
                  <a:pt x="7668866" y="6730361"/>
                </a:cubicBezTo>
                <a:lnTo>
                  <a:pt x="7478585" y="6858000"/>
                </a:lnTo>
                <a:lnTo>
                  <a:pt x="5290708" y="6858000"/>
                </a:lnTo>
                <a:lnTo>
                  <a:pt x="5386062" y="6791676"/>
                </a:lnTo>
                <a:cubicBezTo>
                  <a:pt x="5840041" y="6471490"/>
                  <a:pt x="6251245" y="6128598"/>
                  <a:pt x="6155486" y="5618835"/>
                </a:cubicBezTo>
                <a:cubicBezTo>
                  <a:pt x="6132954" y="5498671"/>
                  <a:pt x="5813754" y="4954173"/>
                  <a:pt x="5749914" y="4845274"/>
                </a:cubicBezTo>
                <a:cubicBezTo>
                  <a:pt x="5663543" y="4691312"/>
                  <a:pt x="5487044" y="4424696"/>
                  <a:pt x="5205398" y="4278245"/>
                </a:cubicBezTo>
                <a:cubicBezTo>
                  <a:pt x="4582020" y="3962812"/>
                  <a:pt x="3917334" y="3835137"/>
                  <a:pt x="2982268" y="3902730"/>
                </a:cubicBezTo>
                <a:cubicBezTo>
                  <a:pt x="2426485" y="3944037"/>
                  <a:pt x="1367494" y="4037915"/>
                  <a:pt x="669011" y="4101753"/>
                </a:cubicBezTo>
                <a:cubicBezTo>
                  <a:pt x="508472" y="4117243"/>
                  <a:pt x="303574" y="4139598"/>
                  <a:pt x="96300" y="4174560"/>
                </a:cubicBezTo>
                <a:lnTo>
                  <a:pt x="0" y="4192923"/>
                </a:lnTo>
                <a:lnTo>
                  <a:pt x="0" y="3924438"/>
                </a:lnTo>
                <a:lnTo>
                  <a:pt x="292367" y="3925789"/>
                </a:lnTo>
                <a:cubicBezTo>
                  <a:pt x="431958" y="3924322"/>
                  <a:pt x="571373" y="3920567"/>
                  <a:pt x="710319" y="3913995"/>
                </a:cubicBezTo>
                <a:cubicBezTo>
                  <a:pt x="999476" y="3898975"/>
                  <a:pt x="2670579" y="3756279"/>
                  <a:pt x="2997289" y="3726238"/>
                </a:cubicBezTo>
                <a:cubicBezTo>
                  <a:pt x="3759612" y="3651135"/>
                  <a:pt x="3977419" y="2689815"/>
                  <a:pt x="3800920" y="2167848"/>
                </a:cubicBezTo>
                <a:cubicBezTo>
                  <a:pt x="3639443" y="1698454"/>
                  <a:pt x="3504253" y="1409307"/>
                  <a:pt x="2978512" y="1274122"/>
                </a:cubicBezTo>
                <a:cubicBezTo>
                  <a:pt x="1536482" y="909872"/>
                  <a:pt x="709380" y="808482"/>
                  <a:pt x="163925" y="873259"/>
                </a:cubicBezTo>
                <a:lnTo>
                  <a:pt x="0" y="900488"/>
                </a:lnTo>
                <a:lnTo>
                  <a:pt x="0" y="135524"/>
                </a:lnTo>
                <a:lnTo>
                  <a:pt x="910757" y="423110"/>
                </a:lnTo>
                <a:cubicBezTo>
                  <a:pt x="1537421" y="618847"/>
                  <a:pt x="2167370" y="812238"/>
                  <a:pt x="2802014" y="999995"/>
                </a:cubicBezTo>
                <a:cubicBezTo>
                  <a:pt x="3737081" y="1274122"/>
                  <a:pt x="3699528" y="616970"/>
                  <a:pt x="3586869" y="23655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4" name="Freeform 13"/>
          <p:cNvSpPr/>
          <p:nvPr userDrawn="1"/>
        </p:nvSpPr>
        <p:spPr bwMode="gray">
          <a:xfrm>
            <a:off x="-1" y="-1"/>
            <a:ext cx="12192000" cy="6858001"/>
          </a:xfrm>
          <a:custGeom>
            <a:avLst/>
            <a:gdLst>
              <a:gd name="connsiteX0" fmla="*/ 2376294 w 12192000"/>
              <a:gd name="connsiteY0" fmla="*/ 0 h 6858000"/>
              <a:gd name="connsiteX1" fmla="*/ 2892698 w 12192000"/>
              <a:gd name="connsiteY1" fmla="*/ 0 h 6858000"/>
              <a:gd name="connsiteX2" fmla="*/ 2891112 w 12192000"/>
              <a:gd name="connsiteY2" fmla="*/ 25388 h 6858000"/>
              <a:gd name="connsiteX3" fmla="*/ 3097511 w 12192000"/>
              <a:gd name="connsiteY3" fmla="*/ 567520 h 6858000"/>
              <a:gd name="connsiteX4" fmla="*/ 5003886 w 12192000"/>
              <a:gd name="connsiteY4" fmla="*/ 1145793 h 6858000"/>
              <a:gd name="connsiteX5" fmla="*/ 7398113 w 12192000"/>
              <a:gd name="connsiteY5" fmla="*/ 650130 h 6858000"/>
              <a:gd name="connsiteX6" fmla="*/ 7738316 w 12192000"/>
              <a:gd name="connsiteY6" fmla="*/ 36515 h 6858000"/>
              <a:gd name="connsiteX7" fmla="*/ 7715084 w 12192000"/>
              <a:gd name="connsiteY7" fmla="*/ 0 h 6858000"/>
              <a:gd name="connsiteX8" fmla="*/ 12192000 w 12192000"/>
              <a:gd name="connsiteY8" fmla="*/ 0 h 6858000"/>
              <a:gd name="connsiteX9" fmla="*/ 12192000 w 12192000"/>
              <a:gd name="connsiteY9" fmla="*/ 6858000 h 6858000"/>
              <a:gd name="connsiteX10" fmla="*/ 0 w 12192000"/>
              <a:gd name="connsiteY10" fmla="*/ 6858000 h 6858000"/>
              <a:gd name="connsiteX11" fmla="*/ 0 w 12192000"/>
              <a:gd name="connsiteY11" fmla="*/ 4710669 h 6858000"/>
              <a:gd name="connsiteX12" fmla="*/ 108070 w 12192000"/>
              <a:gd name="connsiteY12" fmla="*/ 4629515 h 6858000"/>
              <a:gd name="connsiteX13" fmla="*/ 538165 w 12192000"/>
              <a:gd name="connsiteY13" fmla="*/ 3421336 h 6858000"/>
              <a:gd name="connsiteX14" fmla="*/ 74237 w 12192000"/>
              <a:gd name="connsiteY14" fmla="*/ 2357257 h 6858000"/>
              <a:gd name="connsiteX15" fmla="*/ 0 w 12192000"/>
              <a:gd name="connsiteY15" fmla="*/ 2257472 h 6858000"/>
              <a:gd name="connsiteX16" fmla="*/ 0 w 12192000"/>
              <a:gd name="connsiteY16" fmla="*/ 667182 h 6858000"/>
              <a:gd name="connsiteX17" fmla="*/ 24044 w 12192000"/>
              <a:gd name="connsiteY17" fmla="*/ 683925 h 6858000"/>
              <a:gd name="connsiteX18" fmla="*/ 1502611 w 12192000"/>
              <a:gd name="connsiteY18" fmla="*/ 1479990 h 6858000"/>
              <a:gd name="connsiteX19" fmla="*/ 2500831 w 12192000"/>
              <a:gd name="connsiteY19" fmla="*/ 1303504 h 6858000"/>
              <a:gd name="connsiteX20" fmla="*/ 2654692 w 12192000"/>
              <a:gd name="connsiteY20" fmla="*/ 376014 h 6858000"/>
              <a:gd name="connsiteX21" fmla="*/ 2507926 w 12192000"/>
              <a:gd name="connsiteY21" fmla="*/ 1752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58000">
                <a:moveTo>
                  <a:pt x="2376294" y="0"/>
                </a:moveTo>
                <a:lnTo>
                  <a:pt x="2892698" y="0"/>
                </a:lnTo>
                <a:lnTo>
                  <a:pt x="2891112" y="25388"/>
                </a:lnTo>
                <a:cubicBezTo>
                  <a:pt x="2895803" y="224874"/>
                  <a:pt x="2968043" y="422951"/>
                  <a:pt x="3097511" y="567520"/>
                </a:cubicBezTo>
                <a:cubicBezTo>
                  <a:pt x="3581610" y="1104488"/>
                  <a:pt x="4362173" y="1164568"/>
                  <a:pt x="5003886" y="1145793"/>
                </a:cubicBezTo>
                <a:cubicBezTo>
                  <a:pt x="5701890" y="1123263"/>
                  <a:pt x="6797680" y="1081958"/>
                  <a:pt x="7398113" y="650130"/>
                </a:cubicBezTo>
                <a:cubicBezTo>
                  <a:pt x="7738202" y="404880"/>
                  <a:pt x="7811864" y="202901"/>
                  <a:pt x="7738316" y="36515"/>
                </a:cubicBezTo>
                <a:lnTo>
                  <a:pt x="7715084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0669"/>
                </a:lnTo>
                <a:lnTo>
                  <a:pt x="108070" y="4629515"/>
                </a:lnTo>
                <a:cubicBezTo>
                  <a:pt x="459358" y="4359857"/>
                  <a:pt x="743626" y="4069077"/>
                  <a:pt x="538165" y="3421336"/>
                </a:cubicBezTo>
                <a:cubicBezTo>
                  <a:pt x="393686" y="2966979"/>
                  <a:pt x="262341" y="2640292"/>
                  <a:pt x="74237" y="2357257"/>
                </a:cubicBezTo>
                <a:lnTo>
                  <a:pt x="0" y="2257472"/>
                </a:lnTo>
                <a:lnTo>
                  <a:pt x="0" y="667182"/>
                </a:lnTo>
                <a:lnTo>
                  <a:pt x="24044" y="683925"/>
                </a:lnTo>
                <a:cubicBezTo>
                  <a:pt x="485627" y="984327"/>
                  <a:pt x="995996" y="1344809"/>
                  <a:pt x="1502611" y="1479990"/>
                </a:cubicBezTo>
                <a:cubicBezTo>
                  <a:pt x="1814086" y="1562601"/>
                  <a:pt x="2200614" y="1427420"/>
                  <a:pt x="2500831" y="1303504"/>
                </a:cubicBezTo>
                <a:cubicBezTo>
                  <a:pt x="2962414" y="1111998"/>
                  <a:pt x="2891112" y="710211"/>
                  <a:pt x="2654692" y="376014"/>
                </a:cubicBezTo>
                <a:cubicBezTo>
                  <a:pt x="2606845" y="310301"/>
                  <a:pt x="2557825" y="242945"/>
                  <a:pt x="2507926" y="175296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Picture Placeholder 45"/>
          <p:cNvSpPr>
            <a:spLocks noGrp="1"/>
          </p:cNvSpPr>
          <p:nvPr>
            <p:ph type="pic" sz="quarter" idx="19"/>
          </p:nvPr>
        </p:nvSpPr>
        <p:spPr bwMode="gray">
          <a:xfrm>
            <a:off x="700812" y="1282237"/>
            <a:ext cx="5182809" cy="4539274"/>
          </a:xfrm>
          <a:custGeom>
            <a:avLst/>
            <a:gdLst>
              <a:gd name="connsiteX0" fmla="*/ 3144164 w 5182809"/>
              <a:gd name="connsiteY0" fmla="*/ 0 h 4539274"/>
              <a:gd name="connsiteX1" fmla="*/ 3986889 w 5182809"/>
              <a:gd name="connsiteY1" fmla="*/ 181304 h 4539274"/>
              <a:gd name="connsiteX2" fmla="*/ 4723453 w 5182809"/>
              <a:gd name="connsiteY2" fmla="*/ 3961442 h 4539274"/>
              <a:gd name="connsiteX3" fmla="*/ 2712936 w 5182809"/>
              <a:gd name="connsiteY3" fmla="*/ 4476232 h 4539274"/>
              <a:gd name="connsiteX4" fmla="*/ 446877 w 5182809"/>
              <a:gd name="connsiteY4" fmla="*/ 3157317 h 4539274"/>
              <a:gd name="connsiteX5" fmla="*/ 785095 w 5182809"/>
              <a:gd name="connsiteY5" fmla="*/ 639730 h 4539274"/>
              <a:gd name="connsiteX6" fmla="*/ 2284527 w 5182809"/>
              <a:gd name="connsiteY6" fmla="*/ 106152 h 4539274"/>
              <a:gd name="connsiteX7" fmla="*/ 3144164 w 5182809"/>
              <a:gd name="connsiteY7" fmla="*/ 0 h 4539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82809" h="4539274">
                <a:moveTo>
                  <a:pt x="3144164" y="0"/>
                </a:moveTo>
                <a:cubicBezTo>
                  <a:pt x="3441983" y="0"/>
                  <a:pt x="3736984" y="47910"/>
                  <a:pt x="3986889" y="181304"/>
                </a:cubicBezTo>
                <a:cubicBezTo>
                  <a:pt x="5302181" y="887732"/>
                  <a:pt x="5508869" y="2781558"/>
                  <a:pt x="4723453" y="3961442"/>
                </a:cubicBezTo>
                <a:cubicBezTo>
                  <a:pt x="4257464" y="4585202"/>
                  <a:pt x="3381855" y="4603990"/>
                  <a:pt x="2712936" y="4476232"/>
                </a:cubicBezTo>
                <a:cubicBezTo>
                  <a:pt x="1856118" y="4310898"/>
                  <a:pt x="1093249" y="3747259"/>
                  <a:pt x="446877" y="3157317"/>
                </a:cubicBezTo>
                <a:cubicBezTo>
                  <a:pt x="-293444" y="2477193"/>
                  <a:pt x="-67965" y="1109429"/>
                  <a:pt x="785095" y="639730"/>
                </a:cubicBezTo>
                <a:cubicBezTo>
                  <a:pt x="1251084" y="380457"/>
                  <a:pt x="1773442" y="222638"/>
                  <a:pt x="2284527" y="106152"/>
                </a:cubicBezTo>
                <a:cubicBezTo>
                  <a:pt x="2545706" y="47910"/>
                  <a:pt x="2846344" y="0"/>
                  <a:pt x="3144164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684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6000" y="5085000"/>
            <a:ext cx="2880000" cy="1458000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542" y="4364905"/>
            <a:ext cx="5327542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Name</a:t>
            </a:r>
            <a:br>
              <a:rPr lang="en-US" noProof="0"/>
            </a:br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240922" y="3573087"/>
            <a:ext cx="5327192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240922" y="2180310"/>
            <a:ext cx="5327192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cap="none" baseline="0">
                <a:solidFill>
                  <a:schemeClr val="accent5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accent1"/>
          </a:solidFill>
        </p:grpSpPr>
        <p:sp>
          <p:nvSpPr>
            <p:cNvPr id="16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9226183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ynthe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2339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" name="Freeform 6"/>
          <p:cNvSpPr>
            <a:spLocks noEditPoints="1"/>
          </p:cNvSpPr>
          <p:nvPr userDrawn="1"/>
        </p:nvSpPr>
        <p:spPr bwMode="gray">
          <a:xfrm>
            <a:off x="463543" y="486048"/>
            <a:ext cx="4883069" cy="5475233"/>
          </a:xfrm>
          <a:custGeom>
            <a:avLst/>
            <a:gdLst>
              <a:gd name="T0" fmla="*/ 1263 w 1588"/>
              <a:gd name="T1" fmla="*/ 1439 h 1779"/>
              <a:gd name="T2" fmla="*/ 1172 w 1588"/>
              <a:gd name="T3" fmla="*/ 1552 h 1779"/>
              <a:gd name="T4" fmla="*/ 1028 w 1588"/>
              <a:gd name="T5" fmla="*/ 1530 h 1779"/>
              <a:gd name="T6" fmla="*/ 897 w 1588"/>
              <a:gd name="T7" fmla="*/ 1348 h 1779"/>
              <a:gd name="T8" fmla="*/ 781 w 1588"/>
              <a:gd name="T9" fmla="*/ 1506 h 1779"/>
              <a:gd name="T10" fmla="*/ 563 w 1588"/>
              <a:gd name="T11" fmla="*/ 1484 h 1779"/>
              <a:gd name="T12" fmla="*/ 473 w 1588"/>
              <a:gd name="T13" fmla="*/ 1284 h 1779"/>
              <a:gd name="T14" fmla="*/ 601 w 1588"/>
              <a:gd name="T15" fmla="*/ 1106 h 1779"/>
              <a:gd name="T16" fmla="*/ 819 w 1588"/>
              <a:gd name="T17" fmla="*/ 1128 h 1779"/>
              <a:gd name="T18" fmla="*/ 987 w 1588"/>
              <a:gd name="T19" fmla="*/ 1374 h 1779"/>
              <a:gd name="T20" fmla="*/ 1066 w 1588"/>
              <a:gd name="T21" fmla="*/ 1281 h 1779"/>
              <a:gd name="T22" fmla="*/ 1210 w 1588"/>
              <a:gd name="T23" fmla="*/ 1303 h 1779"/>
              <a:gd name="T24" fmla="*/ 463 w 1588"/>
              <a:gd name="T25" fmla="*/ 891 h 1779"/>
              <a:gd name="T26" fmla="*/ 551 w 1588"/>
              <a:gd name="T27" fmla="*/ 667 h 1779"/>
              <a:gd name="T28" fmla="*/ 962 w 1588"/>
              <a:gd name="T29" fmla="*/ 629 h 1779"/>
              <a:gd name="T30" fmla="*/ 854 w 1588"/>
              <a:gd name="T31" fmla="*/ 368 h 1779"/>
              <a:gd name="T32" fmla="*/ 1003 w 1588"/>
              <a:gd name="T33" fmla="*/ 36 h 1779"/>
              <a:gd name="T34" fmla="*/ 1364 w 1588"/>
              <a:gd name="T35" fmla="*/ 0 h 1779"/>
              <a:gd name="T36" fmla="*/ 1577 w 1588"/>
              <a:gd name="T37" fmla="*/ 294 h 1779"/>
              <a:gd name="T38" fmla="*/ 1428 w 1588"/>
              <a:gd name="T39" fmla="*/ 626 h 1779"/>
              <a:gd name="T40" fmla="*/ 893 w 1588"/>
              <a:gd name="T41" fmla="*/ 663 h 1779"/>
              <a:gd name="T42" fmla="*/ 940 w 1588"/>
              <a:gd name="T43" fmla="*/ 818 h 1779"/>
              <a:gd name="T44" fmla="*/ 853 w 1588"/>
              <a:gd name="T45" fmla="*/ 1043 h 1779"/>
              <a:gd name="T46" fmla="*/ 614 w 1588"/>
              <a:gd name="T47" fmla="*/ 1079 h 1779"/>
              <a:gd name="T48" fmla="*/ 463 w 1588"/>
              <a:gd name="T49" fmla="*/ 891 h 1779"/>
              <a:gd name="T50" fmla="*/ 117 w 1588"/>
              <a:gd name="T51" fmla="*/ 884 h 1779"/>
              <a:gd name="T52" fmla="*/ 381 w 1588"/>
              <a:gd name="T53" fmla="*/ 857 h 1779"/>
              <a:gd name="T54" fmla="*/ 536 w 1588"/>
              <a:gd name="T55" fmla="*/ 1073 h 1779"/>
              <a:gd name="T56" fmla="*/ 364 w 1588"/>
              <a:gd name="T57" fmla="*/ 1424 h 1779"/>
              <a:gd name="T58" fmla="*/ 479 w 1588"/>
              <a:gd name="T59" fmla="*/ 1451 h 1779"/>
              <a:gd name="T60" fmla="*/ 590 w 1588"/>
              <a:gd name="T61" fmla="*/ 1588 h 1779"/>
              <a:gd name="T62" fmla="*/ 526 w 1588"/>
              <a:gd name="T63" fmla="*/ 1752 h 1779"/>
              <a:gd name="T64" fmla="*/ 352 w 1588"/>
              <a:gd name="T65" fmla="*/ 1779 h 1779"/>
              <a:gd name="T66" fmla="*/ 242 w 1588"/>
              <a:gd name="T67" fmla="*/ 1642 h 1779"/>
              <a:gd name="T68" fmla="*/ 368 w 1588"/>
              <a:gd name="T69" fmla="*/ 1368 h 1779"/>
              <a:gd name="T70" fmla="*/ 163 w 1588"/>
              <a:gd name="T71" fmla="*/ 1341 h 1779"/>
              <a:gd name="T72" fmla="*/ 8 w 1588"/>
              <a:gd name="T73" fmla="*/ 1126 h 17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88" h="1779">
                <a:moveTo>
                  <a:pt x="1263" y="1394"/>
                </a:moveTo>
                <a:cubicBezTo>
                  <a:pt x="1270" y="1406"/>
                  <a:pt x="1270" y="1426"/>
                  <a:pt x="1263" y="1439"/>
                </a:cubicBezTo>
                <a:cubicBezTo>
                  <a:pt x="1210" y="1530"/>
                  <a:pt x="1210" y="1530"/>
                  <a:pt x="1210" y="1530"/>
                </a:cubicBezTo>
                <a:cubicBezTo>
                  <a:pt x="1203" y="1542"/>
                  <a:pt x="1186" y="1552"/>
                  <a:pt x="1172" y="1552"/>
                </a:cubicBezTo>
                <a:cubicBezTo>
                  <a:pt x="1066" y="1552"/>
                  <a:pt x="1066" y="1552"/>
                  <a:pt x="1066" y="1552"/>
                </a:cubicBezTo>
                <a:cubicBezTo>
                  <a:pt x="1052" y="1552"/>
                  <a:pt x="1035" y="1542"/>
                  <a:pt x="1028" y="1530"/>
                </a:cubicBezTo>
                <a:cubicBezTo>
                  <a:pt x="923" y="1348"/>
                  <a:pt x="923" y="1348"/>
                  <a:pt x="923" y="1348"/>
                </a:cubicBezTo>
                <a:cubicBezTo>
                  <a:pt x="916" y="1336"/>
                  <a:pt x="904" y="1336"/>
                  <a:pt x="897" y="1348"/>
                </a:cubicBezTo>
                <a:cubicBezTo>
                  <a:pt x="819" y="1484"/>
                  <a:pt x="819" y="1484"/>
                  <a:pt x="819" y="1484"/>
                </a:cubicBezTo>
                <a:cubicBezTo>
                  <a:pt x="812" y="1496"/>
                  <a:pt x="795" y="1506"/>
                  <a:pt x="781" y="1506"/>
                </a:cubicBezTo>
                <a:cubicBezTo>
                  <a:pt x="601" y="1506"/>
                  <a:pt x="601" y="1506"/>
                  <a:pt x="601" y="1506"/>
                </a:cubicBezTo>
                <a:cubicBezTo>
                  <a:pt x="587" y="1506"/>
                  <a:pt x="570" y="1496"/>
                  <a:pt x="563" y="1484"/>
                </a:cubicBezTo>
                <a:cubicBezTo>
                  <a:pt x="473" y="1328"/>
                  <a:pt x="473" y="1328"/>
                  <a:pt x="473" y="1328"/>
                </a:cubicBezTo>
                <a:cubicBezTo>
                  <a:pt x="466" y="1316"/>
                  <a:pt x="466" y="1296"/>
                  <a:pt x="473" y="1284"/>
                </a:cubicBezTo>
                <a:cubicBezTo>
                  <a:pt x="563" y="1128"/>
                  <a:pt x="563" y="1128"/>
                  <a:pt x="563" y="1128"/>
                </a:cubicBezTo>
                <a:cubicBezTo>
                  <a:pt x="570" y="1116"/>
                  <a:pt x="587" y="1106"/>
                  <a:pt x="601" y="1106"/>
                </a:cubicBezTo>
                <a:cubicBezTo>
                  <a:pt x="781" y="1106"/>
                  <a:pt x="781" y="1106"/>
                  <a:pt x="781" y="1106"/>
                </a:cubicBezTo>
                <a:cubicBezTo>
                  <a:pt x="795" y="1106"/>
                  <a:pt x="812" y="1116"/>
                  <a:pt x="819" y="1128"/>
                </a:cubicBezTo>
                <a:cubicBezTo>
                  <a:pt x="961" y="1374"/>
                  <a:pt x="961" y="1374"/>
                  <a:pt x="961" y="1374"/>
                </a:cubicBezTo>
                <a:cubicBezTo>
                  <a:pt x="968" y="1387"/>
                  <a:pt x="980" y="1387"/>
                  <a:pt x="987" y="1374"/>
                </a:cubicBezTo>
                <a:cubicBezTo>
                  <a:pt x="1028" y="1303"/>
                  <a:pt x="1028" y="1303"/>
                  <a:pt x="1028" y="1303"/>
                </a:cubicBezTo>
                <a:cubicBezTo>
                  <a:pt x="1035" y="1291"/>
                  <a:pt x="1052" y="1281"/>
                  <a:pt x="1066" y="1281"/>
                </a:cubicBezTo>
                <a:cubicBezTo>
                  <a:pt x="1172" y="1281"/>
                  <a:pt x="1172" y="1281"/>
                  <a:pt x="1172" y="1281"/>
                </a:cubicBezTo>
                <a:cubicBezTo>
                  <a:pt x="1186" y="1281"/>
                  <a:pt x="1203" y="1291"/>
                  <a:pt x="1210" y="1303"/>
                </a:cubicBezTo>
                <a:lnTo>
                  <a:pt x="1263" y="1394"/>
                </a:lnTo>
                <a:close/>
                <a:moveTo>
                  <a:pt x="463" y="891"/>
                </a:moveTo>
                <a:cubicBezTo>
                  <a:pt x="452" y="871"/>
                  <a:pt x="452" y="838"/>
                  <a:pt x="463" y="818"/>
                </a:cubicBezTo>
                <a:cubicBezTo>
                  <a:pt x="551" y="667"/>
                  <a:pt x="551" y="667"/>
                  <a:pt x="551" y="667"/>
                </a:cubicBezTo>
                <a:cubicBezTo>
                  <a:pt x="562" y="646"/>
                  <a:pt x="591" y="630"/>
                  <a:pt x="614" y="630"/>
                </a:cubicBezTo>
                <a:cubicBezTo>
                  <a:pt x="962" y="629"/>
                  <a:pt x="962" y="629"/>
                  <a:pt x="962" y="629"/>
                </a:cubicBezTo>
                <a:cubicBezTo>
                  <a:pt x="985" y="629"/>
                  <a:pt x="995" y="613"/>
                  <a:pt x="983" y="593"/>
                </a:cubicBezTo>
                <a:cubicBezTo>
                  <a:pt x="854" y="368"/>
                  <a:pt x="854" y="368"/>
                  <a:pt x="854" y="368"/>
                </a:cubicBezTo>
                <a:cubicBezTo>
                  <a:pt x="842" y="347"/>
                  <a:pt x="842" y="314"/>
                  <a:pt x="854" y="294"/>
                </a:cubicBezTo>
                <a:cubicBezTo>
                  <a:pt x="1003" y="36"/>
                  <a:pt x="1003" y="36"/>
                  <a:pt x="1003" y="36"/>
                </a:cubicBezTo>
                <a:cubicBezTo>
                  <a:pt x="1014" y="16"/>
                  <a:pt x="1043" y="0"/>
                  <a:pt x="1066" y="0"/>
                </a:cubicBezTo>
                <a:cubicBezTo>
                  <a:pt x="1364" y="0"/>
                  <a:pt x="1364" y="0"/>
                  <a:pt x="1364" y="0"/>
                </a:cubicBezTo>
                <a:cubicBezTo>
                  <a:pt x="1387" y="0"/>
                  <a:pt x="1416" y="16"/>
                  <a:pt x="1428" y="36"/>
                </a:cubicBezTo>
                <a:cubicBezTo>
                  <a:pt x="1577" y="294"/>
                  <a:pt x="1577" y="294"/>
                  <a:pt x="1577" y="294"/>
                </a:cubicBezTo>
                <a:cubicBezTo>
                  <a:pt x="1588" y="314"/>
                  <a:pt x="1588" y="347"/>
                  <a:pt x="1577" y="368"/>
                </a:cubicBezTo>
                <a:cubicBezTo>
                  <a:pt x="1428" y="626"/>
                  <a:pt x="1428" y="626"/>
                  <a:pt x="1428" y="626"/>
                </a:cubicBezTo>
                <a:cubicBezTo>
                  <a:pt x="1416" y="646"/>
                  <a:pt x="1387" y="662"/>
                  <a:pt x="1364" y="662"/>
                </a:cubicBezTo>
                <a:cubicBezTo>
                  <a:pt x="893" y="663"/>
                  <a:pt x="893" y="663"/>
                  <a:pt x="893" y="663"/>
                </a:cubicBezTo>
                <a:cubicBezTo>
                  <a:pt x="870" y="663"/>
                  <a:pt x="860" y="679"/>
                  <a:pt x="872" y="699"/>
                </a:cubicBezTo>
                <a:cubicBezTo>
                  <a:pt x="940" y="818"/>
                  <a:pt x="940" y="818"/>
                  <a:pt x="940" y="818"/>
                </a:cubicBezTo>
                <a:cubicBezTo>
                  <a:pt x="952" y="838"/>
                  <a:pt x="952" y="871"/>
                  <a:pt x="940" y="891"/>
                </a:cubicBezTo>
                <a:cubicBezTo>
                  <a:pt x="853" y="1043"/>
                  <a:pt x="853" y="1043"/>
                  <a:pt x="853" y="1043"/>
                </a:cubicBezTo>
                <a:cubicBezTo>
                  <a:pt x="841" y="1063"/>
                  <a:pt x="812" y="1079"/>
                  <a:pt x="789" y="1079"/>
                </a:cubicBezTo>
                <a:cubicBezTo>
                  <a:pt x="614" y="1079"/>
                  <a:pt x="614" y="1079"/>
                  <a:pt x="614" y="1079"/>
                </a:cubicBezTo>
                <a:cubicBezTo>
                  <a:pt x="591" y="1079"/>
                  <a:pt x="562" y="1063"/>
                  <a:pt x="551" y="1043"/>
                </a:cubicBezTo>
                <a:lnTo>
                  <a:pt x="463" y="891"/>
                </a:lnTo>
                <a:close/>
                <a:moveTo>
                  <a:pt x="8" y="1073"/>
                </a:moveTo>
                <a:cubicBezTo>
                  <a:pt x="117" y="884"/>
                  <a:pt x="117" y="884"/>
                  <a:pt x="117" y="884"/>
                </a:cubicBezTo>
                <a:cubicBezTo>
                  <a:pt x="125" y="869"/>
                  <a:pt x="146" y="857"/>
                  <a:pt x="163" y="857"/>
                </a:cubicBezTo>
                <a:cubicBezTo>
                  <a:pt x="381" y="857"/>
                  <a:pt x="381" y="857"/>
                  <a:pt x="381" y="857"/>
                </a:cubicBezTo>
                <a:cubicBezTo>
                  <a:pt x="398" y="857"/>
                  <a:pt x="418" y="869"/>
                  <a:pt x="427" y="884"/>
                </a:cubicBezTo>
                <a:cubicBezTo>
                  <a:pt x="536" y="1073"/>
                  <a:pt x="536" y="1073"/>
                  <a:pt x="536" y="1073"/>
                </a:cubicBezTo>
                <a:cubicBezTo>
                  <a:pt x="544" y="1087"/>
                  <a:pt x="544" y="1111"/>
                  <a:pt x="536" y="1126"/>
                </a:cubicBezTo>
                <a:cubicBezTo>
                  <a:pt x="364" y="1424"/>
                  <a:pt x="364" y="1424"/>
                  <a:pt x="364" y="1424"/>
                </a:cubicBezTo>
                <a:cubicBezTo>
                  <a:pt x="356" y="1439"/>
                  <a:pt x="362" y="1451"/>
                  <a:pt x="379" y="1451"/>
                </a:cubicBezTo>
                <a:cubicBezTo>
                  <a:pt x="479" y="1451"/>
                  <a:pt x="479" y="1451"/>
                  <a:pt x="479" y="1451"/>
                </a:cubicBezTo>
                <a:cubicBezTo>
                  <a:pt x="496" y="1451"/>
                  <a:pt x="517" y="1463"/>
                  <a:pt x="526" y="1478"/>
                </a:cubicBezTo>
                <a:cubicBezTo>
                  <a:pt x="590" y="1588"/>
                  <a:pt x="590" y="1588"/>
                  <a:pt x="590" y="1588"/>
                </a:cubicBezTo>
                <a:cubicBezTo>
                  <a:pt x="598" y="1603"/>
                  <a:pt x="598" y="1627"/>
                  <a:pt x="590" y="1642"/>
                </a:cubicBezTo>
                <a:cubicBezTo>
                  <a:pt x="526" y="1752"/>
                  <a:pt x="526" y="1752"/>
                  <a:pt x="526" y="1752"/>
                </a:cubicBezTo>
                <a:cubicBezTo>
                  <a:pt x="517" y="1767"/>
                  <a:pt x="496" y="1779"/>
                  <a:pt x="479" y="1779"/>
                </a:cubicBezTo>
                <a:cubicBezTo>
                  <a:pt x="352" y="1779"/>
                  <a:pt x="352" y="1779"/>
                  <a:pt x="352" y="1779"/>
                </a:cubicBezTo>
                <a:cubicBezTo>
                  <a:pt x="335" y="1779"/>
                  <a:pt x="314" y="1767"/>
                  <a:pt x="305" y="1752"/>
                </a:cubicBezTo>
                <a:cubicBezTo>
                  <a:pt x="242" y="1642"/>
                  <a:pt x="242" y="1642"/>
                  <a:pt x="242" y="1642"/>
                </a:cubicBezTo>
                <a:cubicBezTo>
                  <a:pt x="233" y="1627"/>
                  <a:pt x="233" y="1603"/>
                  <a:pt x="242" y="1588"/>
                </a:cubicBezTo>
                <a:cubicBezTo>
                  <a:pt x="368" y="1368"/>
                  <a:pt x="368" y="1368"/>
                  <a:pt x="368" y="1368"/>
                </a:cubicBezTo>
                <a:cubicBezTo>
                  <a:pt x="377" y="1353"/>
                  <a:pt x="370" y="1341"/>
                  <a:pt x="353" y="1341"/>
                </a:cubicBezTo>
                <a:cubicBezTo>
                  <a:pt x="163" y="1341"/>
                  <a:pt x="163" y="1341"/>
                  <a:pt x="163" y="1341"/>
                </a:cubicBezTo>
                <a:cubicBezTo>
                  <a:pt x="146" y="1341"/>
                  <a:pt x="125" y="1329"/>
                  <a:pt x="117" y="1314"/>
                </a:cubicBezTo>
                <a:cubicBezTo>
                  <a:pt x="8" y="1126"/>
                  <a:pt x="8" y="1126"/>
                  <a:pt x="8" y="1126"/>
                </a:cubicBezTo>
                <a:cubicBezTo>
                  <a:pt x="0" y="1111"/>
                  <a:pt x="0" y="1087"/>
                  <a:pt x="8" y="1073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4456428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6910377 w 12192000"/>
              <a:gd name="connsiteY3" fmla="*/ 6858000 h 6858000"/>
              <a:gd name="connsiteX4" fmla="*/ 6944008 w 12192000"/>
              <a:gd name="connsiteY4" fmla="*/ 6799742 h 6858000"/>
              <a:gd name="connsiteX5" fmla="*/ 7200786 w 12192000"/>
              <a:gd name="connsiteY5" fmla="*/ 6354938 h 6858000"/>
              <a:gd name="connsiteX6" fmla="*/ 7200786 w 12192000"/>
              <a:gd name="connsiteY6" fmla="*/ 5837908 h 6858000"/>
              <a:gd name="connsiteX7" fmla="*/ 6149027 w 12192000"/>
              <a:gd name="connsiteY7" fmla="*/ 4012915 h 6858000"/>
              <a:gd name="connsiteX8" fmla="*/ 5703106 w 12192000"/>
              <a:gd name="connsiteY8" fmla="*/ 3754400 h 6858000"/>
              <a:gd name="connsiteX9" fmla="*/ 3870218 w 12192000"/>
              <a:gd name="connsiteY9" fmla="*/ 3754400 h 6858000"/>
              <a:gd name="connsiteX10" fmla="*/ 3719527 w 12192000"/>
              <a:gd name="connsiteY10" fmla="*/ 3492808 h 6858000"/>
              <a:gd name="connsiteX11" fmla="*/ 4943503 w 12192000"/>
              <a:gd name="connsiteY11" fmla="*/ 1363137 h 6858000"/>
              <a:gd name="connsiteX12" fmla="*/ 4943503 w 12192000"/>
              <a:gd name="connsiteY12" fmla="*/ 846107 h 6858000"/>
              <a:gd name="connsiteX13" fmla="*/ 4462168 w 12192000"/>
              <a:gd name="connsiteY13" fmla="*/ 9972 h 6858000"/>
              <a:gd name="connsiteX14" fmla="*/ 0 w 12192000"/>
              <a:gd name="connsiteY14" fmla="*/ 0 h 6858000"/>
              <a:gd name="connsiteX15" fmla="*/ 2066183 w 12192000"/>
              <a:gd name="connsiteY15" fmla="*/ 0 h 6858000"/>
              <a:gd name="connsiteX16" fmla="*/ 1982011 w 12192000"/>
              <a:gd name="connsiteY16" fmla="*/ 146217 h 6858000"/>
              <a:gd name="connsiteX17" fmla="*/ 1579108 w 12192000"/>
              <a:gd name="connsiteY17" fmla="*/ 846107 h 6858000"/>
              <a:gd name="connsiteX18" fmla="*/ 1579108 w 12192000"/>
              <a:gd name="connsiteY18" fmla="*/ 1363137 h 6858000"/>
              <a:gd name="connsiteX19" fmla="*/ 2194171 w 12192000"/>
              <a:gd name="connsiteY19" fmla="*/ 2434127 h 6858000"/>
              <a:gd name="connsiteX20" fmla="*/ 2643167 w 12192000"/>
              <a:gd name="connsiteY20" fmla="*/ 2692642 h 6858000"/>
              <a:gd name="connsiteX21" fmla="*/ 3608816 w 12192000"/>
              <a:gd name="connsiteY21" fmla="*/ 2692642 h 6858000"/>
              <a:gd name="connsiteX22" fmla="*/ 3759507 w 12192000"/>
              <a:gd name="connsiteY22" fmla="*/ 2951157 h 6858000"/>
              <a:gd name="connsiteX23" fmla="*/ 2098836 w 12192000"/>
              <a:gd name="connsiteY23" fmla="*/ 5837908 h 6858000"/>
              <a:gd name="connsiteX24" fmla="*/ 2098836 w 12192000"/>
              <a:gd name="connsiteY24" fmla="*/ 6354938 h 6858000"/>
              <a:gd name="connsiteX25" fmla="*/ 2367778 w 12192000"/>
              <a:gd name="connsiteY25" fmla="*/ 6820814 h 6858000"/>
              <a:gd name="connsiteX26" fmla="*/ 2389244 w 12192000"/>
              <a:gd name="connsiteY26" fmla="*/ 6858000 h 6858000"/>
              <a:gd name="connsiteX27" fmla="*/ 2077708 w 12192000"/>
              <a:gd name="connsiteY27" fmla="*/ 6858000 h 6858000"/>
              <a:gd name="connsiteX28" fmla="*/ 2060010 w 12192000"/>
              <a:gd name="connsiteY28" fmla="*/ 6827344 h 6858000"/>
              <a:gd name="connsiteX29" fmla="*/ 1954296 w 12192000"/>
              <a:gd name="connsiteY29" fmla="*/ 6644229 h 6858000"/>
              <a:gd name="connsiteX30" fmla="*/ 1339233 w 12192000"/>
              <a:gd name="connsiteY30" fmla="*/ 6287232 h 6858000"/>
              <a:gd name="connsiteX31" fmla="*/ 60754 w 12192000"/>
              <a:gd name="connsiteY31" fmla="*/ 6287232 h 6858000"/>
              <a:gd name="connsiteX32" fmla="*/ 0 w 12192000"/>
              <a:gd name="connsiteY32" fmla="*/ 6287232 h 6858000"/>
              <a:gd name="connsiteX33" fmla="*/ 0 w 12192000"/>
              <a:gd name="connsiteY33" fmla="*/ 6028717 h 6858000"/>
              <a:gd name="connsiteX34" fmla="*/ 34162 w 12192000"/>
              <a:gd name="connsiteY34" fmla="*/ 6028717 h 6858000"/>
              <a:gd name="connsiteX35" fmla="*/ 1468396 w 12192000"/>
              <a:gd name="connsiteY35" fmla="*/ 6028717 h 6858000"/>
              <a:gd name="connsiteX36" fmla="*/ 1837434 w 12192000"/>
              <a:gd name="connsiteY36" fmla="*/ 5813288 h 6858000"/>
              <a:gd name="connsiteX37" fmla="*/ 2707749 w 12192000"/>
              <a:gd name="connsiteY37" fmla="*/ 4308361 h 6858000"/>
              <a:gd name="connsiteX38" fmla="*/ 2707749 w 12192000"/>
              <a:gd name="connsiteY38" fmla="*/ 3880580 h 6858000"/>
              <a:gd name="connsiteX39" fmla="*/ 1837434 w 12192000"/>
              <a:gd name="connsiteY39" fmla="*/ 2372576 h 6858000"/>
              <a:gd name="connsiteX40" fmla="*/ 1468396 w 12192000"/>
              <a:gd name="connsiteY40" fmla="*/ 2160224 h 6858000"/>
              <a:gd name="connsiteX41" fmla="*/ 37562 w 12192000"/>
              <a:gd name="connsiteY41" fmla="*/ 2160224 h 6858000"/>
              <a:gd name="connsiteX42" fmla="*/ 0 w 12192000"/>
              <a:gd name="connsiteY42" fmla="*/ 216022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192000" h="6858000">
                <a:moveTo>
                  <a:pt x="4456428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6910377" y="6858000"/>
                </a:lnTo>
                <a:lnTo>
                  <a:pt x="6944008" y="6799742"/>
                </a:lnTo>
                <a:cubicBezTo>
                  <a:pt x="7200786" y="6354938"/>
                  <a:pt x="7200786" y="6354938"/>
                  <a:pt x="7200786" y="6354938"/>
                </a:cubicBezTo>
                <a:cubicBezTo>
                  <a:pt x="7283818" y="6213370"/>
                  <a:pt x="7283818" y="5979476"/>
                  <a:pt x="7200786" y="5837908"/>
                </a:cubicBezTo>
                <a:cubicBezTo>
                  <a:pt x="6149027" y="4012915"/>
                  <a:pt x="6149027" y="4012915"/>
                  <a:pt x="6149027" y="4012915"/>
                </a:cubicBezTo>
                <a:cubicBezTo>
                  <a:pt x="6069069" y="3871348"/>
                  <a:pt x="5866098" y="3754400"/>
                  <a:pt x="5703106" y="3754400"/>
                </a:cubicBezTo>
                <a:cubicBezTo>
                  <a:pt x="3870218" y="3754400"/>
                  <a:pt x="3870218" y="3754400"/>
                  <a:pt x="3870218" y="3754400"/>
                </a:cubicBezTo>
                <a:cubicBezTo>
                  <a:pt x="3704151" y="3754400"/>
                  <a:pt x="3636494" y="3637453"/>
                  <a:pt x="3719527" y="3492808"/>
                </a:cubicBezTo>
                <a:cubicBezTo>
                  <a:pt x="4943503" y="1363137"/>
                  <a:pt x="4943503" y="1363137"/>
                  <a:pt x="4943503" y="1363137"/>
                </a:cubicBezTo>
                <a:cubicBezTo>
                  <a:pt x="5026537" y="1221569"/>
                  <a:pt x="5026537" y="987674"/>
                  <a:pt x="4943503" y="846107"/>
                </a:cubicBezTo>
                <a:cubicBezTo>
                  <a:pt x="4576772" y="209052"/>
                  <a:pt x="4485089" y="49788"/>
                  <a:pt x="4462168" y="9972"/>
                </a:cubicBezTo>
                <a:close/>
                <a:moveTo>
                  <a:pt x="0" y="0"/>
                </a:moveTo>
                <a:lnTo>
                  <a:pt x="2066183" y="0"/>
                </a:lnTo>
                <a:lnTo>
                  <a:pt x="1982011" y="146217"/>
                </a:lnTo>
                <a:cubicBezTo>
                  <a:pt x="1579108" y="846107"/>
                  <a:pt x="1579108" y="846107"/>
                  <a:pt x="1579108" y="846107"/>
                </a:cubicBezTo>
                <a:cubicBezTo>
                  <a:pt x="1496074" y="987674"/>
                  <a:pt x="1496074" y="1221569"/>
                  <a:pt x="1579108" y="1363137"/>
                </a:cubicBezTo>
                <a:cubicBezTo>
                  <a:pt x="2194171" y="2434127"/>
                  <a:pt x="2194171" y="2434127"/>
                  <a:pt x="2194171" y="2434127"/>
                </a:cubicBezTo>
                <a:cubicBezTo>
                  <a:pt x="2277204" y="2575695"/>
                  <a:pt x="2480175" y="2692642"/>
                  <a:pt x="2643167" y="2692642"/>
                </a:cubicBezTo>
                <a:cubicBezTo>
                  <a:pt x="3608816" y="2692642"/>
                  <a:pt x="3608816" y="2692642"/>
                  <a:pt x="3608816" y="2692642"/>
                </a:cubicBezTo>
                <a:cubicBezTo>
                  <a:pt x="3774883" y="2692642"/>
                  <a:pt x="3842540" y="2809590"/>
                  <a:pt x="3759507" y="2951157"/>
                </a:cubicBezTo>
                <a:cubicBezTo>
                  <a:pt x="2098836" y="5837908"/>
                  <a:pt x="2098836" y="5837908"/>
                  <a:pt x="2098836" y="5837908"/>
                </a:cubicBezTo>
                <a:cubicBezTo>
                  <a:pt x="2015802" y="5979476"/>
                  <a:pt x="2015802" y="6213370"/>
                  <a:pt x="2098836" y="6354938"/>
                </a:cubicBezTo>
                <a:cubicBezTo>
                  <a:pt x="2197438" y="6525743"/>
                  <a:pt x="2286797" y="6680534"/>
                  <a:pt x="2367778" y="6820814"/>
                </a:cubicBezTo>
                <a:lnTo>
                  <a:pt x="2389244" y="6858000"/>
                </a:lnTo>
                <a:lnTo>
                  <a:pt x="2077708" y="6858000"/>
                </a:lnTo>
                <a:lnTo>
                  <a:pt x="2060010" y="6827344"/>
                </a:lnTo>
                <a:cubicBezTo>
                  <a:pt x="1954296" y="6644229"/>
                  <a:pt x="1954296" y="6644229"/>
                  <a:pt x="1954296" y="6644229"/>
                </a:cubicBezTo>
                <a:cubicBezTo>
                  <a:pt x="1840509" y="6447265"/>
                  <a:pt x="1563731" y="6287232"/>
                  <a:pt x="1339233" y="6287232"/>
                </a:cubicBezTo>
                <a:cubicBezTo>
                  <a:pt x="704949" y="6287232"/>
                  <a:pt x="308521" y="6287232"/>
                  <a:pt x="60754" y="6287232"/>
                </a:cubicBezTo>
                <a:lnTo>
                  <a:pt x="0" y="6287232"/>
                </a:lnTo>
                <a:lnTo>
                  <a:pt x="0" y="6028717"/>
                </a:lnTo>
                <a:lnTo>
                  <a:pt x="34162" y="6028717"/>
                </a:lnTo>
                <a:cubicBezTo>
                  <a:pt x="1468396" y="6028717"/>
                  <a:pt x="1468396" y="6028717"/>
                  <a:pt x="1468396" y="6028717"/>
                </a:cubicBezTo>
                <a:cubicBezTo>
                  <a:pt x="1603710" y="6028717"/>
                  <a:pt x="1769777" y="5933312"/>
                  <a:pt x="1837434" y="5813288"/>
                </a:cubicBezTo>
                <a:cubicBezTo>
                  <a:pt x="2707749" y="4308361"/>
                  <a:pt x="2707749" y="4308361"/>
                  <a:pt x="2707749" y="4308361"/>
                </a:cubicBezTo>
                <a:cubicBezTo>
                  <a:pt x="2775405" y="4191414"/>
                  <a:pt x="2775405" y="3997527"/>
                  <a:pt x="2707749" y="3880580"/>
                </a:cubicBezTo>
                <a:lnTo>
                  <a:pt x="1837434" y="2372576"/>
                </a:lnTo>
                <a:cubicBezTo>
                  <a:pt x="1769777" y="2255629"/>
                  <a:pt x="1603710" y="2160224"/>
                  <a:pt x="1468396" y="2160224"/>
                </a:cubicBezTo>
                <a:cubicBezTo>
                  <a:pt x="706871" y="2160224"/>
                  <a:pt x="278513" y="2160224"/>
                  <a:pt x="37562" y="2160224"/>
                </a:cubicBezTo>
                <a:lnTo>
                  <a:pt x="0" y="2160224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991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48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00</a:t>
            </a:r>
            <a:endParaRPr lang="en-US"/>
          </a:p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/>
              <a:t>Chapter name </a:t>
            </a:r>
            <a:br>
              <a:rPr lang="en-US" noProof="0"/>
            </a:br>
            <a:r>
              <a:rPr lang="en-US" noProof="0"/>
              <a:t>in two lines</a:t>
            </a:r>
          </a:p>
        </p:txBody>
      </p:sp>
      <p:grpSp>
        <p:nvGrpSpPr>
          <p:cNvPr id="10" name="Group 9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739003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st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88772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6" name="Freeform 15"/>
          <p:cNvSpPr/>
          <p:nvPr userDrawn="1"/>
        </p:nvSpPr>
        <p:spPr bwMode="gray">
          <a:xfrm>
            <a:off x="0" y="0"/>
            <a:ext cx="8832236" cy="6858000"/>
          </a:xfrm>
          <a:custGeom>
            <a:avLst/>
            <a:gdLst>
              <a:gd name="connsiteX0" fmla="*/ 1333675 w 8832236"/>
              <a:gd name="connsiteY0" fmla="*/ 0 h 6858000"/>
              <a:gd name="connsiteX1" fmla="*/ 1543197 w 8832236"/>
              <a:gd name="connsiteY1" fmla="*/ 0 h 6858000"/>
              <a:gd name="connsiteX2" fmla="*/ 1739629 w 8832236"/>
              <a:gd name="connsiteY2" fmla="*/ 0 h 6858000"/>
              <a:gd name="connsiteX3" fmla="*/ 1923392 w 8832236"/>
              <a:gd name="connsiteY3" fmla="*/ 0 h 6858000"/>
              <a:gd name="connsiteX4" fmla="*/ 2094910 w 8832236"/>
              <a:gd name="connsiteY4" fmla="*/ 0 h 6858000"/>
              <a:gd name="connsiteX5" fmla="*/ 2402895 w 8832236"/>
              <a:gd name="connsiteY5" fmla="*/ 0 h 6858000"/>
              <a:gd name="connsiteX6" fmla="*/ 2666962 w 8832236"/>
              <a:gd name="connsiteY6" fmla="*/ 0 h 6858000"/>
              <a:gd name="connsiteX7" fmla="*/ 2890490 w 8832236"/>
              <a:gd name="connsiteY7" fmla="*/ 0 h 6858000"/>
              <a:gd name="connsiteX8" fmla="*/ 3076858 w 8832236"/>
              <a:gd name="connsiteY8" fmla="*/ 0 h 6858000"/>
              <a:gd name="connsiteX9" fmla="*/ 3229442 w 8832236"/>
              <a:gd name="connsiteY9" fmla="*/ 0 h 6858000"/>
              <a:gd name="connsiteX10" fmla="*/ 3351623 w 8832236"/>
              <a:gd name="connsiteY10" fmla="*/ 0 h 6858000"/>
              <a:gd name="connsiteX11" fmla="*/ 3446777 w 8832236"/>
              <a:gd name="connsiteY11" fmla="*/ 0 h 6858000"/>
              <a:gd name="connsiteX12" fmla="*/ 3518284 w 8832236"/>
              <a:gd name="connsiteY12" fmla="*/ 0 h 6858000"/>
              <a:gd name="connsiteX13" fmla="*/ 3569521 w 8832236"/>
              <a:gd name="connsiteY13" fmla="*/ 0 h 6858000"/>
              <a:gd name="connsiteX14" fmla="*/ 3603867 w 8832236"/>
              <a:gd name="connsiteY14" fmla="*/ 0 h 6858000"/>
              <a:gd name="connsiteX15" fmla="*/ 3624699 w 8832236"/>
              <a:gd name="connsiteY15" fmla="*/ 0 h 6858000"/>
              <a:gd name="connsiteX16" fmla="*/ 3635397 w 8832236"/>
              <a:gd name="connsiteY16" fmla="*/ 0 h 6858000"/>
              <a:gd name="connsiteX17" fmla="*/ 3639901 w 8832236"/>
              <a:gd name="connsiteY17" fmla="*/ 0 h 6858000"/>
              <a:gd name="connsiteX18" fmla="*/ 3703874 w 8832236"/>
              <a:gd name="connsiteY18" fmla="*/ 368087 h 6858000"/>
              <a:gd name="connsiteX19" fmla="*/ 4081315 w 8832236"/>
              <a:gd name="connsiteY19" fmla="*/ 368087 h 6858000"/>
              <a:gd name="connsiteX20" fmla="*/ 4145288 w 8832236"/>
              <a:gd name="connsiteY20" fmla="*/ 595341 h 6858000"/>
              <a:gd name="connsiteX21" fmla="*/ 3707073 w 8832236"/>
              <a:gd name="connsiteY21" fmla="*/ 707368 h 6858000"/>
              <a:gd name="connsiteX22" fmla="*/ 2520374 w 8832236"/>
              <a:gd name="connsiteY22" fmla="*/ 822595 h 6858000"/>
              <a:gd name="connsiteX23" fmla="*/ 1848657 w 8832236"/>
              <a:gd name="connsiteY23" fmla="*/ 1273902 h 6858000"/>
              <a:gd name="connsiteX24" fmla="*/ 1375257 w 8832236"/>
              <a:gd name="connsiteY24" fmla="*/ 2160511 h 6858000"/>
              <a:gd name="connsiteX25" fmla="*/ 1247311 w 8832236"/>
              <a:gd name="connsiteY25" fmla="*/ 2589413 h 6858000"/>
              <a:gd name="connsiteX26" fmla="*/ 1253709 w 8832236"/>
              <a:gd name="connsiteY26" fmla="*/ 3034318 h 6858000"/>
              <a:gd name="connsiteX27" fmla="*/ 1544786 w 8832236"/>
              <a:gd name="connsiteY27" fmla="*/ 4532273 h 6858000"/>
              <a:gd name="connsiteX28" fmla="*/ 1986199 w 8832236"/>
              <a:gd name="connsiteY28" fmla="*/ 5278049 h 6858000"/>
              <a:gd name="connsiteX29" fmla="*/ 3495962 w 8832236"/>
              <a:gd name="connsiteY29" fmla="*/ 6529546 h 6858000"/>
              <a:gd name="connsiteX30" fmla="*/ 4298823 w 8832236"/>
              <a:gd name="connsiteY30" fmla="*/ 6724792 h 6858000"/>
              <a:gd name="connsiteX31" fmla="*/ 6768180 w 8832236"/>
              <a:gd name="connsiteY31" fmla="*/ 6174262 h 6858000"/>
              <a:gd name="connsiteX32" fmla="*/ 8824911 w 8832236"/>
              <a:gd name="connsiteY32" fmla="*/ 6779205 h 6858000"/>
              <a:gd name="connsiteX33" fmla="*/ 8832236 w 8832236"/>
              <a:gd name="connsiteY33" fmla="*/ 6858000 h 6858000"/>
              <a:gd name="connsiteX34" fmla="*/ 3544539 w 8832236"/>
              <a:gd name="connsiteY34" fmla="*/ 6858000 h 6858000"/>
              <a:gd name="connsiteX35" fmla="*/ 3492763 w 8832236"/>
              <a:gd name="connsiteY35" fmla="*/ 6808012 h 6858000"/>
              <a:gd name="connsiteX36" fmla="*/ 1877445 w 8832236"/>
              <a:gd name="connsiteY36" fmla="*/ 5476496 h 6858000"/>
              <a:gd name="connsiteX37" fmla="*/ 1173742 w 8832236"/>
              <a:gd name="connsiteY37" fmla="*/ 5486099 h 6858000"/>
              <a:gd name="connsiteX38" fmla="*/ 703541 w 8832236"/>
              <a:gd name="connsiteY38" fmla="*/ 5895796 h 6858000"/>
              <a:gd name="connsiteX39" fmla="*/ 118188 w 8832236"/>
              <a:gd name="connsiteY39" fmla="*/ 6379110 h 6858000"/>
              <a:gd name="connsiteX40" fmla="*/ 3143 w 8832236"/>
              <a:gd name="connsiteY40" fmla="*/ 5345084 h 6858000"/>
              <a:gd name="connsiteX41" fmla="*/ 0 w 8832236"/>
              <a:gd name="connsiteY41" fmla="*/ 5310760 h 6858000"/>
              <a:gd name="connsiteX42" fmla="*/ 0 w 8832236"/>
              <a:gd name="connsiteY42" fmla="*/ 2620801 h 6858000"/>
              <a:gd name="connsiteX43" fmla="*/ 53610 w 8832236"/>
              <a:gd name="connsiteY43" fmla="*/ 2608649 h 6858000"/>
              <a:gd name="connsiteX44" fmla="*/ 194956 w 8832236"/>
              <a:gd name="connsiteY44" fmla="*/ 2576610 h 6858000"/>
              <a:gd name="connsiteX45" fmla="*/ 508423 w 8832236"/>
              <a:gd name="connsiteY45" fmla="*/ 2525398 h 6858000"/>
              <a:gd name="connsiteX46" fmla="*/ 1176941 w 8832236"/>
              <a:gd name="connsiteY46" fmla="*/ 2042084 h 6858000"/>
              <a:gd name="connsiteX47" fmla="*/ 1621553 w 8832236"/>
              <a:gd name="connsiteY47" fmla="*/ 1200284 h 6858000"/>
              <a:gd name="connsiteX48" fmla="*/ 1589567 w 8832236"/>
              <a:gd name="connsiteY48" fmla="*/ 406496 h 6858000"/>
              <a:gd name="connsiteX49" fmla="*/ 1333675 w 8832236"/>
              <a:gd name="connsiteY4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8832236" h="6858000">
                <a:moveTo>
                  <a:pt x="1333675" y="0"/>
                </a:moveTo>
                <a:lnTo>
                  <a:pt x="1543197" y="0"/>
                </a:lnTo>
                <a:lnTo>
                  <a:pt x="1739629" y="0"/>
                </a:lnTo>
                <a:lnTo>
                  <a:pt x="1923392" y="0"/>
                </a:lnTo>
                <a:lnTo>
                  <a:pt x="2094910" y="0"/>
                </a:lnTo>
                <a:lnTo>
                  <a:pt x="2402895" y="0"/>
                </a:lnTo>
                <a:lnTo>
                  <a:pt x="2666962" y="0"/>
                </a:lnTo>
                <a:lnTo>
                  <a:pt x="2890490" y="0"/>
                </a:lnTo>
                <a:lnTo>
                  <a:pt x="3076858" y="0"/>
                </a:lnTo>
                <a:lnTo>
                  <a:pt x="3229442" y="0"/>
                </a:lnTo>
                <a:lnTo>
                  <a:pt x="3351623" y="0"/>
                </a:lnTo>
                <a:lnTo>
                  <a:pt x="3446777" y="0"/>
                </a:lnTo>
                <a:lnTo>
                  <a:pt x="3518284" y="0"/>
                </a:lnTo>
                <a:lnTo>
                  <a:pt x="3569521" y="0"/>
                </a:lnTo>
                <a:lnTo>
                  <a:pt x="3603867" y="0"/>
                </a:lnTo>
                <a:lnTo>
                  <a:pt x="3624699" y="0"/>
                </a:lnTo>
                <a:lnTo>
                  <a:pt x="3635397" y="0"/>
                </a:lnTo>
                <a:lnTo>
                  <a:pt x="3639901" y="0"/>
                </a:lnTo>
                <a:cubicBezTo>
                  <a:pt x="3703874" y="368087"/>
                  <a:pt x="3703874" y="368087"/>
                  <a:pt x="3703874" y="368087"/>
                </a:cubicBezTo>
                <a:cubicBezTo>
                  <a:pt x="4081315" y="368087"/>
                  <a:pt x="4081315" y="368087"/>
                  <a:pt x="4081315" y="368087"/>
                </a:cubicBezTo>
                <a:cubicBezTo>
                  <a:pt x="4145288" y="595341"/>
                  <a:pt x="4145288" y="595341"/>
                  <a:pt x="4145288" y="595341"/>
                </a:cubicBezTo>
                <a:cubicBezTo>
                  <a:pt x="3707073" y="707368"/>
                  <a:pt x="3707073" y="707368"/>
                  <a:pt x="3707073" y="707368"/>
                </a:cubicBezTo>
                <a:cubicBezTo>
                  <a:pt x="2520374" y="822595"/>
                  <a:pt x="2520374" y="822595"/>
                  <a:pt x="2520374" y="822595"/>
                </a:cubicBezTo>
                <a:cubicBezTo>
                  <a:pt x="2270879" y="848201"/>
                  <a:pt x="1967008" y="1053049"/>
                  <a:pt x="1848657" y="1273902"/>
                </a:cubicBezTo>
                <a:cubicBezTo>
                  <a:pt x="1375257" y="2160511"/>
                  <a:pt x="1375257" y="2160511"/>
                  <a:pt x="1375257" y="2160511"/>
                </a:cubicBezTo>
                <a:cubicBezTo>
                  <a:pt x="1317682" y="2272538"/>
                  <a:pt x="1272901" y="2429375"/>
                  <a:pt x="1247311" y="2589413"/>
                </a:cubicBezTo>
                <a:cubicBezTo>
                  <a:pt x="1253709" y="3034318"/>
                  <a:pt x="1253709" y="3034318"/>
                  <a:pt x="1253709" y="3034318"/>
                </a:cubicBezTo>
                <a:cubicBezTo>
                  <a:pt x="1544786" y="4532273"/>
                  <a:pt x="1544786" y="4532273"/>
                  <a:pt x="1544786" y="4532273"/>
                </a:cubicBezTo>
                <a:cubicBezTo>
                  <a:pt x="1592766" y="4778731"/>
                  <a:pt x="1794280" y="5114811"/>
                  <a:pt x="1986199" y="5278049"/>
                </a:cubicBezTo>
                <a:cubicBezTo>
                  <a:pt x="3495962" y="6529546"/>
                  <a:pt x="3495962" y="6529546"/>
                  <a:pt x="3495962" y="6529546"/>
                </a:cubicBezTo>
                <a:cubicBezTo>
                  <a:pt x="3687881" y="6692784"/>
                  <a:pt x="4049328" y="6779205"/>
                  <a:pt x="4298823" y="6724792"/>
                </a:cubicBezTo>
                <a:cubicBezTo>
                  <a:pt x="6768180" y="6174262"/>
                  <a:pt x="6768180" y="6174262"/>
                  <a:pt x="6768180" y="6174262"/>
                </a:cubicBezTo>
                <a:cubicBezTo>
                  <a:pt x="8824911" y="6779205"/>
                  <a:pt x="8824911" y="6779205"/>
                  <a:pt x="8824911" y="6779205"/>
                </a:cubicBezTo>
                <a:lnTo>
                  <a:pt x="8832236" y="6858000"/>
                </a:lnTo>
                <a:lnTo>
                  <a:pt x="3544539" y="6858000"/>
                </a:lnTo>
                <a:lnTo>
                  <a:pt x="3492763" y="6808012"/>
                </a:lnTo>
                <a:cubicBezTo>
                  <a:pt x="1877445" y="5476496"/>
                  <a:pt x="1877445" y="5476496"/>
                  <a:pt x="1877445" y="5476496"/>
                </a:cubicBezTo>
                <a:cubicBezTo>
                  <a:pt x="1682328" y="5316459"/>
                  <a:pt x="1365661" y="5319659"/>
                  <a:pt x="1173742" y="5486099"/>
                </a:cubicBezTo>
                <a:cubicBezTo>
                  <a:pt x="703541" y="5895796"/>
                  <a:pt x="703541" y="5895796"/>
                  <a:pt x="703541" y="5895796"/>
                </a:cubicBezTo>
                <a:cubicBezTo>
                  <a:pt x="118188" y="6379110"/>
                  <a:pt x="118188" y="6379110"/>
                  <a:pt x="118188" y="6379110"/>
                </a:cubicBezTo>
                <a:cubicBezTo>
                  <a:pt x="110191" y="6303092"/>
                  <a:pt x="43469" y="5766965"/>
                  <a:pt x="3143" y="5345084"/>
                </a:cubicBezTo>
                <a:lnTo>
                  <a:pt x="0" y="5310760"/>
                </a:lnTo>
                <a:lnTo>
                  <a:pt x="0" y="2620801"/>
                </a:lnTo>
                <a:lnTo>
                  <a:pt x="53610" y="2608649"/>
                </a:lnTo>
                <a:cubicBezTo>
                  <a:pt x="194956" y="2576610"/>
                  <a:pt x="194956" y="2576610"/>
                  <a:pt x="194956" y="2576610"/>
                </a:cubicBezTo>
                <a:cubicBezTo>
                  <a:pt x="508423" y="2525398"/>
                  <a:pt x="508423" y="2525398"/>
                  <a:pt x="508423" y="2525398"/>
                </a:cubicBezTo>
                <a:cubicBezTo>
                  <a:pt x="757918" y="2483788"/>
                  <a:pt x="1058591" y="2266137"/>
                  <a:pt x="1176941" y="2042084"/>
                </a:cubicBezTo>
                <a:cubicBezTo>
                  <a:pt x="1621553" y="1200284"/>
                  <a:pt x="1621553" y="1200284"/>
                  <a:pt x="1621553" y="1200284"/>
                </a:cubicBezTo>
                <a:cubicBezTo>
                  <a:pt x="1739903" y="976231"/>
                  <a:pt x="1727109" y="620947"/>
                  <a:pt x="1589567" y="406496"/>
                </a:cubicBezTo>
                <a:cubicBezTo>
                  <a:pt x="1333675" y="0"/>
                  <a:pt x="1333675" y="0"/>
                  <a:pt x="1333675" y="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3639563 w 12192000"/>
              <a:gd name="connsiteY0" fmla="*/ 0 h 6858000"/>
              <a:gd name="connsiteX1" fmla="*/ 4053406 w 12192000"/>
              <a:gd name="connsiteY1" fmla="*/ 0 h 6858000"/>
              <a:gd name="connsiteX2" fmla="*/ 4441393 w 12192000"/>
              <a:gd name="connsiteY2" fmla="*/ 0 h 6858000"/>
              <a:gd name="connsiteX3" fmla="*/ 4804357 w 12192000"/>
              <a:gd name="connsiteY3" fmla="*/ 0 h 6858000"/>
              <a:gd name="connsiteX4" fmla="*/ 5143133 w 12192000"/>
              <a:gd name="connsiteY4" fmla="*/ 0 h 6858000"/>
              <a:gd name="connsiteX5" fmla="*/ 5458554 w 12192000"/>
              <a:gd name="connsiteY5" fmla="*/ 0 h 6858000"/>
              <a:gd name="connsiteX6" fmla="*/ 5751455 w 12192000"/>
              <a:gd name="connsiteY6" fmla="*/ 0 h 6858000"/>
              <a:gd name="connsiteX7" fmla="*/ 6022671 w 12192000"/>
              <a:gd name="connsiteY7" fmla="*/ 0 h 6858000"/>
              <a:gd name="connsiteX8" fmla="*/ 6273034 w 12192000"/>
              <a:gd name="connsiteY8" fmla="*/ 0 h 6858000"/>
              <a:gd name="connsiteX9" fmla="*/ 6503379 w 12192000"/>
              <a:gd name="connsiteY9" fmla="*/ 0 h 6858000"/>
              <a:gd name="connsiteX10" fmla="*/ 6714541 w 12192000"/>
              <a:gd name="connsiteY10" fmla="*/ 0 h 6858000"/>
              <a:gd name="connsiteX11" fmla="*/ 6907352 w 12192000"/>
              <a:gd name="connsiteY11" fmla="*/ 0 h 6858000"/>
              <a:gd name="connsiteX12" fmla="*/ 7082648 w 12192000"/>
              <a:gd name="connsiteY12" fmla="*/ 0 h 6858000"/>
              <a:gd name="connsiteX13" fmla="*/ 7241262 w 12192000"/>
              <a:gd name="connsiteY13" fmla="*/ 0 h 6858000"/>
              <a:gd name="connsiteX14" fmla="*/ 7384029 w 12192000"/>
              <a:gd name="connsiteY14" fmla="*/ 0 h 6858000"/>
              <a:gd name="connsiteX15" fmla="*/ 7511783 w 12192000"/>
              <a:gd name="connsiteY15" fmla="*/ 0 h 6858000"/>
              <a:gd name="connsiteX16" fmla="*/ 7625357 w 12192000"/>
              <a:gd name="connsiteY16" fmla="*/ 0 h 6858000"/>
              <a:gd name="connsiteX17" fmla="*/ 7725585 w 12192000"/>
              <a:gd name="connsiteY17" fmla="*/ 0 h 6858000"/>
              <a:gd name="connsiteX18" fmla="*/ 7813303 w 12192000"/>
              <a:gd name="connsiteY18" fmla="*/ 0 h 6858000"/>
              <a:gd name="connsiteX19" fmla="*/ 7954540 w 12192000"/>
              <a:gd name="connsiteY19" fmla="*/ 0 h 6858000"/>
              <a:gd name="connsiteX20" fmla="*/ 8055742 w 12192000"/>
              <a:gd name="connsiteY20" fmla="*/ 0 h 6858000"/>
              <a:gd name="connsiteX21" fmla="*/ 8123581 w 12192000"/>
              <a:gd name="connsiteY21" fmla="*/ 0 h 6858000"/>
              <a:gd name="connsiteX22" fmla="*/ 8164729 w 12192000"/>
              <a:gd name="connsiteY22" fmla="*/ 0 h 6858000"/>
              <a:gd name="connsiteX23" fmla="*/ 8185859 w 12192000"/>
              <a:gd name="connsiteY23" fmla="*/ 0 h 6858000"/>
              <a:gd name="connsiteX24" fmla="*/ 8193644 w 12192000"/>
              <a:gd name="connsiteY24" fmla="*/ 0 h 6858000"/>
              <a:gd name="connsiteX25" fmla="*/ 8194756 w 12192000"/>
              <a:gd name="connsiteY25" fmla="*/ 0 h 6858000"/>
              <a:gd name="connsiteX26" fmla="*/ 8412720 w 12192000"/>
              <a:gd name="connsiteY26" fmla="*/ 0 h 6858000"/>
              <a:gd name="connsiteX27" fmla="*/ 8617067 w 12192000"/>
              <a:gd name="connsiteY27" fmla="*/ 0 h 6858000"/>
              <a:gd name="connsiteX28" fmla="*/ 8808235 w 12192000"/>
              <a:gd name="connsiteY28" fmla="*/ 0 h 6858000"/>
              <a:gd name="connsiteX29" fmla="*/ 8986664 w 12192000"/>
              <a:gd name="connsiteY29" fmla="*/ 0 h 6858000"/>
              <a:gd name="connsiteX30" fmla="*/ 9307058 w 12192000"/>
              <a:gd name="connsiteY30" fmla="*/ 0 h 6858000"/>
              <a:gd name="connsiteX31" fmla="*/ 9581766 w 12192000"/>
              <a:gd name="connsiteY31" fmla="*/ 0 h 6858000"/>
              <a:gd name="connsiteX32" fmla="*/ 9814301 w 12192000"/>
              <a:gd name="connsiteY32" fmla="*/ 0 h 6858000"/>
              <a:gd name="connsiteX33" fmla="*/ 10008178 w 12192000"/>
              <a:gd name="connsiteY33" fmla="*/ 0 h 6858000"/>
              <a:gd name="connsiteX34" fmla="*/ 10166911 w 12192000"/>
              <a:gd name="connsiteY34" fmla="*/ 0 h 6858000"/>
              <a:gd name="connsiteX35" fmla="*/ 10294015 w 12192000"/>
              <a:gd name="connsiteY35" fmla="*/ 0 h 6858000"/>
              <a:gd name="connsiteX36" fmla="*/ 10393003 w 12192000"/>
              <a:gd name="connsiteY36" fmla="*/ 0 h 6858000"/>
              <a:gd name="connsiteX37" fmla="*/ 10467391 w 12192000"/>
              <a:gd name="connsiteY37" fmla="*/ 0 h 6858000"/>
              <a:gd name="connsiteX38" fmla="*/ 10520693 w 12192000"/>
              <a:gd name="connsiteY38" fmla="*/ 0 h 6858000"/>
              <a:gd name="connsiteX39" fmla="*/ 10556422 w 12192000"/>
              <a:gd name="connsiteY39" fmla="*/ 0 h 6858000"/>
              <a:gd name="connsiteX40" fmla="*/ 10578094 w 12192000"/>
              <a:gd name="connsiteY40" fmla="*/ 0 h 6858000"/>
              <a:gd name="connsiteX41" fmla="*/ 10589223 w 12192000"/>
              <a:gd name="connsiteY41" fmla="*/ 0 h 6858000"/>
              <a:gd name="connsiteX42" fmla="*/ 10593909 w 12192000"/>
              <a:gd name="connsiteY42" fmla="*/ 0 h 6858000"/>
              <a:gd name="connsiteX43" fmla="*/ 10964417 w 12192000"/>
              <a:gd name="connsiteY43" fmla="*/ 0 h 6858000"/>
              <a:gd name="connsiteX44" fmla="*/ 11288676 w 12192000"/>
              <a:gd name="connsiteY44" fmla="*/ 0 h 6858000"/>
              <a:gd name="connsiteX45" fmla="*/ 11569769 w 12192000"/>
              <a:gd name="connsiteY45" fmla="*/ 0 h 6858000"/>
              <a:gd name="connsiteX46" fmla="*/ 11810779 w 12192000"/>
              <a:gd name="connsiteY46" fmla="*/ 0 h 6858000"/>
              <a:gd name="connsiteX47" fmla="*/ 12014790 w 12192000"/>
              <a:gd name="connsiteY47" fmla="*/ 0 h 6858000"/>
              <a:gd name="connsiteX48" fmla="*/ 12184885 w 12192000"/>
              <a:gd name="connsiteY48" fmla="*/ 0 h 6858000"/>
              <a:gd name="connsiteX49" fmla="*/ 12192000 w 12192000"/>
              <a:gd name="connsiteY49" fmla="*/ 0 h 6858000"/>
              <a:gd name="connsiteX50" fmla="*/ 12192000 w 12192000"/>
              <a:gd name="connsiteY50" fmla="*/ 6858000 h 6858000"/>
              <a:gd name="connsiteX51" fmla="*/ 8661018 w 12192000"/>
              <a:gd name="connsiteY51" fmla="*/ 6858000 h 6858000"/>
              <a:gd name="connsiteX52" fmla="*/ 8618886 w 12192000"/>
              <a:gd name="connsiteY52" fmla="*/ 6845587 h 6858000"/>
              <a:gd name="connsiteX53" fmla="*/ 6524945 w 12192000"/>
              <a:gd name="connsiteY53" fmla="*/ 6228674 h 6858000"/>
              <a:gd name="connsiteX54" fmla="*/ 5610068 w 12192000"/>
              <a:gd name="connsiteY54" fmla="*/ 5959811 h 6858000"/>
              <a:gd name="connsiteX55" fmla="*/ 4810350 w 12192000"/>
              <a:gd name="connsiteY55" fmla="*/ 5102008 h 6858000"/>
              <a:gd name="connsiteX56" fmla="*/ 4151383 w 12192000"/>
              <a:gd name="connsiteY56" fmla="*/ 2067690 h 6858000"/>
              <a:gd name="connsiteX57" fmla="*/ 3418841 w 12192000"/>
              <a:gd name="connsiteY57" fmla="*/ 1747614 h 6858000"/>
              <a:gd name="connsiteX58" fmla="*/ 1253205 w 12192000"/>
              <a:gd name="connsiteY58" fmla="*/ 3034318 h 6858000"/>
              <a:gd name="connsiteX59" fmla="*/ 1003694 w 12192000"/>
              <a:gd name="connsiteY59" fmla="*/ 3181553 h 6858000"/>
              <a:gd name="connsiteX60" fmla="*/ 498272 w 12192000"/>
              <a:gd name="connsiteY60" fmla="*/ 4205796 h 6858000"/>
              <a:gd name="connsiteX61" fmla="*/ 703000 w 12192000"/>
              <a:gd name="connsiteY61" fmla="*/ 5895796 h 6858000"/>
              <a:gd name="connsiteX62" fmla="*/ 811779 w 12192000"/>
              <a:gd name="connsiteY62" fmla="*/ 6789988 h 6858000"/>
              <a:gd name="connsiteX63" fmla="*/ 820053 w 12192000"/>
              <a:gd name="connsiteY63" fmla="*/ 6858000 h 6858000"/>
              <a:gd name="connsiteX64" fmla="*/ 0 w 12192000"/>
              <a:gd name="connsiteY64" fmla="*/ 6858000 h 6858000"/>
              <a:gd name="connsiteX65" fmla="*/ 0 w 12192000"/>
              <a:gd name="connsiteY65" fmla="*/ 1386925 h 6858000"/>
              <a:gd name="connsiteX66" fmla="*/ 8776 w 12192000"/>
              <a:gd name="connsiteY66" fmla="*/ 1442892 h 6858000"/>
              <a:gd name="connsiteX67" fmla="*/ 171987 w 12192000"/>
              <a:gd name="connsiteY67" fmla="*/ 2483788 h 6858000"/>
              <a:gd name="connsiteX68" fmla="*/ 194379 w 12192000"/>
              <a:gd name="connsiteY68" fmla="*/ 2576610 h 6858000"/>
              <a:gd name="connsiteX69" fmla="*/ 866142 w 12192000"/>
              <a:gd name="connsiteY69" fmla="*/ 2813466 h 6858000"/>
              <a:gd name="connsiteX70" fmla="*/ 1246808 w 12192000"/>
              <a:gd name="connsiteY70" fmla="*/ 2589413 h 6858000"/>
              <a:gd name="connsiteX71" fmla="*/ 3242903 w 12192000"/>
              <a:gd name="connsiteY71" fmla="*/ 1414735 h 6858000"/>
              <a:gd name="connsiteX72" fmla="*/ 3706740 w 12192000"/>
              <a:gd name="connsiteY72" fmla="*/ 707368 h 6858000"/>
              <a:gd name="connsiteX73" fmla="*/ 3709938 w 12192000"/>
              <a:gd name="connsiteY73" fmla="*/ 400095 h 6858000"/>
              <a:gd name="connsiteX74" fmla="*/ 3639563 w 12192000"/>
              <a:gd name="connsiteY7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12192000" h="6858000">
                <a:moveTo>
                  <a:pt x="3639563" y="0"/>
                </a:moveTo>
                <a:lnTo>
                  <a:pt x="4053406" y="0"/>
                </a:lnTo>
                <a:lnTo>
                  <a:pt x="4441393" y="0"/>
                </a:lnTo>
                <a:lnTo>
                  <a:pt x="4804357" y="0"/>
                </a:lnTo>
                <a:lnTo>
                  <a:pt x="5143133" y="0"/>
                </a:lnTo>
                <a:lnTo>
                  <a:pt x="5458554" y="0"/>
                </a:lnTo>
                <a:lnTo>
                  <a:pt x="5751455" y="0"/>
                </a:lnTo>
                <a:lnTo>
                  <a:pt x="6022671" y="0"/>
                </a:lnTo>
                <a:lnTo>
                  <a:pt x="6273034" y="0"/>
                </a:lnTo>
                <a:lnTo>
                  <a:pt x="6503379" y="0"/>
                </a:lnTo>
                <a:lnTo>
                  <a:pt x="6714541" y="0"/>
                </a:lnTo>
                <a:lnTo>
                  <a:pt x="6907352" y="0"/>
                </a:lnTo>
                <a:lnTo>
                  <a:pt x="7082648" y="0"/>
                </a:lnTo>
                <a:lnTo>
                  <a:pt x="7241262" y="0"/>
                </a:lnTo>
                <a:lnTo>
                  <a:pt x="7384029" y="0"/>
                </a:lnTo>
                <a:lnTo>
                  <a:pt x="7511783" y="0"/>
                </a:lnTo>
                <a:lnTo>
                  <a:pt x="7625357" y="0"/>
                </a:lnTo>
                <a:lnTo>
                  <a:pt x="7725585" y="0"/>
                </a:lnTo>
                <a:lnTo>
                  <a:pt x="7813303" y="0"/>
                </a:lnTo>
                <a:lnTo>
                  <a:pt x="7954540" y="0"/>
                </a:lnTo>
                <a:lnTo>
                  <a:pt x="8055742" y="0"/>
                </a:lnTo>
                <a:lnTo>
                  <a:pt x="8123581" y="0"/>
                </a:lnTo>
                <a:lnTo>
                  <a:pt x="8164729" y="0"/>
                </a:lnTo>
                <a:lnTo>
                  <a:pt x="8185859" y="0"/>
                </a:lnTo>
                <a:lnTo>
                  <a:pt x="8193644" y="0"/>
                </a:lnTo>
                <a:lnTo>
                  <a:pt x="8194756" y="0"/>
                </a:lnTo>
                <a:lnTo>
                  <a:pt x="8412720" y="0"/>
                </a:lnTo>
                <a:lnTo>
                  <a:pt x="8617067" y="0"/>
                </a:lnTo>
                <a:lnTo>
                  <a:pt x="8808235" y="0"/>
                </a:lnTo>
                <a:lnTo>
                  <a:pt x="8986664" y="0"/>
                </a:lnTo>
                <a:lnTo>
                  <a:pt x="9307058" y="0"/>
                </a:lnTo>
                <a:lnTo>
                  <a:pt x="9581766" y="0"/>
                </a:lnTo>
                <a:lnTo>
                  <a:pt x="9814301" y="0"/>
                </a:lnTo>
                <a:lnTo>
                  <a:pt x="10008178" y="0"/>
                </a:lnTo>
                <a:lnTo>
                  <a:pt x="10166911" y="0"/>
                </a:lnTo>
                <a:lnTo>
                  <a:pt x="10294015" y="0"/>
                </a:lnTo>
                <a:lnTo>
                  <a:pt x="10393003" y="0"/>
                </a:lnTo>
                <a:lnTo>
                  <a:pt x="10467391" y="0"/>
                </a:lnTo>
                <a:lnTo>
                  <a:pt x="10520693" y="0"/>
                </a:lnTo>
                <a:lnTo>
                  <a:pt x="10556422" y="0"/>
                </a:lnTo>
                <a:lnTo>
                  <a:pt x="10578094" y="0"/>
                </a:lnTo>
                <a:lnTo>
                  <a:pt x="10589223" y="0"/>
                </a:lnTo>
                <a:lnTo>
                  <a:pt x="10593909" y="0"/>
                </a:lnTo>
                <a:lnTo>
                  <a:pt x="10964417" y="0"/>
                </a:lnTo>
                <a:lnTo>
                  <a:pt x="11288676" y="0"/>
                </a:lnTo>
                <a:lnTo>
                  <a:pt x="11569769" y="0"/>
                </a:lnTo>
                <a:lnTo>
                  <a:pt x="11810779" y="0"/>
                </a:lnTo>
                <a:lnTo>
                  <a:pt x="12014790" y="0"/>
                </a:lnTo>
                <a:lnTo>
                  <a:pt x="1218488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8661018" y="6858000"/>
                </a:lnTo>
                <a:lnTo>
                  <a:pt x="8618886" y="6845587"/>
                </a:lnTo>
                <a:cubicBezTo>
                  <a:pt x="6524945" y="6228674"/>
                  <a:pt x="6524945" y="6228674"/>
                  <a:pt x="6524945" y="6228674"/>
                </a:cubicBezTo>
                <a:cubicBezTo>
                  <a:pt x="5610068" y="5959811"/>
                  <a:pt x="5610068" y="5959811"/>
                  <a:pt x="5610068" y="5959811"/>
                </a:cubicBezTo>
                <a:cubicBezTo>
                  <a:pt x="5251795" y="5850985"/>
                  <a:pt x="4890323" y="5466894"/>
                  <a:pt x="4810350" y="5102008"/>
                </a:cubicBezTo>
                <a:cubicBezTo>
                  <a:pt x="4151383" y="2067690"/>
                  <a:pt x="4151383" y="2067690"/>
                  <a:pt x="4151383" y="2067690"/>
                </a:cubicBezTo>
                <a:cubicBezTo>
                  <a:pt x="4071411" y="1699602"/>
                  <a:pt x="3741927" y="1558769"/>
                  <a:pt x="3418841" y="1747614"/>
                </a:cubicBezTo>
                <a:cubicBezTo>
                  <a:pt x="1253205" y="3034318"/>
                  <a:pt x="1253205" y="3034318"/>
                  <a:pt x="1253205" y="3034318"/>
                </a:cubicBezTo>
                <a:cubicBezTo>
                  <a:pt x="1003694" y="3181553"/>
                  <a:pt x="1003694" y="3181553"/>
                  <a:pt x="1003694" y="3181553"/>
                </a:cubicBezTo>
                <a:cubicBezTo>
                  <a:pt x="680608" y="3373599"/>
                  <a:pt x="453488" y="3831307"/>
                  <a:pt x="498272" y="4205796"/>
                </a:cubicBezTo>
                <a:cubicBezTo>
                  <a:pt x="703000" y="5895796"/>
                  <a:pt x="703000" y="5895796"/>
                  <a:pt x="703000" y="5895796"/>
                </a:cubicBezTo>
                <a:cubicBezTo>
                  <a:pt x="748484" y="6269684"/>
                  <a:pt x="784018" y="6561785"/>
                  <a:pt x="811779" y="6789988"/>
                </a:cubicBezTo>
                <a:lnTo>
                  <a:pt x="820053" y="6858000"/>
                </a:lnTo>
                <a:lnTo>
                  <a:pt x="0" y="6858000"/>
                </a:lnTo>
                <a:lnTo>
                  <a:pt x="0" y="1386925"/>
                </a:lnTo>
                <a:lnTo>
                  <a:pt x="8776" y="1442892"/>
                </a:lnTo>
                <a:cubicBezTo>
                  <a:pt x="171987" y="2483788"/>
                  <a:pt x="171987" y="2483788"/>
                  <a:pt x="171987" y="2483788"/>
                </a:cubicBezTo>
                <a:cubicBezTo>
                  <a:pt x="178385" y="2515796"/>
                  <a:pt x="184783" y="2547803"/>
                  <a:pt x="194379" y="2576610"/>
                </a:cubicBezTo>
                <a:cubicBezTo>
                  <a:pt x="287146" y="2877481"/>
                  <a:pt x="571846" y="2986307"/>
                  <a:pt x="866142" y="2813466"/>
                </a:cubicBezTo>
                <a:cubicBezTo>
                  <a:pt x="1246808" y="2589413"/>
                  <a:pt x="1246808" y="2589413"/>
                  <a:pt x="1246808" y="2589413"/>
                </a:cubicBezTo>
                <a:cubicBezTo>
                  <a:pt x="3242903" y="1414735"/>
                  <a:pt x="3242903" y="1414735"/>
                  <a:pt x="3242903" y="1414735"/>
                </a:cubicBezTo>
                <a:cubicBezTo>
                  <a:pt x="3479620" y="1277102"/>
                  <a:pt x="3655558" y="992235"/>
                  <a:pt x="3706740" y="707368"/>
                </a:cubicBezTo>
                <a:cubicBezTo>
                  <a:pt x="3725933" y="601743"/>
                  <a:pt x="3729132" y="499318"/>
                  <a:pt x="3709938" y="400095"/>
                </a:cubicBezTo>
                <a:cubicBezTo>
                  <a:pt x="3639563" y="0"/>
                  <a:pt x="3639563" y="0"/>
                  <a:pt x="3639563" y="0"/>
                </a:cubicBezTo>
                <a:close/>
              </a:path>
            </a:pathLst>
          </a:cu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8" name="Group 17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accent5"/>
          </a:solidFill>
        </p:grpSpPr>
        <p:sp>
          <p:nvSpPr>
            <p:cNvPr id="19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991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00</a:t>
            </a:r>
            <a:endParaRPr lang="en-US"/>
          </a:p>
          <a:p>
            <a:pPr lvl="0"/>
            <a:endParaRPr lang="en-US"/>
          </a:p>
          <a:p>
            <a:pPr lvl="0"/>
            <a:endParaRPr lang="en-US" noProof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/>
              <a:t>Chapter name </a:t>
            </a:r>
            <a:br>
              <a:rPr lang="en-US" noProof="0"/>
            </a:br>
            <a:r>
              <a:rPr lang="en-US" noProof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13531670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rganic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0983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50329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7" name="Freeform 16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048909 w 12192000"/>
              <a:gd name="connsiteY0" fmla="*/ 0 h 6858000"/>
              <a:gd name="connsiteX1" fmla="*/ 1437815 w 12192000"/>
              <a:gd name="connsiteY1" fmla="*/ 0 h 6858000"/>
              <a:gd name="connsiteX2" fmla="*/ 1416616 w 12192000"/>
              <a:gd name="connsiteY2" fmla="*/ 63049 h 6858000"/>
              <a:gd name="connsiteX3" fmla="*/ 2816130 w 12192000"/>
              <a:gd name="connsiteY3" fmla="*/ 4208716 h 6858000"/>
              <a:gd name="connsiteX4" fmla="*/ 7652880 w 12192000"/>
              <a:gd name="connsiteY4" fmla="*/ 1881693 h 6858000"/>
              <a:gd name="connsiteX5" fmla="*/ 7686890 w 12192000"/>
              <a:gd name="connsiteY5" fmla="*/ 260273 h 6858000"/>
              <a:gd name="connsiteX6" fmla="*/ 7621110 w 12192000"/>
              <a:gd name="connsiteY6" fmla="*/ 0 h 6858000"/>
              <a:gd name="connsiteX7" fmla="*/ 8544177 w 12192000"/>
              <a:gd name="connsiteY7" fmla="*/ 0 h 6858000"/>
              <a:gd name="connsiteX8" fmla="*/ 8534881 w 12192000"/>
              <a:gd name="connsiteY8" fmla="*/ 27654 h 6858000"/>
              <a:gd name="connsiteX9" fmla="*/ 8868237 w 12192000"/>
              <a:gd name="connsiteY9" fmla="*/ 2461905 h 6858000"/>
              <a:gd name="connsiteX10" fmla="*/ 12032141 w 12192000"/>
              <a:gd name="connsiteY10" fmla="*/ 2639688 h 6858000"/>
              <a:gd name="connsiteX11" fmla="*/ 12192000 w 12192000"/>
              <a:gd name="connsiteY11" fmla="*/ 2566729 h 6858000"/>
              <a:gd name="connsiteX12" fmla="*/ 12192000 w 12192000"/>
              <a:gd name="connsiteY12" fmla="*/ 5274395 h 6858000"/>
              <a:gd name="connsiteX13" fmla="*/ 12109445 w 12192000"/>
              <a:gd name="connsiteY13" fmla="*/ 5202936 h 6858000"/>
              <a:gd name="connsiteX14" fmla="*/ 8843559 w 12192000"/>
              <a:gd name="connsiteY14" fmla="*/ 3187171 h 6858000"/>
              <a:gd name="connsiteX15" fmla="*/ 6548571 w 12192000"/>
              <a:gd name="connsiteY15" fmla="*/ 5362969 h 6858000"/>
              <a:gd name="connsiteX16" fmla="*/ 7312459 w 12192000"/>
              <a:gd name="connsiteY16" fmla="*/ 6747870 h 6858000"/>
              <a:gd name="connsiteX17" fmla="*/ 7402349 w 12192000"/>
              <a:gd name="connsiteY17" fmla="*/ 6858000 h 6858000"/>
              <a:gd name="connsiteX18" fmla="*/ 6793220 w 12192000"/>
              <a:gd name="connsiteY18" fmla="*/ 6858000 h 6858000"/>
              <a:gd name="connsiteX19" fmla="*/ 6780454 w 12192000"/>
              <a:gd name="connsiteY19" fmla="*/ 6849222 h 6858000"/>
              <a:gd name="connsiteX20" fmla="*/ 4262283 w 12192000"/>
              <a:gd name="connsiteY20" fmla="*/ 6852446 h 6858000"/>
              <a:gd name="connsiteX21" fmla="*/ 4251244 w 12192000"/>
              <a:gd name="connsiteY21" fmla="*/ 6858000 h 6858000"/>
              <a:gd name="connsiteX22" fmla="*/ 1584781 w 12192000"/>
              <a:gd name="connsiteY22" fmla="*/ 6858000 h 6858000"/>
              <a:gd name="connsiteX23" fmla="*/ 1548685 w 12192000"/>
              <a:gd name="connsiteY23" fmla="*/ 6742445 h 6858000"/>
              <a:gd name="connsiteX24" fmla="*/ 193301 w 12192000"/>
              <a:gd name="connsiteY24" fmla="*/ 4363992 h 6858000"/>
              <a:gd name="connsiteX25" fmla="*/ 0 w 12192000"/>
              <a:gd name="connsiteY25" fmla="*/ 4101454 h 6858000"/>
              <a:gd name="connsiteX26" fmla="*/ 0 w 12192000"/>
              <a:gd name="connsiteY26" fmla="*/ 1829578 h 6858000"/>
              <a:gd name="connsiteX27" fmla="*/ 44396 w 12192000"/>
              <a:gd name="connsiteY27" fmla="*/ 1812744 h 6858000"/>
              <a:gd name="connsiteX28" fmla="*/ 1036786 w 12192000"/>
              <a:gd name="connsiteY28" fmla="*/ 4791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2192000" h="6858000">
                <a:moveTo>
                  <a:pt x="1048909" y="0"/>
                </a:moveTo>
                <a:lnTo>
                  <a:pt x="1437815" y="0"/>
                </a:lnTo>
                <a:lnTo>
                  <a:pt x="1416616" y="63049"/>
                </a:lnTo>
                <a:cubicBezTo>
                  <a:pt x="992565" y="1544377"/>
                  <a:pt x="1463892" y="3409380"/>
                  <a:pt x="2816130" y="4208716"/>
                </a:cubicBezTo>
                <a:cubicBezTo>
                  <a:pt x="5009325" y="5504936"/>
                  <a:pt x="7251874" y="4378459"/>
                  <a:pt x="7652880" y="1881693"/>
                </a:cubicBezTo>
                <a:cubicBezTo>
                  <a:pt x="7782051" y="1285663"/>
                  <a:pt x="7787111" y="748706"/>
                  <a:pt x="7686890" y="260273"/>
                </a:cubicBezTo>
                <a:lnTo>
                  <a:pt x="7621110" y="0"/>
                </a:lnTo>
                <a:lnTo>
                  <a:pt x="8544177" y="0"/>
                </a:lnTo>
                <a:lnTo>
                  <a:pt x="8534881" y="27654"/>
                </a:lnTo>
                <a:cubicBezTo>
                  <a:pt x="8264692" y="917087"/>
                  <a:pt x="8339410" y="1890180"/>
                  <a:pt x="8868237" y="2461905"/>
                </a:cubicBezTo>
                <a:cubicBezTo>
                  <a:pt x="9562479" y="3216683"/>
                  <a:pt x="11087554" y="3034258"/>
                  <a:pt x="12032141" y="2639688"/>
                </a:cubicBezTo>
                <a:lnTo>
                  <a:pt x="12192000" y="2566729"/>
                </a:lnTo>
                <a:lnTo>
                  <a:pt x="12192000" y="5274395"/>
                </a:lnTo>
                <a:lnTo>
                  <a:pt x="12109445" y="5202936"/>
                </a:lnTo>
                <a:cubicBezTo>
                  <a:pt x="11001136" y="4281532"/>
                  <a:pt x="9774742" y="3519327"/>
                  <a:pt x="8843559" y="3187171"/>
                </a:cubicBezTo>
                <a:cubicBezTo>
                  <a:pt x="8013786" y="2893979"/>
                  <a:pt x="6434439" y="4418580"/>
                  <a:pt x="6548571" y="5362969"/>
                </a:cubicBezTo>
                <a:cubicBezTo>
                  <a:pt x="6624917" y="6006449"/>
                  <a:pt x="6909477" y="6262800"/>
                  <a:pt x="7312459" y="6747870"/>
                </a:cubicBezTo>
                <a:lnTo>
                  <a:pt x="7402349" y="6858000"/>
                </a:lnTo>
                <a:lnTo>
                  <a:pt x="6793220" y="6858000"/>
                </a:lnTo>
                <a:lnTo>
                  <a:pt x="6780454" y="6849222"/>
                </a:lnTo>
                <a:cubicBezTo>
                  <a:pt x="6043609" y="6404533"/>
                  <a:pt x="5082598" y="6474138"/>
                  <a:pt x="4262283" y="6852446"/>
                </a:cubicBezTo>
                <a:lnTo>
                  <a:pt x="4251244" y="6858000"/>
                </a:lnTo>
                <a:lnTo>
                  <a:pt x="1584781" y="6858000"/>
                </a:lnTo>
                <a:lnTo>
                  <a:pt x="1548685" y="6742445"/>
                </a:lnTo>
                <a:cubicBezTo>
                  <a:pt x="1258353" y="5895779"/>
                  <a:pt x="735767" y="5109994"/>
                  <a:pt x="193301" y="4363992"/>
                </a:cubicBezTo>
                <a:lnTo>
                  <a:pt x="0" y="4101454"/>
                </a:lnTo>
                <a:lnTo>
                  <a:pt x="0" y="1829578"/>
                </a:lnTo>
                <a:lnTo>
                  <a:pt x="44396" y="1812744"/>
                </a:lnTo>
                <a:cubicBezTo>
                  <a:pt x="583685" y="1572617"/>
                  <a:pt x="878396" y="656734"/>
                  <a:pt x="1036786" y="4791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8" name="Freeform 17"/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5001047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7221720 w 12192000"/>
              <a:gd name="connsiteY3" fmla="*/ 6858000 h 6858000"/>
              <a:gd name="connsiteX4" fmla="*/ 7237775 w 12192000"/>
              <a:gd name="connsiteY4" fmla="*/ 6819435 h 6858000"/>
              <a:gd name="connsiteX5" fmla="*/ 3518715 w 12192000"/>
              <a:gd name="connsiteY5" fmla="*/ 3017531 h 6858000"/>
              <a:gd name="connsiteX6" fmla="*/ 315503 w 12192000"/>
              <a:gd name="connsiteY6" fmla="*/ 4221858 h 6858000"/>
              <a:gd name="connsiteX7" fmla="*/ 0 w 12192000"/>
              <a:gd name="connsiteY7" fmla="*/ 4410739 h 6858000"/>
              <a:gd name="connsiteX8" fmla="*/ 0 w 12192000"/>
              <a:gd name="connsiteY8" fmla="*/ 3559956 h 6858000"/>
              <a:gd name="connsiteX9" fmla="*/ 14834 w 12192000"/>
              <a:gd name="connsiteY9" fmla="*/ 3558786 h 6858000"/>
              <a:gd name="connsiteX10" fmla="*/ 2614859 w 12192000"/>
              <a:gd name="connsiteY10" fmla="*/ 2721259 h 6858000"/>
              <a:gd name="connsiteX11" fmla="*/ 4920506 w 12192000"/>
              <a:gd name="connsiteY11" fmla="*/ 16407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5001047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7221720" y="6858000"/>
                </a:lnTo>
                <a:lnTo>
                  <a:pt x="7237775" y="6819435"/>
                </a:lnTo>
                <a:cubicBezTo>
                  <a:pt x="8169822" y="4313901"/>
                  <a:pt x="5459267" y="2690590"/>
                  <a:pt x="3518715" y="3017531"/>
                </a:cubicBezTo>
                <a:cubicBezTo>
                  <a:pt x="2350334" y="3211959"/>
                  <a:pt x="1301685" y="3656366"/>
                  <a:pt x="315503" y="4221858"/>
                </a:cubicBezTo>
                <a:lnTo>
                  <a:pt x="0" y="4410739"/>
                </a:lnTo>
                <a:lnTo>
                  <a:pt x="0" y="3559956"/>
                </a:lnTo>
                <a:lnTo>
                  <a:pt x="14834" y="3558786"/>
                </a:lnTo>
                <a:cubicBezTo>
                  <a:pt x="1005734" y="3455332"/>
                  <a:pt x="2070964" y="3027175"/>
                  <a:pt x="2614859" y="2721259"/>
                </a:cubicBezTo>
                <a:cubicBezTo>
                  <a:pt x="3683753" y="2116371"/>
                  <a:pt x="4438525" y="1086171"/>
                  <a:pt x="4920506" y="16407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tx2"/>
          </a:solidFill>
        </p:grpSpPr>
        <p:sp>
          <p:nvSpPr>
            <p:cNvPr id="20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001475" y="1799192"/>
            <a:ext cx="1006525" cy="648325"/>
          </a:xfrm>
          <a:prstGeom prst="rect">
            <a:avLst/>
          </a:prstGeom>
        </p:spPr>
        <p:txBody>
          <a:bodyPr wrap="none"/>
          <a:lstStyle>
            <a:lvl1pPr marL="0" indent="0"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4800" b="0">
                <a:ln>
                  <a:solidFill>
                    <a:srgbClr val="EB3C96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00</a:t>
            </a:r>
            <a:endParaRPr lang="en-US"/>
          </a:p>
          <a:p>
            <a:pPr lvl="0"/>
            <a:endParaRPr lang="en-US"/>
          </a:p>
          <a:p>
            <a:pPr lvl="0"/>
            <a:endParaRPr lang="en-US" noProof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7176119" y="1879992"/>
            <a:ext cx="4657508" cy="1180699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cap="none" baseline="0"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/>
              <a:t>Chapter name </a:t>
            </a:r>
            <a:br>
              <a:rPr lang="en-US" noProof="0"/>
            </a:br>
            <a:r>
              <a:rPr lang="en-US" noProof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3180507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6846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sp>
        <p:nvSpPr>
          <p:cNvPr id="20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2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sp>
        <p:nvSpPr>
          <p:cNvPr id="19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grpSp>
        <p:nvGrpSpPr>
          <p:cNvPr id="2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5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0850393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7584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sp>
        <p:nvSpPr>
          <p:cNvPr id="18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sp>
        <p:nvSpPr>
          <p:cNvPr id="20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grpSp>
        <p:nvGrpSpPr>
          <p:cNvPr id="9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2035957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745EC0AD-ECD6-C2D1-90D7-4F9F047EE0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64E03-B8D9-4FA7-89DA-B24DAF0BE8A7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5431AE07-3E65-F690-594E-A7ED312CC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EA11B9E-4320-5060-D875-4F0D3D6A3A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8E09-8AC3-409D-9A37-A314A19285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756338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5204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2" name="Text Placeholder AP3 Details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504000" y="4364999"/>
            <a:ext cx="2735999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sp>
        <p:nvSpPr>
          <p:cNvPr id="17" name="Text Placeholder AP2 Details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24001" y="4366124"/>
            <a:ext cx="2735501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buClr>
                <a:srgbClr val="52328F"/>
              </a:buClr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sp>
        <p:nvSpPr>
          <p:cNvPr id="19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999"/>
            <a:ext cx="2735410" cy="1727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Add your contact details here.</a:t>
            </a:r>
          </a:p>
        </p:txBody>
      </p:sp>
      <p:grpSp>
        <p:nvGrpSpPr>
          <p:cNvPr id="9" name="Logo Merck"/>
          <p:cNvGrpSpPr/>
          <p:nvPr userDrawn="1"/>
        </p:nvGrpSpPr>
        <p:grpSpPr bwMode="gray">
          <a:xfrm>
            <a:off x="7453808" y="4123208"/>
            <a:ext cx="4114800" cy="1970088"/>
            <a:chOff x="7453313" y="4122737"/>
            <a:chExt cx="4114800" cy="1970088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gray">
            <a:xfrm>
              <a:off x="7453313" y="4122737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Text Placeholder AP3 Name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04621" y="3931827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5" name="Text Placeholder AP2 Name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4114" y="3932953"/>
            <a:ext cx="2735501" cy="432048"/>
          </a:xfrm>
          <a:prstGeom prst="rect">
            <a:avLst/>
          </a:prstGeom>
        </p:spPr>
        <p:txBody>
          <a:bodyPr vert="horz" lIns="0" tIns="36000" rIns="0" bIns="0" rtlCol="0" anchor="b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6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556952"/>
            <a:ext cx="273550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i="0" kern="1200" cap="none" baseline="0" noProof="0" dirty="0" smtClean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cap="none">
                <a:solidFill>
                  <a:schemeClr val="accent1"/>
                </a:solidFill>
                <a:latin typeface="Merck" panose="04040805020F02020302" pitchFamily="82" charset="0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</p:spTree>
    <p:extLst>
      <p:ext uri="{BB962C8B-B14F-4D97-AF65-F5344CB8AC3E}">
        <p14:creationId xmlns:p14="http://schemas.microsoft.com/office/powerpoint/2010/main" val="426228547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651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C83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2" name="Gruppieren 1"/>
          <p:cNvGrpSpPr/>
          <p:nvPr userDrawn="1"/>
        </p:nvGrpSpPr>
        <p:grpSpPr bwMode="gray"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6343 h 6536"/>
                <a:gd name="T2" fmla="*/ 13648 w 13648"/>
                <a:gd name="T3" fmla="*/ 6112 h 6536"/>
                <a:gd name="T4" fmla="*/ 13648 w 13648"/>
                <a:gd name="T5" fmla="*/ 961 h 6536"/>
                <a:gd name="T6" fmla="*/ 12687 w 13648"/>
                <a:gd name="T7" fmla="*/ 0 h 6536"/>
                <a:gd name="T8" fmla="*/ 11669 w 13648"/>
                <a:gd name="T9" fmla="*/ 0 h 6536"/>
                <a:gd name="T10" fmla="*/ 11538 w 13648"/>
                <a:gd name="T11" fmla="*/ 53 h 6536"/>
                <a:gd name="T12" fmla="*/ 9497 w 13648"/>
                <a:gd name="T13" fmla="*/ 1968 h 6536"/>
                <a:gd name="T14" fmla="*/ 6824 w 13648"/>
                <a:gd name="T15" fmla="*/ 2994 h 6536"/>
                <a:gd name="T16" fmla="*/ 4064 w 13648"/>
                <a:gd name="T17" fmla="*/ 1885 h 6536"/>
                <a:gd name="T18" fmla="*/ 2550 w 13648"/>
                <a:gd name="T19" fmla="*/ 463 h 6536"/>
                <a:gd name="T20" fmla="*/ 1410 w 13648"/>
                <a:gd name="T21" fmla="*/ 0 h 6536"/>
                <a:gd name="T22" fmla="*/ 192 w 13648"/>
                <a:gd name="T23" fmla="*/ 0 h 6536"/>
                <a:gd name="T24" fmla="*/ 0 w 13648"/>
                <a:gd name="T25" fmla="*/ 192 h 6536"/>
                <a:gd name="T26" fmla="*/ 0 w 13648"/>
                <a:gd name="T27" fmla="*/ 5575 h 6536"/>
                <a:gd name="T28" fmla="*/ 961 w 13648"/>
                <a:gd name="T29" fmla="*/ 6536 h 6536"/>
                <a:gd name="T30" fmla="*/ 1333 w 13648"/>
                <a:gd name="T31" fmla="*/ 6536 h 6536"/>
                <a:gd name="T32" fmla="*/ 1584 w 13648"/>
                <a:gd name="T33" fmla="*/ 6536 h 6536"/>
                <a:gd name="T34" fmla="*/ 1777 w 13648"/>
                <a:gd name="T35" fmla="*/ 6342 h 6536"/>
                <a:gd name="T36" fmla="*/ 1778 w 13648"/>
                <a:gd name="T37" fmla="*/ 4427 h 6536"/>
                <a:gd name="T38" fmla="*/ 2679 w 13648"/>
                <a:gd name="T39" fmla="*/ 3514 h 6536"/>
                <a:gd name="T40" fmla="*/ 4847 w 13648"/>
                <a:gd name="T41" fmla="*/ 4823 h 6536"/>
                <a:gd name="T42" fmla="*/ 6824 w 13648"/>
                <a:gd name="T43" fmla="*/ 6085 h 6536"/>
                <a:gd name="T44" fmla="*/ 8801 w 13648"/>
                <a:gd name="T45" fmla="*/ 4823 h 6536"/>
                <a:gd name="T46" fmla="*/ 10968 w 13648"/>
                <a:gd name="T47" fmla="*/ 3514 h 6536"/>
                <a:gd name="T48" fmla="*/ 11869 w 13648"/>
                <a:gd name="T49" fmla="*/ 4419 h 6536"/>
                <a:gd name="T50" fmla="*/ 11869 w 13648"/>
                <a:gd name="T51" fmla="*/ 5575 h 6536"/>
                <a:gd name="T52" fmla="*/ 12831 w 13648"/>
                <a:gd name="T53" fmla="*/ 6535 h 6536"/>
                <a:gd name="T54" fmla="*/ 13246 w 13648"/>
                <a:gd name="T55" fmla="*/ 6535 h 6536"/>
                <a:gd name="T56" fmla="*/ 13455 w 13648"/>
                <a:gd name="T57" fmla="*/ 6536 h 6536"/>
                <a:gd name="T58" fmla="*/ 13455 w 13648"/>
                <a:gd name="T59" fmla="*/ 6536 h 6536"/>
                <a:gd name="T60" fmla="*/ 13648 w 13648"/>
                <a:gd name="T61" fmla="*/ 6343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648" h="6536">
                  <a:moveTo>
                    <a:pt x="13648" y="6343"/>
                  </a:moveTo>
                  <a:cubicBezTo>
                    <a:pt x="13648" y="6112"/>
                    <a:pt x="13648" y="6112"/>
                    <a:pt x="13648" y="6112"/>
                  </a:cubicBezTo>
                  <a:cubicBezTo>
                    <a:pt x="13648" y="5089"/>
                    <a:pt x="13648" y="1001"/>
                    <a:pt x="13648" y="961"/>
                  </a:cubicBezTo>
                  <a:cubicBezTo>
                    <a:pt x="13648" y="430"/>
                    <a:pt x="1321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8" y="2625"/>
                    <a:pt x="7858" y="2994"/>
                    <a:pt x="6824" y="2994"/>
                  </a:cubicBezTo>
                  <a:cubicBezTo>
                    <a:pt x="5746" y="2994"/>
                    <a:pt x="4770" y="2591"/>
                    <a:pt x="4064" y="1885"/>
                  </a:cubicBezTo>
                  <a:cubicBezTo>
                    <a:pt x="4064" y="1885"/>
                    <a:pt x="2563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5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2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3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3"/>
                  </a:cubicBezTo>
                  <a:cubicBezTo>
                    <a:pt x="9395" y="4299"/>
                    <a:pt x="10052" y="3514"/>
                    <a:pt x="10968" y="3514"/>
                  </a:cubicBezTo>
                  <a:cubicBezTo>
                    <a:pt x="11458" y="3514"/>
                    <a:pt x="11865" y="3922"/>
                    <a:pt x="11869" y="4419"/>
                  </a:cubicBezTo>
                  <a:cubicBezTo>
                    <a:pt x="11869" y="4419"/>
                    <a:pt x="11869" y="5567"/>
                    <a:pt x="11869" y="5575"/>
                  </a:cubicBezTo>
                  <a:cubicBezTo>
                    <a:pt x="11869" y="6105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4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1" y="6536"/>
                    <a:pt x="13648" y="6449"/>
                    <a:pt x="13648" y="6343"/>
                  </a:cubicBezTo>
                  <a:close/>
                </a:path>
              </a:pathLst>
            </a:custGeom>
            <a:solidFill>
              <a:srgbClr val="FFCA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270418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59988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gray">
          <a:xfrm>
            <a:off x="4038600" y="2404526"/>
            <a:ext cx="4114800" cy="2048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03465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| 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7978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2DBECD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4038600" y="2482850"/>
            <a:ext cx="4114800" cy="1970088"/>
            <a:chOff x="4038600" y="2482850"/>
            <a:chExt cx="4114800" cy="1970088"/>
          </a:xfrm>
        </p:grpSpPr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3648 w 13648"/>
                <a:gd name="T1" fmla="*/ 961 h 6536"/>
                <a:gd name="T2" fmla="*/ 12687 w 13648"/>
                <a:gd name="T3" fmla="*/ 0 h 6536"/>
                <a:gd name="T4" fmla="*/ 11669 w 13648"/>
                <a:gd name="T5" fmla="*/ 0 h 6536"/>
                <a:gd name="T6" fmla="*/ 11538 w 13648"/>
                <a:gd name="T7" fmla="*/ 53 h 6536"/>
                <a:gd name="T8" fmla="*/ 9497 w 13648"/>
                <a:gd name="T9" fmla="*/ 1968 h 6536"/>
                <a:gd name="T10" fmla="*/ 6824 w 13648"/>
                <a:gd name="T11" fmla="*/ 2994 h 6536"/>
                <a:gd name="T12" fmla="*/ 4064 w 13648"/>
                <a:gd name="T13" fmla="*/ 1885 h 6536"/>
                <a:gd name="T14" fmla="*/ 2550 w 13648"/>
                <a:gd name="T15" fmla="*/ 463 h 6536"/>
                <a:gd name="T16" fmla="*/ 1410 w 13648"/>
                <a:gd name="T17" fmla="*/ 0 h 6536"/>
                <a:gd name="T18" fmla="*/ 192 w 13648"/>
                <a:gd name="T19" fmla="*/ 0 h 6536"/>
                <a:gd name="T20" fmla="*/ 0 w 13648"/>
                <a:gd name="T21" fmla="*/ 192 h 6536"/>
                <a:gd name="T22" fmla="*/ 0 w 13648"/>
                <a:gd name="T23" fmla="*/ 309 h 6536"/>
                <a:gd name="T24" fmla="*/ 127 w 13648"/>
                <a:gd name="T25" fmla="*/ 302 h 6536"/>
                <a:gd name="T26" fmla="*/ 2129 w 13648"/>
                <a:gd name="T27" fmla="*/ 2283 h 6536"/>
                <a:gd name="T28" fmla="*/ 127 w 13648"/>
                <a:gd name="T29" fmla="*/ 4263 h 6536"/>
                <a:gd name="T30" fmla="*/ 0 w 13648"/>
                <a:gd name="T31" fmla="*/ 4257 h 6536"/>
                <a:gd name="T32" fmla="*/ 0 w 13648"/>
                <a:gd name="T33" fmla="*/ 5575 h 6536"/>
                <a:gd name="T34" fmla="*/ 961 w 13648"/>
                <a:gd name="T35" fmla="*/ 6536 h 6536"/>
                <a:gd name="T36" fmla="*/ 1333 w 13648"/>
                <a:gd name="T37" fmla="*/ 6536 h 6536"/>
                <a:gd name="T38" fmla="*/ 1584 w 13648"/>
                <a:gd name="T39" fmla="*/ 6536 h 6536"/>
                <a:gd name="T40" fmla="*/ 1777 w 13648"/>
                <a:gd name="T41" fmla="*/ 6343 h 6536"/>
                <a:gd name="T42" fmla="*/ 1778 w 13648"/>
                <a:gd name="T43" fmla="*/ 4427 h 6536"/>
                <a:gd name="T44" fmla="*/ 2679 w 13648"/>
                <a:gd name="T45" fmla="*/ 3514 h 6536"/>
                <a:gd name="T46" fmla="*/ 4847 w 13648"/>
                <a:gd name="T47" fmla="*/ 4824 h 6536"/>
                <a:gd name="T48" fmla="*/ 6045 w 13648"/>
                <a:gd name="T49" fmla="*/ 5829 h 6536"/>
                <a:gd name="T50" fmla="*/ 7855 w 13648"/>
                <a:gd name="T51" fmla="*/ 3785 h 6536"/>
                <a:gd name="T52" fmla="*/ 10293 w 13648"/>
                <a:gd name="T53" fmla="*/ 3661 h 6536"/>
                <a:gd name="T54" fmla="*/ 10969 w 13648"/>
                <a:gd name="T55" fmla="*/ 3514 h 6536"/>
                <a:gd name="T56" fmla="*/ 11870 w 13648"/>
                <a:gd name="T57" fmla="*/ 4419 h 6536"/>
                <a:gd name="T58" fmla="*/ 11870 w 13648"/>
                <a:gd name="T59" fmla="*/ 5575 h 6536"/>
                <a:gd name="T60" fmla="*/ 12831 w 13648"/>
                <a:gd name="T61" fmla="*/ 6535 h 6536"/>
                <a:gd name="T62" fmla="*/ 13246 w 13648"/>
                <a:gd name="T63" fmla="*/ 6535 h 6536"/>
                <a:gd name="T64" fmla="*/ 13455 w 13648"/>
                <a:gd name="T65" fmla="*/ 6536 h 6536"/>
                <a:gd name="T66" fmla="*/ 13455 w 13648"/>
                <a:gd name="T67" fmla="*/ 6536 h 6536"/>
                <a:gd name="T68" fmla="*/ 13648 w 13648"/>
                <a:gd name="T69" fmla="*/ 6343 h 6536"/>
                <a:gd name="T70" fmla="*/ 13648 w 13648"/>
                <a:gd name="T71" fmla="*/ 6113 h 6536"/>
                <a:gd name="T72" fmla="*/ 13648 w 13648"/>
                <a:gd name="T73" fmla="*/ 961 h 6536"/>
                <a:gd name="T74" fmla="*/ 12632 w 13648"/>
                <a:gd name="T75" fmla="*/ 3226 h 6536"/>
                <a:gd name="T76" fmla="*/ 11729 w 13648"/>
                <a:gd name="T77" fmla="*/ 2572 h 6536"/>
                <a:gd name="T78" fmla="*/ 10751 w 13648"/>
                <a:gd name="T79" fmla="*/ 1902 h 6536"/>
                <a:gd name="T80" fmla="*/ 12481 w 13648"/>
                <a:gd name="T81" fmla="*/ 1838 h 6536"/>
                <a:gd name="T82" fmla="*/ 12632 w 13648"/>
                <a:gd name="T83" fmla="*/ 3226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648" h="6536">
                  <a:moveTo>
                    <a:pt x="13648" y="961"/>
                  </a:moveTo>
                  <a:cubicBezTo>
                    <a:pt x="13648" y="430"/>
                    <a:pt x="13218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9497" y="1968"/>
                    <a:pt x="9497" y="1968"/>
                    <a:pt x="9497" y="1968"/>
                  </a:cubicBezTo>
                  <a:cubicBezTo>
                    <a:pt x="8799" y="2625"/>
                    <a:pt x="7858" y="2994"/>
                    <a:pt x="6824" y="2994"/>
                  </a:cubicBezTo>
                  <a:cubicBezTo>
                    <a:pt x="5746" y="2994"/>
                    <a:pt x="4771" y="2591"/>
                    <a:pt x="4064" y="1885"/>
                  </a:cubicBezTo>
                  <a:cubicBezTo>
                    <a:pt x="4064" y="1885"/>
                    <a:pt x="2564" y="476"/>
                    <a:pt x="2550" y="463"/>
                  </a:cubicBezTo>
                  <a:cubicBezTo>
                    <a:pt x="2262" y="195"/>
                    <a:pt x="1866" y="10"/>
                    <a:pt x="1410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309"/>
                    <a:pt x="0" y="309"/>
                    <a:pt x="0" y="309"/>
                  </a:cubicBezTo>
                  <a:cubicBezTo>
                    <a:pt x="42" y="306"/>
                    <a:pt x="84" y="302"/>
                    <a:pt x="127" y="302"/>
                  </a:cubicBezTo>
                  <a:cubicBezTo>
                    <a:pt x="1233" y="302"/>
                    <a:pt x="2129" y="1189"/>
                    <a:pt x="2129" y="2283"/>
                  </a:cubicBezTo>
                  <a:cubicBezTo>
                    <a:pt x="2129" y="3377"/>
                    <a:pt x="1233" y="4263"/>
                    <a:pt x="127" y="4263"/>
                  </a:cubicBezTo>
                  <a:cubicBezTo>
                    <a:pt x="84" y="4263"/>
                    <a:pt x="42" y="4259"/>
                    <a:pt x="0" y="4257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8" y="4427"/>
                    <a:pt x="1778" y="4427"/>
                    <a:pt x="1778" y="4427"/>
                  </a:cubicBezTo>
                  <a:cubicBezTo>
                    <a:pt x="1778" y="3927"/>
                    <a:pt x="2186" y="3514"/>
                    <a:pt x="2679" y="3514"/>
                  </a:cubicBezTo>
                  <a:cubicBezTo>
                    <a:pt x="3595" y="3514"/>
                    <a:pt x="4253" y="4299"/>
                    <a:pt x="4847" y="4824"/>
                  </a:cubicBezTo>
                  <a:cubicBezTo>
                    <a:pt x="5285" y="5211"/>
                    <a:pt x="5663" y="5589"/>
                    <a:pt x="6045" y="5829"/>
                  </a:cubicBezTo>
                  <a:cubicBezTo>
                    <a:pt x="6051" y="5102"/>
                    <a:pt x="6768" y="4257"/>
                    <a:pt x="7855" y="3785"/>
                  </a:cubicBezTo>
                  <a:cubicBezTo>
                    <a:pt x="8772" y="3388"/>
                    <a:pt x="9702" y="3364"/>
                    <a:pt x="10293" y="3661"/>
                  </a:cubicBezTo>
                  <a:cubicBezTo>
                    <a:pt x="10502" y="3570"/>
                    <a:pt x="10726" y="3514"/>
                    <a:pt x="10969" y="3514"/>
                  </a:cubicBezTo>
                  <a:cubicBezTo>
                    <a:pt x="11459" y="3514"/>
                    <a:pt x="11865" y="3922"/>
                    <a:pt x="11870" y="4419"/>
                  </a:cubicBezTo>
                  <a:cubicBezTo>
                    <a:pt x="11870" y="4419"/>
                    <a:pt x="11870" y="5567"/>
                    <a:pt x="11870" y="5575"/>
                  </a:cubicBezTo>
                  <a:cubicBezTo>
                    <a:pt x="11870" y="6106"/>
                    <a:pt x="12300" y="6535"/>
                    <a:pt x="12831" y="6535"/>
                  </a:cubicBezTo>
                  <a:cubicBezTo>
                    <a:pt x="13246" y="6535"/>
                    <a:pt x="13246" y="6535"/>
                    <a:pt x="13246" y="6535"/>
                  </a:cubicBezTo>
                  <a:cubicBezTo>
                    <a:pt x="13355" y="6535"/>
                    <a:pt x="13455" y="6536"/>
                    <a:pt x="13455" y="6536"/>
                  </a:cubicBezTo>
                  <a:cubicBezTo>
                    <a:pt x="13455" y="6536"/>
                    <a:pt x="13455" y="6536"/>
                    <a:pt x="13455" y="6536"/>
                  </a:cubicBezTo>
                  <a:cubicBezTo>
                    <a:pt x="13562" y="6536"/>
                    <a:pt x="13648" y="6449"/>
                    <a:pt x="13648" y="6343"/>
                  </a:cubicBezTo>
                  <a:cubicBezTo>
                    <a:pt x="13648" y="6113"/>
                    <a:pt x="13648" y="6113"/>
                    <a:pt x="13648" y="6113"/>
                  </a:cubicBezTo>
                  <a:cubicBezTo>
                    <a:pt x="13648" y="5089"/>
                    <a:pt x="13648" y="1001"/>
                    <a:pt x="13648" y="961"/>
                  </a:cubicBezTo>
                  <a:close/>
                  <a:moveTo>
                    <a:pt x="12632" y="3226"/>
                  </a:moveTo>
                  <a:cubicBezTo>
                    <a:pt x="12484" y="3174"/>
                    <a:pt x="12284" y="3026"/>
                    <a:pt x="11729" y="2572"/>
                  </a:cubicBezTo>
                  <a:cubicBezTo>
                    <a:pt x="11174" y="2118"/>
                    <a:pt x="10351" y="2391"/>
                    <a:pt x="10751" y="1902"/>
                  </a:cubicBezTo>
                  <a:cubicBezTo>
                    <a:pt x="11151" y="1413"/>
                    <a:pt x="11926" y="1384"/>
                    <a:pt x="12481" y="1838"/>
                  </a:cubicBezTo>
                  <a:cubicBezTo>
                    <a:pt x="13036" y="2292"/>
                    <a:pt x="13229" y="3434"/>
                    <a:pt x="12632" y="322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gray">
            <a:xfrm>
              <a:off x="4038600" y="2482850"/>
              <a:ext cx="4114800" cy="1970088"/>
            </a:xfrm>
            <a:custGeom>
              <a:avLst/>
              <a:gdLst>
                <a:gd name="T0" fmla="*/ 11932 w 13648"/>
                <a:gd name="T1" fmla="*/ 3358 h 6536"/>
                <a:gd name="T2" fmla="*/ 13648 w 13648"/>
                <a:gd name="T3" fmla="*/ 3699 h 6536"/>
                <a:gd name="T4" fmla="*/ 13648 w 13648"/>
                <a:gd name="T5" fmla="*/ 2168 h 6536"/>
                <a:gd name="T6" fmla="*/ 11489 w 13648"/>
                <a:gd name="T7" fmla="*/ 1768 h 6536"/>
                <a:gd name="T8" fmla="*/ 12716 w 13648"/>
                <a:gd name="T9" fmla="*/ 3 h 6536"/>
                <a:gd name="T10" fmla="*/ 12687 w 13648"/>
                <a:gd name="T11" fmla="*/ 0 h 6536"/>
                <a:gd name="T12" fmla="*/ 11669 w 13648"/>
                <a:gd name="T13" fmla="*/ 0 h 6536"/>
                <a:gd name="T14" fmla="*/ 11538 w 13648"/>
                <a:gd name="T15" fmla="*/ 53 h 6536"/>
                <a:gd name="T16" fmla="*/ 10298 w 13648"/>
                <a:gd name="T17" fmla="*/ 1217 h 6536"/>
                <a:gd name="T18" fmla="*/ 9293 w 13648"/>
                <a:gd name="T19" fmla="*/ 3115 h 6536"/>
                <a:gd name="T20" fmla="*/ 5182 w 13648"/>
                <a:gd name="T21" fmla="*/ 4321 h 6536"/>
                <a:gd name="T22" fmla="*/ 4569 w 13648"/>
                <a:gd name="T23" fmla="*/ 2303 h 6536"/>
                <a:gd name="T24" fmla="*/ 4064 w 13648"/>
                <a:gd name="T25" fmla="*/ 1885 h 6536"/>
                <a:gd name="T26" fmla="*/ 3466 w 13648"/>
                <a:gd name="T27" fmla="*/ 1323 h 6536"/>
                <a:gd name="T28" fmla="*/ 1362 w 13648"/>
                <a:gd name="T29" fmla="*/ 1511 h 6536"/>
                <a:gd name="T30" fmla="*/ 908 w 13648"/>
                <a:gd name="T31" fmla="*/ 0 h 6536"/>
                <a:gd name="T32" fmla="*/ 192 w 13648"/>
                <a:gd name="T33" fmla="*/ 0 h 6536"/>
                <a:gd name="T34" fmla="*/ 0 w 13648"/>
                <a:gd name="T35" fmla="*/ 192 h 6536"/>
                <a:gd name="T36" fmla="*/ 0 w 13648"/>
                <a:gd name="T37" fmla="*/ 5575 h 6536"/>
                <a:gd name="T38" fmla="*/ 961 w 13648"/>
                <a:gd name="T39" fmla="*/ 6536 h 6536"/>
                <a:gd name="T40" fmla="*/ 1333 w 13648"/>
                <a:gd name="T41" fmla="*/ 6536 h 6536"/>
                <a:gd name="T42" fmla="*/ 1584 w 13648"/>
                <a:gd name="T43" fmla="*/ 6536 h 6536"/>
                <a:gd name="T44" fmla="*/ 1777 w 13648"/>
                <a:gd name="T45" fmla="*/ 6343 h 6536"/>
                <a:gd name="T46" fmla="*/ 1777 w 13648"/>
                <a:gd name="T47" fmla="*/ 5509 h 6536"/>
                <a:gd name="T48" fmla="*/ 888 w 13648"/>
                <a:gd name="T49" fmla="*/ 5419 h 6536"/>
                <a:gd name="T50" fmla="*/ 1132 w 13648"/>
                <a:gd name="T51" fmla="*/ 3510 h 6536"/>
                <a:gd name="T52" fmla="*/ 2953 w 13648"/>
                <a:gd name="T53" fmla="*/ 2855 h 6536"/>
                <a:gd name="T54" fmla="*/ 3266 w 13648"/>
                <a:gd name="T55" fmla="*/ 3625 h 6536"/>
                <a:gd name="T56" fmla="*/ 4847 w 13648"/>
                <a:gd name="T57" fmla="*/ 4824 h 6536"/>
                <a:gd name="T58" fmla="*/ 6824 w 13648"/>
                <a:gd name="T59" fmla="*/ 6085 h 6536"/>
                <a:gd name="T60" fmla="*/ 8801 w 13648"/>
                <a:gd name="T61" fmla="*/ 4824 h 6536"/>
                <a:gd name="T62" fmla="*/ 10515 w 13648"/>
                <a:gd name="T63" fmla="*/ 3580 h 6536"/>
                <a:gd name="T64" fmla="*/ 10519 w 13648"/>
                <a:gd name="T65" fmla="*/ 3579 h 6536"/>
                <a:gd name="T66" fmla="*/ 11932 w 13648"/>
                <a:gd name="T67" fmla="*/ 3358 h 6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648" h="6536">
                  <a:moveTo>
                    <a:pt x="11932" y="3358"/>
                  </a:moveTo>
                  <a:cubicBezTo>
                    <a:pt x="12549" y="3358"/>
                    <a:pt x="13129" y="3483"/>
                    <a:pt x="13648" y="3699"/>
                  </a:cubicBezTo>
                  <a:cubicBezTo>
                    <a:pt x="13648" y="3162"/>
                    <a:pt x="13648" y="2624"/>
                    <a:pt x="13648" y="2168"/>
                  </a:cubicBezTo>
                  <a:cubicBezTo>
                    <a:pt x="12897" y="2341"/>
                    <a:pt x="11747" y="2453"/>
                    <a:pt x="11489" y="1768"/>
                  </a:cubicBezTo>
                  <a:cubicBezTo>
                    <a:pt x="11253" y="1142"/>
                    <a:pt x="11893" y="161"/>
                    <a:pt x="12716" y="3"/>
                  </a:cubicBezTo>
                  <a:cubicBezTo>
                    <a:pt x="12706" y="2"/>
                    <a:pt x="12697" y="0"/>
                    <a:pt x="12687" y="0"/>
                  </a:cubicBezTo>
                  <a:cubicBezTo>
                    <a:pt x="11669" y="0"/>
                    <a:pt x="11669" y="0"/>
                    <a:pt x="11669" y="0"/>
                  </a:cubicBezTo>
                  <a:cubicBezTo>
                    <a:pt x="11618" y="0"/>
                    <a:pt x="11572" y="20"/>
                    <a:pt x="11538" y="53"/>
                  </a:cubicBezTo>
                  <a:cubicBezTo>
                    <a:pt x="10298" y="1217"/>
                    <a:pt x="10298" y="1217"/>
                    <a:pt x="10298" y="1217"/>
                  </a:cubicBezTo>
                  <a:cubicBezTo>
                    <a:pt x="10132" y="1855"/>
                    <a:pt x="9794" y="2520"/>
                    <a:pt x="9293" y="3115"/>
                  </a:cubicBezTo>
                  <a:cubicBezTo>
                    <a:pt x="8033" y="4612"/>
                    <a:pt x="6154" y="5214"/>
                    <a:pt x="5182" y="4321"/>
                  </a:cubicBezTo>
                  <a:cubicBezTo>
                    <a:pt x="4669" y="3850"/>
                    <a:pt x="4468" y="3114"/>
                    <a:pt x="4569" y="2303"/>
                  </a:cubicBezTo>
                  <a:cubicBezTo>
                    <a:pt x="4390" y="2178"/>
                    <a:pt x="4219" y="2040"/>
                    <a:pt x="4064" y="1885"/>
                  </a:cubicBezTo>
                  <a:cubicBezTo>
                    <a:pt x="4064" y="1885"/>
                    <a:pt x="3784" y="1623"/>
                    <a:pt x="3466" y="1323"/>
                  </a:cubicBezTo>
                  <a:cubicBezTo>
                    <a:pt x="2590" y="2124"/>
                    <a:pt x="1943" y="2023"/>
                    <a:pt x="1362" y="1511"/>
                  </a:cubicBezTo>
                  <a:cubicBezTo>
                    <a:pt x="1086" y="1269"/>
                    <a:pt x="912" y="614"/>
                    <a:pt x="908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86" y="0"/>
                    <a:pt x="0" y="86"/>
                    <a:pt x="0" y="192"/>
                  </a:cubicBezTo>
                  <a:cubicBezTo>
                    <a:pt x="0" y="5575"/>
                    <a:pt x="0" y="5575"/>
                    <a:pt x="0" y="5575"/>
                  </a:cubicBezTo>
                  <a:cubicBezTo>
                    <a:pt x="0" y="6106"/>
                    <a:pt x="430" y="6536"/>
                    <a:pt x="961" y="6536"/>
                  </a:cubicBezTo>
                  <a:cubicBezTo>
                    <a:pt x="1333" y="6536"/>
                    <a:pt x="1333" y="6536"/>
                    <a:pt x="1333" y="6536"/>
                  </a:cubicBezTo>
                  <a:cubicBezTo>
                    <a:pt x="1584" y="6536"/>
                    <a:pt x="1584" y="6536"/>
                    <a:pt x="1584" y="6536"/>
                  </a:cubicBezTo>
                  <a:cubicBezTo>
                    <a:pt x="1691" y="6536"/>
                    <a:pt x="1777" y="6449"/>
                    <a:pt x="1777" y="6343"/>
                  </a:cubicBezTo>
                  <a:cubicBezTo>
                    <a:pt x="1777" y="5509"/>
                    <a:pt x="1777" y="5509"/>
                    <a:pt x="1777" y="5509"/>
                  </a:cubicBezTo>
                  <a:cubicBezTo>
                    <a:pt x="1435" y="5629"/>
                    <a:pt x="1123" y="5594"/>
                    <a:pt x="888" y="5419"/>
                  </a:cubicBezTo>
                  <a:cubicBezTo>
                    <a:pt x="469" y="5108"/>
                    <a:pt x="558" y="4229"/>
                    <a:pt x="1132" y="3510"/>
                  </a:cubicBezTo>
                  <a:cubicBezTo>
                    <a:pt x="1704" y="2759"/>
                    <a:pt x="2537" y="2539"/>
                    <a:pt x="2953" y="2855"/>
                  </a:cubicBezTo>
                  <a:cubicBezTo>
                    <a:pt x="3161" y="3012"/>
                    <a:pt x="3285" y="3285"/>
                    <a:pt x="3266" y="3625"/>
                  </a:cubicBezTo>
                  <a:cubicBezTo>
                    <a:pt x="3891" y="3860"/>
                    <a:pt x="4388" y="4418"/>
                    <a:pt x="4847" y="4824"/>
                  </a:cubicBezTo>
                  <a:cubicBezTo>
                    <a:pt x="5574" y="5466"/>
                    <a:pt x="6134" y="6085"/>
                    <a:pt x="6824" y="6085"/>
                  </a:cubicBezTo>
                  <a:cubicBezTo>
                    <a:pt x="7513" y="6085"/>
                    <a:pt x="8073" y="5466"/>
                    <a:pt x="8801" y="4824"/>
                  </a:cubicBezTo>
                  <a:cubicBezTo>
                    <a:pt x="9292" y="4390"/>
                    <a:pt x="9827" y="3779"/>
                    <a:pt x="10515" y="3580"/>
                  </a:cubicBezTo>
                  <a:cubicBezTo>
                    <a:pt x="10517" y="3580"/>
                    <a:pt x="10517" y="3580"/>
                    <a:pt x="10519" y="3579"/>
                  </a:cubicBezTo>
                  <a:cubicBezTo>
                    <a:pt x="10948" y="3445"/>
                    <a:pt x="11450" y="3358"/>
                    <a:pt x="11932" y="335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675376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22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 bwMode="gray">
          <a:xfrm>
            <a:off x="6240464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 bwMode="gray">
          <a:xfrm>
            <a:off x="623392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849867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0349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4845" y="1484314"/>
            <a:ext cx="345493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4368803" y="1484314"/>
            <a:ext cx="3455986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 bwMode="gray">
          <a:xfrm>
            <a:off x="8112000" y="1484313"/>
            <a:ext cx="345600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490129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1571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125" y="1484314"/>
            <a:ext cx="25191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</a:t>
            </a:r>
            <a:br>
              <a:rPr lang="en-US"/>
            </a:br>
            <a:r>
              <a:rPr lang="en-US"/>
              <a:t>for </a:t>
            </a:r>
            <a:r>
              <a:rPr lang="en-US" err="1"/>
              <a:t>copytext</a:t>
            </a:r>
            <a:r>
              <a:rPr lang="en-US"/>
              <a:t> or bullet level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3432159" y="1484314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Or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6240000" y="1484313"/>
            <a:ext cx="2519825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</a:t>
            </a:r>
            <a:br>
              <a:rPr lang="en-US"/>
            </a:br>
            <a:r>
              <a:rPr lang="en-US"/>
              <a:t>for </a:t>
            </a:r>
            <a:r>
              <a:rPr lang="en-US" err="1"/>
              <a:t>copytext</a:t>
            </a:r>
            <a:r>
              <a:rPr lang="en-US"/>
              <a:t> or bullet levels. 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2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Or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934615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73715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lnSpc>
                <a:spcPct val="105000"/>
              </a:lnSpc>
              <a:defRPr baseline="0"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lvl="0"/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5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lnSpc>
                <a:spcPct val="105000"/>
              </a:lnSpc>
              <a:defRPr sz="1200" baseline="0">
                <a:solidFill>
                  <a:schemeClr val="accent1"/>
                </a:solidFill>
              </a:defRPr>
            </a:lvl1pPr>
            <a:lvl2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2pPr>
            <a:lvl3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3pPr>
            <a:lvl4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4pPr>
            <a:lvl5pPr>
              <a:lnSpc>
                <a:spcPct val="105000"/>
              </a:lnSpc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You can use this field to enter marginal note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3239858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65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 bwMode="gray">
          <a:xfrm>
            <a:off x="623888" y="1484312"/>
            <a:ext cx="3960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You can use this field to enter text, a table, a diagram, a </a:t>
            </a:r>
            <a:r>
              <a:rPr lang="en-US" err="1"/>
              <a:t>SmartArts</a:t>
            </a:r>
            <a:r>
              <a:rPr lang="en-US"/>
              <a:t> or tex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0" hasCustomPrompt="1"/>
          </p:nvPr>
        </p:nvSpPr>
        <p:spPr bwMode="gray">
          <a:xfrm>
            <a:off x="4872296" y="1484312"/>
            <a:ext cx="3888000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You can use this field to enter text, a table, a diagram, a </a:t>
            </a:r>
            <a:r>
              <a:rPr lang="en-US" err="1"/>
              <a:t>SmartArts</a:t>
            </a:r>
            <a:r>
              <a:rPr lang="en-US"/>
              <a:t> or tex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1" hasCustomPrompt="1"/>
          </p:nvPr>
        </p:nvSpPr>
        <p:spPr bwMode="gray">
          <a:xfrm>
            <a:off x="9048750" y="1484313"/>
            <a:ext cx="2518051" cy="4608512"/>
          </a:xfrm>
        </p:spPr>
        <p:txBody>
          <a:bodyPr>
            <a:noAutofit/>
          </a:bodyPr>
          <a:lstStyle>
            <a:lvl1pPr>
              <a:defRPr sz="1200" baseline="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You can use this field to enter marginal note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6717228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7603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9048750" y="1484310"/>
            <a:ext cx="2518051" cy="4608515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You can use this field to enter marginal note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8135936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536401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1F28CAC-B11B-9472-F387-09B0C2F3F6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8F76058-D729-8F58-5EB3-7436E38866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2778E3E5-A5AD-4784-E153-AA2A3EB99A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98C5E77F-3500-225D-3522-4950B186F6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64E03-B8D9-4FA7-89DA-B24DAF0BE8A7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07F1E90-42F6-B045-734B-ADFA0947D4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57A96A5-4DC4-C80A-306E-D14729263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8E09-8AC3-409D-9A37-A314A19285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537403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3426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 bwMode="gray">
          <a:xfrm>
            <a:off x="6240464" y="1484313"/>
            <a:ext cx="5327650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aseline="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3"/>
            <a:ext cx="5327650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You can use this field to enter text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864550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6234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6240464" y="1484310"/>
            <a:ext cx="5327650" cy="460851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You can use this field to enter text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5327650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kern="1200" baseline="0" noProof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3100022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, Notic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45822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22"/>
          </p:nvPr>
        </p:nvSpPr>
        <p:spPr bwMode="gray">
          <a:xfrm>
            <a:off x="623888" y="4437469"/>
            <a:ext cx="3960000" cy="1655827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23"/>
          </p:nvPr>
        </p:nvSpPr>
        <p:spPr bwMode="gray">
          <a:xfrm>
            <a:off x="4871713" y="4437469"/>
            <a:ext cx="3888112" cy="165582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4" hasCustomPrompt="1"/>
          </p:nvPr>
        </p:nvSpPr>
        <p:spPr bwMode="gray">
          <a:xfrm>
            <a:off x="9048750" y="1484310"/>
            <a:ext cx="2518051" cy="4608986"/>
          </a:xfrm>
        </p:spPr>
        <p:txBody>
          <a:bodyPr>
            <a:noAutofit/>
          </a:bodyPr>
          <a:lstStyle>
            <a:lvl1pPr>
              <a:defRPr sz="12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accent1"/>
                </a:solidFill>
              </a:defRPr>
            </a:lvl2pPr>
            <a:lvl3pPr>
              <a:defRPr sz="12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>
                <a:solidFill>
                  <a:schemeClr val="accent1"/>
                </a:solidFill>
              </a:defRPr>
            </a:lvl6pPr>
            <a:lvl7pPr>
              <a:defRPr sz="1200">
                <a:solidFill>
                  <a:schemeClr val="accent1"/>
                </a:solidFill>
              </a:defRPr>
            </a:lvl7pPr>
            <a:lvl8pPr>
              <a:defRPr sz="1200">
                <a:solidFill>
                  <a:schemeClr val="accent1"/>
                </a:solidFill>
              </a:defRPr>
            </a:lvl8pPr>
            <a:lvl9pPr>
              <a:defRPr sz="12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You can use this field to enter marginal note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3888" y="4076700"/>
            <a:ext cx="8135936" cy="3603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bg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 noProof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21"/>
          </p:nvPr>
        </p:nvSpPr>
        <p:spPr bwMode="gray">
          <a:xfrm>
            <a:off x="623888" y="1484310"/>
            <a:ext cx="8135936" cy="2376000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894068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5720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noProof="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9"/>
          </p:nvPr>
        </p:nvSpPr>
        <p:spPr bwMode="gray">
          <a:xfrm>
            <a:off x="9048750" y="1484310"/>
            <a:ext cx="2518051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8" hasCustomPrompt="1"/>
          </p:nvPr>
        </p:nvSpPr>
        <p:spPr bwMode="gray">
          <a:xfrm>
            <a:off x="623888" y="1484312"/>
            <a:ext cx="8135936" cy="46085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You can use this field to enter text, a table, a diagram or a SmartArt.</a:t>
            </a:r>
            <a:br>
              <a:rPr lang="en-US"/>
            </a:br>
            <a:r>
              <a:rPr lang="en-US"/>
              <a:t>Use the buttons “Increase List Level” for </a:t>
            </a:r>
            <a:r>
              <a:rPr lang="en-US" err="1"/>
              <a:t>copytext</a:t>
            </a:r>
            <a:r>
              <a:rPr lang="en-US"/>
              <a:t> or bullet levels.</a:t>
            </a:r>
            <a:br>
              <a:rPr lang="en-US"/>
            </a:br>
            <a:r>
              <a:rPr lang="en-US"/>
              <a:t>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996157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5207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7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9" name="Freeform 8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3430866" y="1484310"/>
            <a:ext cx="8135936" cy="460852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a SmartArt.</a:t>
            </a:r>
            <a:br>
              <a:rPr lang="en-US"/>
            </a:br>
            <a:r>
              <a:rPr lang="en-US"/>
              <a:t>Use the buttons “Increase List Level” for </a:t>
            </a:r>
            <a:r>
              <a:rPr lang="en-US" err="1"/>
              <a:t>copytext</a:t>
            </a:r>
            <a:r>
              <a:rPr lang="en-US"/>
              <a:t> or bullet levels.</a:t>
            </a:r>
            <a:br>
              <a:rPr lang="en-US"/>
            </a:br>
            <a:r>
              <a:rPr lang="en-US"/>
              <a:t>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 bwMode="gray">
          <a:xfrm>
            <a:off x="623888" y="1484310"/>
            <a:ext cx="2518051" cy="4608515"/>
          </a:xfrm>
          <a:solidFill>
            <a:schemeClr val="bg1">
              <a:lumMod val="75000"/>
            </a:schemeClr>
          </a:solidFill>
        </p:spPr>
        <p:txBody>
          <a:bodyPr tIns="360000" anchor="ctr"/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ctr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2836316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3415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MIO_VALID_LAYOUT" hidden="1"/>
          <p:cNvSpPr/>
          <p:nvPr userDrawn="1"/>
        </p:nvSpPr>
        <p:spPr bwMode="gray">
          <a:xfrm>
            <a:off x="263056" y="157877"/>
            <a:ext cx="641166" cy="599207"/>
          </a:xfrm>
          <a:prstGeom prst="rect">
            <a:avLst/>
          </a:prstGeom>
          <a:solidFill>
            <a:srgbClr val="52328F"/>
          </a:solidFill>
          <a:ln w="9525" cap="flat" cmpd="sng" algn="ctr">
            <a:noFill/>
            <a:prstDash val="solid"/>
          </a:ln>
          <a:effectLst/>
        </p:spPr>
        <p:txBody>
          <a:bodyPr rtlCol="0" anchor="t" anchorCtr="0"/>
          <a:lstStyle/>
          <a:p>
            <a:pPr marL="180000" indent="-18000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4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5"/>
          </p:nvPr>
        </p:nvSpPr>
        <p:spPr bwMode="gray"/>
        <p:txBody>
          <a:bodyPr/>
          <a:lstStyle/>
          <a:p>
            <a:fld id="{7C13EB76-EF81-47B5-BEE8-51CDB48536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lIns="4248000" rIns="0" anchor="ctr" anchorCtr="0"/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/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5pPr>
            <a:lvl6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6pPr>
            <a:lvl7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7pPr>
            <a:lvl8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8pPr>
            <a:lvl9pPr marL="0" indent="0" algn="l">
              <a:spcBef>
                <a:spcPts val="0"/>
              </a:spcBef>
              <a:spcAft>
                <a:spcPts val="0"/>
              </a:spcAft>
              <a:buNone/>
              <a:defRPr sz="1000"/>
            </a:lvl9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6" hasCustomPrompt="1"/>
          </p:nvPr>
        </p:nvSpPr>
        <p:spPr bwMode="gray">
          <a:xfrm>
            <a:off x="6600057" y="476251"/>
            <a:ext cx="4968551" cy="5616578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000" b="1" kern="1200" noProof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You can use this field to enter text, a table, a diagram or a SmartArt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0687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763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45693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out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1679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Click to add action 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7964293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without Elements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42806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 noProof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1703520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CD3C7B-A8D7-458A-B3B1-196F239FBE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C90924-219C-43A3-8485-08F7E3CBFF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8D3C86-73A2-43E8-853D-15DD5E7167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794976-7EB2-4A65-8729-D5F9A78DAD2D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8B4EA1-2016-4A44-A42D-456948903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5FF837-605D-41F2-8D64-01C805899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C46A48-0FF3-4ABC-A28E-1D01CCCAB2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321183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5487635-C5F2-E436-67CB-DED24105D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61FE9EE2-8C97-79F0-53BE-4A18688E87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8671918-5208-D4AF-81A1-C5074846CAA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5E88F6D-C15C-B289-3AA8-72BB17890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564E03-B8D9-4FA7-89DA-B24DAF0BE8A7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0169A774-B543-13C6-2A46-563B22C8FE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7499251-C3B3-DEA5-A52D-9303FE704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48E09-8AC3-409D-9A37-A314A19285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209312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Only Title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5"/>
          <p:cNvSpPr/>
          <p:nvPr userDrawn="1"/>
        </p:nvSpPr>
        <p:spPr bwMode="gray">
          <a:xfrm>
            <a:off x="1" y="6331916"/>
            <a:ext cx="1246337" cy="526085"/>
          </a:xfrm>
          <a:custGeom>
            <a:avLst/>
            <a:gdLst>
              <a:gd name="connsiteX0" fmla="*/ 464152 w 1246337"/>
              <a:gd name="connsiteY0" fmla="*/ 50 h 526085"/>
              <a:gd name="connsiteX1" fmla="*/ 1175880 w 1246337"/>
              <a:gd name="connsiteY1" fmla="*/ 429161 h 526085"/>
              <a:gd name="connsiteX2" fmla="*/ 1246337 w 1246337"/>
              <a:gd name="connsiteY2" fmla="*/ 526085 h 526085"/>
              <a:gd name="connsiteX3" fmla="*/ 1009931 w 1246337"/>
              <a:gd name="connsiteY3" fmla="*/ 526085 h 526085"/>
              <a:gd name="connsiteX4" fmla="*/ 803034 w 1246337"/>
              <a:gd name="connsiteY4" fmla="*/ 526085 h 526085"/>
              <a:gd name="connsiteX5" fmla="*/ 623680 w 1246337"/>
              <a:gd name="connsiteY5" fmla="*/ 526085 h 526085"/>
              <a:gd name="connsiteX6" fmla="*/ 469901 w 1246337"/>
              <a:gd name="connsiteY6" fmla="*/ 526085 h 526085"/>
              <a:gd name="connsiteX7" fmla="*/ 339730 w 1246337"/>
              <a:gd name="connsiteY7" fmla="*/ 526085 h 526085"/>
              <a:gd name="connsiteX8" fmla="*/ 231199 w 1246337"/>
              <a:gd name="connsiteY8" fmla="*/ 526085 h 526085"/>
              <a:gd name="connsiteX9" fmla="*/ 142342 w 1246337"/>
              <a:gd name="connsiteY9" fmla="*/ 526085 h 526085"/>
              <a:gd name="connsiteX10" fmla="*/ 71190 w 1246337"/>
              <a:gd name="connsiteY10" fmla="*/ 526085 h 526085"/>
              <a:gd name="connsiteX11" fmla="*/ 0 w 1246337"/>
              <a:gd name="connsiteY11" fmla="*/ 526085 h 526085"/>
              <a:gd name="connsiteX12" fmla="*/ 0 w 1246337"/>
              <a:gd name="connsiteY12" fmla="*/ 54115 h 526085"/>
              <a:gd name="connsiteX13" fmla="*/ 91701 w 1246337"/>
              <a:gd name="connsiteY13" fmla="*/ 39202 h 526085"/>
              <a:gd name="connsiteX14" fmla="*/ 464152 w 1246337"/>
              <a:gd name="connsiteY14" fmla="*/ 50 h 526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46337" h="526085">
                <a:moveTo>
                  <a:pt x="464152" y="50"/>
                </a:moveTo>
                <a:cubicBezTo>
                  <a:pt x="746849" y="-2552"/>
                  <a:pt x="923534" y="96974"/>
                  <a:pt x="1175880" y="429161"/>
                </a:cubicBezTo>
                <a:cubicBezTo>
                  <a:pt x="1246337" y="526085"/>
                  <a:pt x="1246337" y="526085"/>
                  <a:pt x="1246337" y="526085"/>
                </a:cubicBezTo>
                <a:lnTo>
                  <a:pt x="1009931" y="526085"/>
                </a:lnTo>
                <a:lnTo>
                  <a:pt x="803034" y="526085"/>
                </a:lnTo>
                <a:lnTo>
                  <a:pt x="623680" y="526085"/>
                </a:lnTo>
                <a:lnTo>
                  <a:pt x="469901" y="526085"/>
                </a:lnTo>
                <a:lnTo>
                  <a:pt x="339730" y="526085"/>
                </a:lnTo>
                <a:lnTo>
                  <a:pt x="231199" y="526085"/>
                </a:lnTo>
                <a:lnTo>
                  <a:pt x="142342" y="526085"/>
                </a:lnTo>
                <a:lnTo>
                  <a:pt x="71190" y="526085"/>
                </a:lnTo>
                <a:lnTo>
                  <a:pt x="0" y="526085"/>
                </a:lnTo>
                <a:lnTo>
                  <a:pt x="0" y="54115"/>
                </a:lnTo>
                <a:lnTo>
                  <a:pt x="91701" y="39202"/>
                </a:lnTo>
                <a:cubicBezTo>
                  <a:pt x="237131" y="16394"/>
                  <a:pt x="358141" y="1026"/>
                  <a:pt x="464152" y="5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" name="Freeform 6"/>
          <p:cNvSpPr/>
          <p:nvPr userDrawn="1"/>
        </p:nvSpPr>
        <p:spPr bwMode="gray">
          <a:xfrm>
            <a:off x="1" y="4811181"/>
            <a:ext cx="503411" cy="1443357"/>
          </a:xfrm>
          <a:custGeom>
            <a:avLst/>
            <a:gdLst>
              <a:gd name="connsiteX0" fmla="*/ 0 w 503411"/>
              <a:gd name="connsiteY0" fmla="*/ 0 h 1443357"/>
              <a:gd name="connsiteX1" fmla="*/ 37739 w 503411"/>
              <a:gd name="connsiteY1" fmla="*/ 54036 h 1443357"/>
              <a:gd name="connsiteX2" fmla="*/ 133728 w 503411"/>
              <a:gd name="connsiteY2" fmla="*/ 254288 h 1443357"/>
              <a:gd name="connsiteX3" fmla="*/ 486843 w 503411"/>
              <a:gd name="connsiteY3" fmla="*/ 1182044 h 1443357"/>
              <a:gd name="connsiteX4" fmla="*/ 365663 w 503411"/>
              <a:gd name="connsiteY4" fmla="*/ 1376609 h 1443357"/>
              <a:gd name="connsiteX5" fmla="*/ 66287 w 503411"/>
              <a:gd name="connsiteY5" fmla="*/ 1433189 h 1443357"/>
              <a:gd name="connsiteX6" fmla="*/ 0 w 503411"/>
              <a:gd name="connsiteY6" fmla="*/ 1443357 h 144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3411" h="1443357">
                <a:moveTo>
                  <a:pt x="0" y="0"/>
                </a:moveTo>
                <a:lnTo>
                  <a:pt x="37739" y="54036"/>
                </a:lnTo>
                <a:cubicBezTo>
                  <a:pt x="71346" y="113239"/>
                  <a:pt x="102672" y="179647"/>
                  <a:pt x="133728" y="254288"/>
                </a:cubicBezTo>
                <a:cubicBezTo>
                  <a:pt x="212342" y="443869"/>
                  <a:pt x="467298" y="1071979"/>
                  <a:pt x="486843" y="1182044"/>
                </a:cubicBezTo>
                <a:cubicBezTo>
                  <a:pt x="508126" y="1288643"/>
                  <a:pt x="538312" y="1333493"/>
                  <a:pt x="365663" y="1376609"/>
                </a:cubicBezTo>
                <a:cubicBezTo>
                  <a:pt x="302793" y="1393184"/>
                  <a:pt x="193747" y="1412927"/>
                  <a:pt x="66287" y="1433189"/>
                </a:cubicBezTo>
                <a:lnTo>
                  <a:pt x="0" y="1443357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endParaRPr lang="en-US">
              <a:solidFill>
                <a:srgbClr val="503291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5E7EB4-4CDF-47BB-AF16-07782904B863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540000"/>
            <a:ext cx="10944225" cy="307777"/>
          </a:xfrm>
        </p:spPr>
        <p:txBody>
          <a:bodyPr bIns="0"/>
          <a:lstStyle>
            <a:lvl1pPr>
              <a:defRPr sz="2000"/>
            </a:lvl1pPr>
          </a:lstStyle>
          <a:p>
            <a:r>
              <a:rPr lang="en-US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388856013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copytext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623889" y="6238875"/>
            <a:ext cx="6436788" cy="401638"/>
          </a:xfrm>
        </p:spPr>
        <p:txBody>
          <a:bodyPr anchor="b" anchorCtr="0"/>
          <a:lstStyle>
            <a:lvl1pPr>
              <a:defRPr sz="800"/>
            </a:lvl1pPr>
          </a:lstStyle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7409468" y="6238875"/>
            <a:ext cx="2725918" cy="401638"/>
          </a:xfrm>
        </p:spPr>
        <p:txBody>
          <a:bodyPr anchor="b" anchorCtr="0"/>
          <a:lstStyle>
            <a:lvl1pPr algn="r">
              <a:defRPr sz="8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488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8" name="Group 12">
            <a:extLst>
              <a:ext uri="{FF2B5EF4-FFF2-40B4-BE49-F238E27FC236}">
                <a16:creationId xmlns:a16="http://schemas.microsoft.com/office/drawing/2014/main" id="{9CBDB830-96E7-4349-A01F-DDB9370599D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038601" y="2395914"/>
            <a:ext cx="4114800" cy="2066172"/>
            <a:chOff x="-85296375" y="18191163"/>
            <a:chExt cx="195448238" cy="98140837"/>
          </a:xfrm>
        </p:grpSpPr>
        <p:sp>
          <p:nvSpPr>
            <p:cNvPr id="9" name="Freeform 33">
              <a:extLst>
                <a:ext uri="{FF2B5EF4-FFF2-40B4-BE49-F238E27FC236}">
                  <a16:creationId xmlns:a16="http://schemas.microsoft.com/office/drawing/2014/main" id="{C51158E9-7BAF-4F5B-BC35-67A992B450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26 w 46525"/>
                <a:gd name="T3" fmla="*/ 21145 h 25428"/>
                <a:gd name="T4" fmla="*/ 44204 w 46525"/>
                <a:gd name="T5" fmla="*/ 16995 h 25428"/>
                <a:gd name="T6" fmla="*/ 43209 w 46525"/>
                <a:gd name="T7" fmla="*/ 14732 h 25428"/>
                <a:gd name="T8" fmla="*/ 40113 w 46525"/>
                <a:gd name="T9" fmla="*/ 14038 h 25428"/>
                <a:gd name="T10" fmla="*/ 33362 w 46525"/>
                <a:gd name="T11" fmla="*/ 18866 h 25428"/>
                <a:gd name="T12" fmla="*/ 27186 w 46525"/>
                <a:gd name="T13" fmla="*/ 23435 h 25428"/>
                <a:gd name="T14" fmla="*/ 21668 w 46525"/>
                <a:gd name="T15" fmla="*/ 21926 h 25428"/>
                <a:gd name="T16" fmla="*/ 17342 w 46525"/>
                <a:gd name="T17" fmla="*/ 18159 h 25428"/>
                <a:gd name="T18" fmla="*/ 10883 w 46525"/>
                <a:gd name="T19" fmla="*/ 14279 h 25428"/>
                <a:gd name="T20" fmla="*/ 8335 w 46525"/>
                <a:gd name="T21" fmla="*/ 15623 h 25428"/>
                <a:gd name="T22" fmla="*/ 7994 w 46525"/>
                <a:gd name="T23" fmla="*/ 17519 h 25428"/>
                <a:gd name="T24" fmla="*/ 8002 w 46525"/>
                <a:gd name="T25" fmla="*/ 23415 h 25428"/>
                <a:gd name="T26" fmla="*/ 7995 w 46525"/>
                <a:gd name="T27" fmla="*/ 23973 h 25428"/>
                <a:gd name="T28" fmla="*/ 6368 w 46525"/>
                <a:gd name="T29" fmla="*/ 25395 h 25428"/>
                <a:gd name="T30" fmla="*/ 5092 w 46525"/>
                <a:gd name="T31" fmla="*/ 25428 h 25428"/>
                <a:gd name="T32" fmla="*/ 2054 w 46525"/>
                <a:gd name="T33" fmla="*/ 24521 h 25428"/>
                <a:gd name="T34" fmla="*/ 2 w 46525"/>
                <a:gd name="T35" fmla="*/ 21261 h 25428"/>
                <a:gd name="T36" fmla="*/ 3 w 46525"/>
                <a:gd name="T37" fmla="*/ 19732 h 25428"/>
                <a:gd name="T38" fmla="*/ 1172 w 46525"/>
                <a:gd name="T39" fmla="*/ 0 h 25428"/>
                <a:gd name="T40" fmla="*/ 6138 w 46525"/>
                <a:gd name="T41" fmla="*/ 40 h 25428"/>
                <a:gd name="T42" fmla="*/ 10142 w 46525"/>
                <a:gd name="T43" fmla="*/ 1610 h 25428"/>
                <a:gd name="T44" fmla="*/ 11153 w 46525"/>
                <a:gd name="T45" fmla="*/ 2551 h 25428"/>
                <a:gd name="T46" fmla="*/ 15899 w 46525"/>
                <a:gd name="T47" fmla="*/ 7099 h 25428"/>
                <a:gd name="T48" fmla="*/ 17354 w 46525"/>
                <a:gd name="T49" fmla="*/ 8408 h 25428"/>
                <a:gd name="T50" fmla="*/ 31821 w 46525"/>
                <a:gd name="T51" fmla="*/ 10275 h 25428"/>
                <a:gd name="T52" fmla="*/ 31776 w 46525"/>
                <a:gd name="T53" fmla="*/ 10761 h 25428"/>
                <a:gd name="T54" fmla="*/ 20355 w 46525"/>
                <a:gd name="T55" fmla="*/ 11189 h 25428"/>
                <a:gd name="T56" fmla="*/ 15258 w 46525"/>
                <a:gd name="T57" fmla="*/ 7928 h 25428"/>
                <a:gd name="T58" fmla="*/ 11552 w 46525"/>
                <a:gd name="T59" fmla="*/ 4476 h 25428"/>
                <a:gd name="T60" fmla="*/ 9664 w 46525"/>
                <a:gd name="T61" fmla="*/ 2716 h 25428"/>
                <a:gd name="T62" fmla="*/ 5849 w 46525"/>
                <a:gd name="T63" fmla="*/ 1231 h 25428"/>
                <a:gd name="T64" fmla="*/ 1480 w 46525"/>
                <a:gd name="T65" fmla="*/ 1296 h 25428"/>
                <a:gd name="T66" fmla="*/ 1347 w 46525"/>
                <a:gd name="T67" fmla="*/ 1590 h 25428"/>
                <a:gd name="T68" fmla="*/ 1408 w 46525"/>
                <a:gd name="T69" fmla="*/ 21014 h 25428"/>
                <a:gd name="T70" fmla="*/ 3727 w 46525"/>
                <a:gd name="T71" fmla="*/ 23767 h 25428"/>
                <a:gd name="T72" fmla="*/ 5103 w 46525"/>
                <a:gd name="T73" fmla="*/ 23987 h 25428"/>
                <a:gd name="T74" fmla="*/ 6271 w 46525"/>
                <a:gd name="T75" fmla="*/ 23951 h 25428"/>
                <a:gd name="T76" fmla="*/ 6548 w 46525"/>
                <a:gd name="T77" fmla="*/ 23664 h 25428"/>
                <a:gd name="T78" fmla="*/ 6571 w 46525"/>
                <a:gd name="T79" fmla="*/ 16189 h 25428"/>
                <a:gd name="T80" fmla="*/ 10633 w 46525"/>
                <a:gd name="T81" fmla="*/ 12779 h 25428"/>
                <a:gd name="T82" fmla="*/ 15923 w 46525"/>
                <a:gd name="T83" fmla="*/ 14945 h 25428"/>
                <a:gd name="T84" fmla="*/ 19260 w 46525"/>
                <a:gd name="T85" fmla="*/ 17958 h 25428"/>
                <a:gd name="T86" fmla="*/ 25829 w 46525"/>
                <a:gd name="T87" fmla="*/ 22317 h 25428"/>
                <a:gd name="T88" fmla="*/ 31813 w 46525"/>
                <a:gd name="T89" fmla="*/ 18727 h 25428"/>
                <a:gd name="T90" fmla="*/ 35917 w 46525"/>
                <a:gd name="T91" fmla="*/ 15125 h 25428"/>
                <a:gd name="T92" fmla="*/ 43119 w 46525"/>
                <a:gd name="T93" fmla="*/ 13639 h 25428"/>
                <a:gd name="T94" fmla="*/ 44851 w 46525"/>
                <a:gd name="T95" fmla="*/ 20902 h 25428"/>
                <a:gd name="T96" fmla="*/ 45499 w 46525"/>
                <a:gd name="T97" fmla="*/ 22864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525" h="25428">
                  <a:moveTo>
                    <a:pt x="46508" y="23834"/>
                  </a:moveTo>
                  <a:cubicBezTo>
                    <a:pt x="46525" y="23872"/>
                    <a:pt x="46476" y="23875"/>
                    <a:pt x="46364" y="23837"/>
                  </a:cubicBez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784"/>
                    <a:pt x="93" y="1070"/>
                  </a:cubicBezTo>
                  <a:cubicBezTo>
                    <a:pt x="93" y="923"/>
                    <a:pt x="113" y="802"/>
                    <a:pt x="138" y="685"/>
                  </a:cubicBezTo>
                  <a:cubicBezTo>
                    <a:pt x="211" y="404"/>
                    <a:pt x="441" y="0"/>
                    <a:pt x="1172" y="0"/>
                  </a:cubicBezTo>
                  <a:cubicBezTo>
                    <a:pt x="1336" y="0"/>
                    <a:pt x="1526" y="1"/>
                    <a:pt x="1713" y="1"/>
                  </a:cubicBezTo>
                  <a:cubicBezTo>
                    <a:pt x="2509" y="5"/>
                    <a:pt x="3619" y="15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1921" y="1245"/>
                    <a:pt x="1688" y="1245"/>
                  </a:cubicBezTo>
                  <a:cubicBezTo>
                    <a:pt x="1615" y="1245"/>
                    <a:pt x="1559" y="1258"/>
                    <a:pt x="1510" y="1279"/>
                  </a:cubicBezTo>
                  <a:cubicBezTo>
                    <a:pt x="1498" y="1284"/>
                    <a:pt x="1490" y="1290"/>
                    <a:pt x="1480" y="1296"/>
                  </a:cubicBezTo>
                  <a:cubicBezTo>
                    <a:pt x="1453" y="1312"/>
                    <a:pt x="1430" y="1332"/>
                    <a:pt x="1411" y="1357"/>
                  </a:cubicBezTo>
                  <a:cubicBezTo>
                    <a:pt x="1399" y="1373"/>
                    <a:pt x="1389" y="1389"/>
                    <a:pt x="1382" y="1407"/>
                  </a:cubicBezTo>
                  <a:cubicBezTo>
                    <a:pt x="1375" y="1422"/>
                    <a:pt x="1369" y="1438"/>
                    <a:pt x="1364" y="1456"/>
                  </a:cubicBezTo>
                  <a:cubicBezTo>
                    <a:pt x="1352" y="1504"/>
                    <a:pt x="1347" y="1552"/>
                    <a:pt x="1347" y="1590"/>
                  </a:cubicBezTo>
                  <a:cubicBezTo>
                    <a:pt x="1347" y="1839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97F5A2A8-A19D-4B27-8146-9D8A181751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0 w 36820"/>
                <a:gd name="T29" fmla="*/ 1793 h 25129"/>
                <a:gd name="T30" fmla="*/ 3689 w 36820"/>
                <a:gd name="T31" fmla="*/ 982 h 25129"/>
                <a:gd name="T32" fmla="*/ 5782 w 36820"/>
                <a:gd name="T33" fmla="*/ 977 h 25129"/>
                <a:gd name="T34" fmla="*/ 9101 w 36820"/>
                <a:gd name="T35" fmla="*/ 2101 h 25129"/>
                <a:gd name="T36" fmla="*/ 13309 w 36820"/>
                <a:gd name="T37" fmla="*/ 5963 h 25129"/>
                <a:gd name="T38" fmla="*/ 15246 w 36820"/>
                <a:gd name="T39" fmla="*/ 7767 h 25129"/>
                <a:gd name="T40" fmla="*/ 16641 w 36820"/>
                <a:gd name="T41" fmla="*/ 8970 h 25129"/>
                <a:gd name="T42" fmla="*/ 24643 w 36820"/>
                <a:gd name="T43" fmla="*/ 11779 h 25129"/>
                <a:gd name="T44" fmla="*/ 27567 w 36820"/>
                <a:gd name="T45" fmla="*/ 11469 h 25129"/>
                <a:gd name="T46" fmla="*/ 22316 w 36820"/>
                <a:gd name="T47" fmla="*/ 10912 h 25129"/>
                <a:gd name="T48" fmla="*/ 16115 w 36820"/>
                <a:gd name="T49" fmla="*/ 7516 h 25129"/>
                <a:gd name="T50" fmla="*/ 14838 w 36820"/>
                <a:gd name="T51" fmla="*/ 6279 h 25129"/>
                <a:gd name="T52" fmla="*/ 10203 w 36820"/>
                <a:gd name="T53" fmla="*/ 1841 h 25129"/>
                <a:gd name="T54" fmla="*/ 6586 w 36820"/>
                <a:gd name="T55" fmla="*/ 101 h 25129"/>
                <a:gd name="T56" fmla="*/ 5685 w 36820"/>
                <a:gd name="T57" fmla="*/ 29 h 25129"/>
                <a:gd name="T58" fmla="*/ 1071 w 36820"/>
                <a:gd name="T59" fmla="*/ 0 h 25129"/>
                <a:gd name="T60" fmla="*/ 9 w 36820"/>
                <a:gd name="T61" fmla="*/ 14968 h 25129"/>
                <a:gd name="T62" fmla="*/ 2 w 36820"/>
                <a:gd name="T63" fmla="*/ 21079 h 25129"/>
                <a:gd name="T64" fmla="*/ 1566 w 36820"/>
                <a:gd name="T65" fmla="*/ 23950 h 25129"/>
                <a:gd name="T66" fmla="*/ 4502 w 36820"/>
                <a:gd name="T67" fmla="*/ 25118 h 25129"/>
                <a:gd name="T68" fmla="*/ 5500 w 36820"/>
                <a:gd name="T69" fmla="*/ 25123 h 25129"/>
                <a:gd name="T70" fmla="*/ 6180 w 36820"/>
                <a:gd name="T71" fmla="*/ 25096 h 25129"/>
                <a:gd name="T72" fmla="*/ 7622 w 36820"/>
                <a:gd name="T73" fmla="*/ 24285 h 25129"/>
                <a:gd name="T74" fmla="*/ 7674 w 36820"/>
                <a:gd name="T75" fmla="*/ 23387 h 25129"/>
                <a:gd name="T76" fmla="*/ 7658 w 36820"/>
                <a:gd name="T77" fmla="*/ 16629 h 25129"/>
                <a:gd name="T78" fmla="*/ 9720 w 36820"/>
                <a:gd name="T79" fmla="*/ 14049 h 25129"/>
                <a:gd name="T80" fmla="*/ 10716 w 36820"/>
                <a:gd name="T81" fmla="*/ 13953 h 25129"/>
                <a:gd name="T82" fmla="*/ 16254 w 36820"/>
                <a:gd name="T83" fmla="*/ 16889 h 25129"/>
                <a:gd name="T84" fmla="*/ 19370 w 36820"/>
                <a:gd name="T85" fmla="*/ 19687 h 25129"/>
                <a:gd name="T86" fmla="*/ 26024 w 36820"/>
                <a:gd name="T87" fmla="*/ 23232 h 25129"/>
                <a:gd name="T88" fmla="*/ 31256 w 36820"/>
                <a:gd name="T89" fmla="*/ 20132 h 25129"/>
                <a:gd name="T90" fmla="*/ 35607 w 36820"/>
                <a:gd name="T91" fmla="*/ 15888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4" y="10863"/>
                    <a:pt x="1065" y="3552"/>
                    <a:pt x="1060" y="1793"/>
                  </a:cubicBezTo>
                  <a:cubicBezTo>
                    <a:pt x="1059" y="1554"/>
                    <a:pt x="1067" y="1418"/>
                    <a:pt x="1067" y="1406"/>
                  </a:cubicBezTo>
                  <a:cubicBezTo>
                    <a:pt x="1067" y="1152"/>
                    <a:pt x="1084" y="988"/>
                    <a:pt x="1480" y="988"/>
                  </a:cubicBezTo>
                  <a:cubicBezTo>
                    <a:pt x="201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2153" y="7"/>
                    <a:pt x="1071" y="0"/>
                  </a:cubicBezTo>
                  <a:cubicBezTo>
                    <a:pt x="440" y="30"/>
                    <a:pt x="70" y="466"/>
                    <a:pt x="71" y="993"/>
                  </a:cubicBezTo>
                  <a:cubicBezTo>
                    <a:pt x="72" y="152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E9CEBCA-02C6-4CCB-85A2-15A838EEC7E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5296375" y="18191163"/>
              <a:ext cx="195448238" cy="98140837"/>
            </a:xfrm>
            <a:custGeom>
              <a:avLst/>
              <a:gdLst>
                <a:gd name="T0" fmla="*/ 49583 w 52117"/>
                <a:gd name="T1" fmla="*/ 737 h 26168"/>
                <a:gd name="T2" fmla="*/ 35822 w 52117"/>
                <a:gd name="T3" fmla="*/ 7517 h 26168"/>
                <a:gd name="T4" fmla="*/ 33730 w 52117"/>
                <a:gd name="T5" fmla="*/ 9149 h 26168"/>
                <a:gd name="T6" fmla="*/ 17258 w 52117"/>
                <a:gd name="T7" fmla="*/ 7854 h 26168"/>
                <a:gd name="T8" fmla="*/ 11345 w 52117"/>
                <a:gd name="T9" fmla="*/ 2224 h 26168"/>
                <a:gd name="T10" fmla="*/ 9326 w 52117"/>
                <a:gd name="T11" fmla="*/ 768 h 26168"/>
                <a:gd name="T12" fmla="*/ 1375 w 52117"/>
                <a:gd name="T13" fmla="*/ 0 h 26168"/>
                <a:gd name="T14" fmla="*/ 5 w 52117"/>
                <a:gd name="T15" fmla="*/ 19472 h 26168"/>
                <a:gd name="T16" fmla="*/ 5 w 52117"/>
                <a:gd name="T17" fmla="*/ 21740 h 26168"/>
                <a:gd name="T18" fmla="*/ 2995 w 52117"/>
                <a:gd name="T19" fmla="*/ 25633 h 26168"/>
                <a:gd name="T20" fmla="*/ 5449 w 52117"/>
                <a:gd name="T21" fmla="*/ 26168 h 26168"/>
                <a:gd name="T22" fmla="*/ 6688 w 52117"/>
                <a:gd name="T23" fmla="*/ 26141 h 26168"/>
                <a:gd name="T24" fmla="*/ 8720 w 52117"/>
                <a:gd name="T25" fmla="*/ 24416 h 26168"/>
                <a:gd name="T26" fmla="*/ 8736 w 52117"/>
                <a:gd name="T27" fmla="*/ 21563 h 26168"/>
                <a:gd name="T28" fmla="*/ 8741 w 52117"/>
                <a:gd name="T29" fmla="*/ 17270 h 26168"/>
                <a:gd name="T30" fmla="*/ 10456 w 52117"/>
                <a:gd name="T31" fmla="*/ 15112 h 26168"/>
                <a:gd name="T32" fmla="*/ 15098 w 52117"/>
                <a:gd name="T33" fmla="*/ 16805 h 26168"/>
                <a:gd name="T34" fmla="*/ 21041 w 52117"/>
                <a:gd name="T35" fmla="*/ 22112 h 26168"/>
                <a:gd name="T36" fmla="*/ 28486 w 52117"/>
                <a:gd name="T37" fmla="*/ 24005 h 26168"/>
                <a:gd name="T38" fmla="*/ 36202 w 52117"/>
                <a:gd name="T39" fmla="*/ 17676 h 26168"/>
                <a:gd name="T40" fmla="*/ 41491 w 52117"/>
                <a:gd name="T41" fmla="*/ 14928 h 26168"/>
                <a:gd name="T42" fmla="*/ 43802 w 52117"/>
                <a:gd name="T43" fmla="*/ 16791 h 26168"/>
                <a:gd name="T44" fmla="*/ 43869 w 52117"/>
                <a:gd name="T45" fmla="*/ 17719 h 26168"/>
                <a:gd name="T46" fmla="*/ 43910 w 52117"/>
                <a:gd name="T47" fmla="*/ 21574 h 26168"/>
                <a:gd name="T48" fmla="*/ 45077 w 52117"/>
                <a:gd name="T49" fmla="*/ 24167 h 26168"/>
                <a:gd name="T50" fmla="*/ 49081 w 52117"/>
                <a:gd name="T51" fmla="*/ 25882 h 26168"/>
                <a:gd name="T52" fmla="*/ 50914 w 52117"/>
                <a:gd name="T53" fmla="*/ 25770 h 26168"/>
                <a:gd name="T54" fmla="*/ 52046 w 52117"/>
                <a:gd name="T55" fmla="*/ 24904 h 26168"/>
                <a:gd name="T56" fmla="*/ 50669 w 52117"/>
                <a:gd name="T57" fmla="*/ 23321 h 26168"/>
                <a:gd name="T58" fmla="*/ 50634 w 52117"/>
                <a:gd name="T59" fmla="*/ 24234 h 26168"/>
                <a:gd name="T60" fmla="*/ 50132 w 52117"/>
                <a:gd name="T61" fmla="*/ 24338 h 26168"/>
                <a:gd name="T62" fmla="*/ 49062 w 52117"/>
                <a:gd name="T63" fmla="*/ 24349 h 26168"/>
                <a:gd name="T64" fmla="*/ 45648 w 52117"/>
                <a:gd name="T65" fmla="*/ 22048 h 26168"/>
                <a:gd name="T66" fmla="*/ 45578 w 52117"/>
                <a:gd name="T67" fmla="*/ 21214 h 26168"/>
                <a:gd name="T68" fmla="*/ 45603 w 52117"/>
                <a:gd name="T69" fmla="*/ 17236 h 26168"/>
                <a:gd name="T70" fmla="*/ 43192 w 52117"/>
                <a:gd name="T71" fmla="*/ 13496 h 26168"/>
                <a:gd name="T72" fmla="*/ 38820 w 52117"/>
                <a:gd name="T73" fmla="*/ 13635 h 26168"/>
                <a:gd name="T74" fmla="*/ 33083 w 52117"/>
                <a:gd name="T75" fmla="*/ 17952 h 26168"/>
                <a:gd name="T76" fmla="*/ 27369 w 52117"/>
                <a:gd name="T77" fmla="*/ 22286 h 26168"/>
                <a:gd name="T78" fmla="*/ 19412 w 52117"/>
                <a:gd name="T79" fmla="*/ 17873 h 26168"/>
                <a:gd name="T80" fmla="*/ 14267 w 52117"/>
                <a:gd name="T81" fmla="*/ 13745 h 26168"/>
                <a:gd name="T82" fmla="*/ 10663 w 52117"/>
                <a:gd name="T83" fmla="*/ 12928 h 26168"/>
                <a:gd name="T84" fmla="*/ 6626 w 52117"/>
                <a:gd name="T85" fmla="*/ 16744 h 26168"/>
                <a:gd name="T86" fmla="*/ 6586 w 52117"/>
                <a:gd name="T87" fmla="*/ 18257 h 26168"/>
                <a:gd name="T88" fmla="*/ 6568 w 52117"/>
                <a:gd name="T89" fmla="*/ 23938 h 26168"/>
                <a:gd name="T90" fmla="*/ 6529 w 52117"/>
                <a:gd name="T91" fmla="*/ 23981 h 26168"/>
                <a:gd name="T92" fmla="*/ 5838 w 52117"/>
                <a:gd name="T93" fmla="*/ 23999 h 26168"/>
                <a:gd name="T94" fmla="*/ 5033 w 52117"/>
                <a:gd name="T95" fmla="*/ 23985 h 26168"/>
                <a:gd name="T96" fmla="*/ 2175 w 52117"/>
                <a:gd name="T97" fmla="*/ 16149 h 26168"/>
                <a:gd name="T98" fmla="*/ 6032 w 52117"/>
                <a:gd name="T99" fmla="*/ 2106 h 26168"/>
                <a:gd name="T100" fmla="*/ 9691 w 52117"/>
                <a:gd name="T101" fmla="*/ 3488 h 26168"/>
                <a:gd name="T102" fmla="*/ 13560 w 52117"/>
                <a:gd name="T103" fmla="*/ 7102 h 26168"/>
                <a:gd name="T104" fmla="*/ 15301 w 52117"/>
                <a:gd name="T105" fmla="*/ 8723 h 26168"/>
                <a:gd name="T106" fmla="*/ 17946 w 52117"/>
                <a:gd name="T107" fmla="*/ 10792 h 26168"/>
                <a:gd name="T108" fmla="*/ 24225 w 52117"/>
                <a:gd name="T109" fmla="*/ 12916 h 26168"/>
                <a:gd name="T110" fmla="*/ 34787 w 52117"/>
                <a:gd name="T111" fmla="*/ 10330 h 26168"/>
                <a:gd name="T112" fmla="*/ 43890 w 52117"/>
                <a:gd name="T113" fmla="*/ 1677 h 26168"/>
                <a:gd name="T114" fmla="*/ 50331 w 52117"/>
                <a:gd name="T115" fmla="*/ 3278 h 26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117" h="26168">
                  <a:moveTo>
                    <a:pt x="52107" y="4115"/>
                  </a:moveTo>
                  <a:cubicBezTo>
                    <a:pt x="52091" y="3841"/>
                    <a:pt x="52040" y="3427"/>
                    <a:pt x="51838" y="2930"/>
                  </a:cubicBezTo>
                  <a:cubicBezTo>
                    <a:pt x="51638" y="2436"/>
                    <a:pt x="51278" y="1854"/>
                    <a:pt x="50670" y="1361"/>
                  </a:cubicBezTo>
                  <a:cubicBezTo>
                    <a:pt x="50367" y="1116"/>
                    <a:pt x="50002" y="896"/>
                    <a:pt x="49583" y="737"/>
                  </a:cubicBezTo>
                  <a:cubicBezTo>
                    <a:pt x="49164" y="577"/>
                    <a:pt x="48683" y="480"/>
                    <a:pt x="48187" y="476"/>
                  </a:cubicBezTo>
                  <a:cubicBezTo>
                    <a:pt x="47024" y="459"/>
                    <a:pt x="44252" y="418"/>
                    <a:pt x="43968" y="420"/>
                  </a:cubicBezTo>
                  <a:cubicBezTo>
                    <a:pt x="43684" y="422"/>
                    <a:pt x="43402" y="560"/>
                    <a:pt x="43268" y="682"/>
                  </a:cubicBezTo>
                  <a:cubicBezTo>
                    <a:pt x="43135" y="804"/>
                    <a:pt x="38532" y="5028"/>
                    <a:pt x="35822" y="7517"/>
                  </a:cubicBezTo>
                  <a:cubicBezTo>
                    <a:pt x="35737" y="7593"/>
                    <a:pt x="35654" y="7670"/>
                    <a:pt x="35569" y="7747"/>
                  </a:cubicBezTo>
                  <a:cubicBezTo>
                    <a:pt x="35490" y="7821"/>
                    <a:pt x="35409" y="7893"/>
                    <a:pt x="35326" y="7965"/>
                  </a:cubicBezTo>
                  <a:cubicBezTo>
                    <a:pt x="35162" y="8108"/>
                    <a:pt x="34993" y="8248"/>
                    <a:pt x="34819" y="8383"/>
                  </a:cubicBezTo>
                  <a:cubicBezTo>
                    <a:pt x="34473" y="8654"/>
                    <a:pt x="34111" y="8911"/>
                    <a:pt x="33730" y="9149"/>
                  </a:cubicBezTo>
                  <a:cubicBezTo>
                    <a:pt x="32972" y="9627"/>
                    <a:pt x="32150" y="10035"/>
                    <a:pt x="31278" y="10356"/>
                  </a:cubicBezTo>
                  <a:cubicBezTo>
                    <a:pt x="29536" y="11001"/>
                    <a:pt x="27598" y="11297"/>
                    <a:pt x="25618" y="11198"/>
                  </a:cubicBezTo>
                  <a:cubicBezTo>
                    <a:pt x="23642" y="11104"/>
                    <a:pt x="21634" y="10601"/>
                    <a:pt x="19812" y="9632"/>
                  </a:cubicBezTo>
                  <a:cubicBezTo>
                    <a:pt x="18902" y="9149"/>
                    <a:pt x="18040" y="8554"/>
                    <a:pt x="17258" y="7854"/>
                  </a:cubicBezTo>
                  <a:cubicBezTo>
                    <a:pt x="16451" y="7085"/>
                    <a:pt x="15636" y="6309"/>
                    <a:pt x="14813" y="5525"/>
                  </a:cubicBezTo>
                  <a:cubicBezTo>
                    <a:pt x="13983" y="4734"/>
                    <a:pt x="13145" y="3937"/>
                    <a:pt x="12299" y="3131"/>
                  </a:cubicBezTo>
                  <a:cubicBezTo>
                    <a:pt x="12088" y="2931"/>
                    <a:pt x="11876" y="2729"/>
                    <a:pt x="11664" y="2527"/>
                  </a:cubicBezTo>
                  <a:cubicBezTo>
                    <a:pt x="11345" y="2224"/>
                    <a:pt x="11345" y="2224"/>
                    <a:pt x="11345" y="2224"/>
                  </a:cubicBezTo>
                  <a:cubicBezTo>
                    <a:pt x="11185" y="2072"/>
                    <a:pt x="11185" y="2072"/>
                    <a:pt x="11185" y="2072"/>
                  </a:cubicBezTo>
                  <a:cubicBezTo>
                    <a:pt x="11099" y="1991"/>
                    <a:pt x="11099" y="1991"/>
                    <a:pt x="11099" y="1991"/>
                  </a:cubicBezTo>
                  <a:cubicBezTo>
                    <a:pt x="11006" y="1905"/>
                    <a:pt x="11006" y="1905"/>
                    <a:pt x="11006" y="1905"/>
                  </a:cubicBezTo>
                  <a:cubicBezTo>
                    <a:pt x="10504" y="1454"/>
                    <a:pt x="9939" y="1069"/>
                    <a:pt x="9326" y="768"/>
                  </a:cubicBezTo>
                  <a:cubicBezTo>
                    <a:pt x="8713" y="467"/>
                    <a:pt x="8055" y="251"/>
                    <a:pt x="7376" y="132"/>
                  </a:cubicBezTo>
                  <a:cubicBezTo>
                    <a:pt x="7036" y="73"/>
                    <a:pt x="6698" y="37"/>
                    <a:pt x="6345" y="26"/>
                  </a:cubicBezTo>
                  <a:cubicBezTo>
                    <a:pt x="6040" y="23"/>
                    <a:pt x="5735" y="21"/>
                    <a:pt x="5430" y="18"/>
                  </a:cubicBezTo>
                  <a:cubicBezTo>
                    <a:pt x="4086" y="12"/>
                    <a:pt x="2155" y="0"/>
                    <a:pt x="1375" y="0"/>
                  </a:cubicBezTo>
                  <a:cubicBezTo>
                    <a:pt x="595" y="0"/>
                    <a:pt x="78" y="373"/>
                    <a:pt x="78" y="1289"/>
                  </a:cubicBezTo>
                  <a:cubicBezTo>
                    <a:pt x="78" y="2417"/>
                    <a:pt x="69" y="3264"/>
                    <a:pt x="65" y="4257"/>
                  </a:cubicBezTo>
                  <a:cubicBezTo>
                    <a:pt x="52" y="7480"/>
                    <a:pt x="34" y="11821"/>
                    <a:pt x="17" y="16197"/>
                  </a:cubicBezTo>
                  <a:cubicBezTo>
                    <a:pt x="13" y="17294"/>
                    <a:pt x="9" y="18390"/>
                    <a:pt x="5" y="19472"/>
                  </a:cubicBezTo>
                  <a:cubicBezTo>
                    <a:pt x="4" y="20013"/>
                    <a:pt x="2" y="20550"/>
                    <a:pt x="0" y="21082"/>
                  </a:cubicBezTo>
                  <a:cubicBezTo>
                    <a:pt x="0" y="21215"/>
                    <a:pt x="0" y="21349"/>
                    <a:pt x="0" y="21480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0" y="21646"/>
                    <a:pt x="3" y="21693"/>
                    <a:pt x="5" y="21740"/>
                  </a:cubicBezTo>
                  <a:cubicBezTo>
                    <a:pt x="10" y="21836"/>
                    <a:pt x="20" y="21928"/>
                    <a:pt x="32" y="22021"/>
                  </a:cubicBezTo>
                  <a:cubicBezTo>
                    <a:pt x="80" y="22391"/>
                    <a:pt x="187" y="22743"/>
                    <a:pt x="330" y="23065"/>
                  </a:cubicBezTo>
                  <a:cubicBezTo>
                    <a:pt x="618" y="23711"/>
                    <a:pt x="1040" y="24230"/>
                    <a:pt x="1499" y="24647"/>
                  </a:cubicBezTo>
                  <a:cubicBezTo>
                    <a:pt x="1961" y="25065"/>
                    <a:pt x="2468" y="25388"/>
                    <a:pt x="2995" y="25633"/>
                  </a:cubicBezTo>
                  <a:cubicBezTo>
                    <a:pt x="3523" y="25876"/>
                    <a:pt x="4074" y="26042"/>
                    <a:pt x="4638" y="26120"/>
                  </a:cubicBezTo>
                  <a:cubicBezTo>
                    <a:pt x="4779" y="26140"/>
                    <a:pt x="4922" y="26154"/>
                    <a:pt x="5064" y="26161"/>
                  </a:cubicBezTo>
                  <a:cubicBezTo>
                    <a:pt x="5136" y="26163"/>
                    <a:pt x="5207" y="26167"/>
                    <a:pt x="5279" y="26167"/>
                  </a:cubicBezTo>
                  <a:cubicBezTo>
                    <a:pt x="5336" y="26167"/>
                    <a:pt x="5393" y="26167"/>
                    <a:pt x="5449" y="26168"/>
                  </a:cubicBezTo>
                  <a:cubicBezTo>
                    <a:pt x="5672" y="26168"/>
                    <a:pt x="5896" y="26167"/>
                    <a:pt x="6118" y="26163"/>
                  </a:cubicBezTo>
                  <a:cubicBezTo>
                    <a:pt x="6101" y="26163"/>
                    <a:pt x="6139" y="26163"/>
                    <a:pt x="6230" y="26159"/>
                  </a:cubicBezTo>
                  <a:cubicBezTo>
                    <a:pt x="6276" y="26158"/>
                    <a:pt x="6335" y="26156"/>
                    <a:pt x="6407" y="26154"/>
                  </a:cubicBezTo>
                  <a:cubicBezTo>
                    <a:pt x="6487" y="26150"/>
                    <a:pt x="6580" y="26147"/>
                    <a:pt x="6688" y="26141"/>
                  </a:cubicBezTo>
                  <a:cubicBezTo>
                    <a:pt x="6868" y="26129"/>
                    <a:pt x="7073" y="26114"/>
                    <a:pt x="7294" y="26080"/>
                  </a:cubicBezTo>
                  <a:cubicBezTo>
                    <a:pt x="7514" y="26046"/>
                    <a:pt x="7750" y="25990"/>
                    <a:pt x="7958" y="25869"/>
                  </a:cubicBezTo>
                  <a:cubicBezTo>
                    <a:pt x="8162" y="25756"/>
                    <a:pt x="8375" y="25563"/>
                    <a:pt x="8513" y="25317"/>
                  </a:cubicBezTo>
                  <a:cubicBezTo>
                    <a:pt x="8650" y="25074"/>
                    <a:pt x="8735" y="24782"/>
                    <a:pt x="8720" y="24416"/>
                  </a:cubicBezTo>
                  <a:cubicBezTo>
                    <a:pt x="8724" y="24248"/>
                    <a:pt x="8728" y="24079"/>
                    <a:pt x="8732" y="23904"/>
                  </a:cubicBezTo>
                  <a:cubicBezTo>
                    <a:pt x="8732" y="23808"/>
                    <a:pt x="8732" y="23711"/>
                    <a:pt x="8733" y="23612"/>
                  </a:cubicBezTo>
                  <a:cubicBezTo>
                    <a:pt x="8733" y="23413"/>
                    <a:pt x="8733" y="23202"/>
                    <a:pt x="8733" y="22986"/>
                  </a:cubicBezTo>
                  <a:cubicBezTo>
                    <a:pt x="8734" y="22548"/>
                    <a:pt x="8735" y="22074"/>
                    <a:pt x="8736" y="21563"/>
                  </a:cubicBezTo>
                  <a:cubicBezTo>
                    <a:pt x="8737" y="20545"/>
                    <a:pt x="8738" y="19384"/>
                    <a:pt x="8740" y="18107"/>
                  </a:cubicBezTo>
                  <a:cubicBezTo>
                    <a:pt x="8740" y="17948"/>
                    <a:pt x="8740" y="17788"/>
                    <a:pt x="8740" y="17624"/>
                  </a:cubicBezTo>
                  <a:cubicBezTo>
                    <a:pt x="8740" y="17543"/>
                    <a:pt x="8740" y="17460"/>
                    <a:pt x="8740" y="17378"/>
                  </a:cubicBezTo>
                  <a:cubicBezTo>
                    <a:pt x="8741" y="17270"/>
                    <a:pt x="8741" y="17270"/>
                    <a:pt x="8741" y="17270"/>
                  </a:cubicBezTo>
                  <a:cubicBezTo>
                    <a:pt x="8741" y="17243"/>
                    <a:pt x="8743" y="17214"/>
                    <a:pt x="8744" y="17187"/>
                  </a:cubicBezTo>
                  <a:cubicBezTo>
                    <a:pt x="8755" y="16964"/>
                    <a:pt x="8800" y="16740"/>
                    <a:pt x="8882" y="16522"/>
                  </a:cubicBezTo>
                  <a:cubicBezTo>
                    <a:pt x="9042" y="16087"/>
                    <a:pt x="9355" y="15680"/>
                    <a:pt x="9773" y="15408"/>
                  </a:cubicBezTo>
                  <a:cubicBezTo>
                    <a:pt x="9980" y="15273"/>
                    <a:pt x="10212" y="15170"/>
                    <a:pt x="10456" y="15112"/>
                  </a:cubicBezTo>
                  <a:cubicBezTo>
                    <a:pt x="10578" y="15083"/>
                    <a:pt x="10703" y="15063"/>
                    <a:pt x="10829" y="15056"/>
                  </a:cubicBezTo>
                  <a:cubicBezTo>
                    <a:pt x="10942" y="15051"/>
                    <a:pt x="11122" y="15054"/>
                    <a:pt x="11276" y="15063"/>
                  </a:cubicBezTo>
                  <a:cubicBezTo>
                    <a:pt x="11911" y="15107"/>
                    <a:pt x="12556" y="15283"/>
                    <a:pt x="13197" y="15584"/>
                  </a:cubicBezTo>
                  <a:cubicBezTo>
                    <a:pt x="13839" y="15886"/>
                    <a:pt x="14472" y="16307"/>
                    <a:pt x="15098" y="16805"/>
                  </a:cubicBezTo>
                  <a:cubicBezTo>
                    <a:pt x="15724" y="17299"/>
                    <a:pt x="16340" y="17869"/>
                    <a:pt x="16981" y="18468"/>
                  </a:cubicBezTo>
                  <a:cubicBezTo>
                    <a:pt x="17301" y="18769"/>
                    <a:pt x="17628" y="19075"/>
                    <a:pt x="17971" y="19385"/>
                  </a:cubicBezTo>
                  <a:cubicBezTo>
                    <a:pt x="18303" y="19681"/>
                    <a:pt x="18637" y="19978"/>
                    <a:pt x="18973" y="20280"/>
                  </a:cubicBezTo>
                  <a:cubicBezTo>
                    <a:pt x="19637" y="20878"/>
                    <a:pt x="20310" y="21500"/>
                    <a:pt x="21041" y="22112"/>
                  </a:cubicBezTo>
                  <a:cubicBezTo>
                    <a:pt x="21778" y="22725"/>
                    <a:pt x="22570" y="23339"/>
                    <a:pt x="23533" y="23824"/>
                  </a:cubicBezTo>
                  <a:cubicBezTo>
                    <a:pt x="24015" y="24064"/>
                    <a:pt x="24542" y="24264"/>
                    <a:pt x="25108" y="24382"/>
                  </a:cubicBezTo>
                  <a:cubicBezTo>
                    <a:pt x="25671" y="24499"/>
                    <a:pt x="26269" y="24528"/>
                    <a:pt x="26848" y="24457"/>
                  </a:cubicBezTo>
                  <a:cubicBezTo>
                    <a:pt x="27427" y="24387"/>
                    <a:pt x="27981" y="24221"/>
                    <a:pt x="28486" y="24005"/>
                  </a:cubicBezTo>
                  <a:cubicBezTo>
                    <a:pt x="28992" y="23787"/>
                    <a:pt x="29451" y="23520"/>
                    <a:pt x="29878" y="23237"/>
                  </a:cubicBezTo>
                  <a:cubicBezTo>
                    <a:pt x="30730" y="22663"/>
                    <a:pt x="31464" y="22025"/>
                    <a:pt x="32166" y="21397"/>
                  </a:cubicBezTo>
                  <a:cubicBezTo>
                    <a:pt x="32866" y="20766"/>
                    <a:pt x="33533" y="20139"/>
                    <a:pt x="34204" y="19542"/>
                  </a:cubicBezTo>
                  <a:cubicBezTo>
                    <a:pt x="34915" y="18906"/>
                    <a:pt x="35557" y="18267"/>
                    <a:pt x="36202" y="17676"/>
                  </a:cubicBezTo>
                  <a:cubicBezTo>
                    <a:pt x="36845" y="17086"/>
                    <a:pt x="37487" y="16544"/>
                    <a:pt x="38150" y="16096"/>
                  </a:cubicBezTo>
                  <a:cubicBezTo>
                    <a:pt x="38813" y="15649"/>
                    <a:pt x="39496" y="15305"/>
                    <a:pt x="40189" y="15114"/>
                  </a:cubicBezTo>
                  <a:cubicBezTo>
                    <a:pt x="40535" y="15018"/>
                    <a:pt x="40883" y="14959"/>
                    <a:pt x="41231" y="14937"/>
                  </a:cubicBezTo>
                  <a:cubicBezTo>
                    <a:pt x="41318" y="14932"/>
                    <a:pt x="41406" y="14928"/>
                    <a:pt x="41491" y="14928"/>
                  </a:cubicBezTo>
                  <a:cubicBezTo>
                    <a:pt x="41564" y="14928"/>
                    <a:pt x="41637" y="14930"/>
                    <a:pt x="41709" y="14937"/>
                  </a:cubicBezTo>
                  <a:cubicBezTo>
                    <a:pt x="41852" y="14950"/>
                    <a:pt x="41994" y="14975"/>
                    <a:pt x="42131" y="15015"/>
                  </a:cubicBezTo>
                  <a:cubicBezTo>
                    <a:pt x="42684" y="15172"/>
                    <a:pt x="43172" y="15548"/>
                    <a:pt x="43477" y="16024"/>
                  </a:cubicBezTo>
                  <a:cubicBezTo>
                    <a:pt x="43631" y="16262"/>
                    <a:pt x="43741" y="16524"/>
                    <a:pt x="43802" y="16791"/>
                  </a:cubicBezTo>
                  <a:cubicBezTo>
                    <a:pt x="43833" y="16924"/>
                    <a:pt x="43853" y="17061"/>
                    <a:pt x="43861" y="17196"/>
                  </a:cubicBezTo>
                  <a:cubicBezTo>
                    <a:pt x="43863" y="17234"/>
                    <a:pt x="43863" y="17258"/>
                    <a:pt x="43864" y="17297"/>
                  </a:cubicBezTo>
                  <a:cubicBezTo>
                    <a:pt x="43865" y="17438"/>
                    <a:pt x="43865" y="17438"/>
                    <a:pt x="43865" y="17438"/>
                  </a:cubicBezTo>
                  <a:cubicBezTo>
                    <a:pt x="43866" y="17532"/>
                    <a:pt x="43867" y="17626"/>
                    <a:pt x="43869" y="17719"/>
                  </a:cubicBezTo>
                  <a:cubicBezTo>
                    <a:pt x="43876" y="18468"/>
                    <a:pt x="43883" y="19192"/>
                    <a:pt x="43890" y="19897"/>
                  </a:cubicBezTo>
                  <a:cubicBezTo>
                    <a:pt x="43894" y="20247"/>
                    <a:pt x="43898" y="20593"/>
                    <a:pt x="43901" y="20934"/>
                  </a:cubicBezTo>
                  <a:cubicBezTo>
                    <a:pt x="43905" y="21104"/>
                    <a:pt x="43907" y="21271"/>
                    <a:pt x="43908" y="21437"/>
                  </a:cubicBezTo>
                  <a:cubicBezTo>
                    <a:pt x="43910" y="21574"/>
                    <a:pt x="43910" y="21574"/>
                    <a:pt x="43910" y="21574"/>
                  </a:cubicBezTo>
                  <a:cubicBezTo>
                    <a:pt x="43910" y="21630"/>
                    <a:pt x="43913" y="21686"/>
                    <a:pt x="43917" y="21744"/>
                  </a:cubicBezTo>
                  <a:cubicBezTo>
                    <a:pt x="43926" y="21855"/>
                    <a:pt x="43939" y="21967"/>
                    <a:pt x="43958" y="22075"/>
                  </a:cubicBezTo>
                  <a:cubicBezTo>
                    <a:pt x="44033" y="22514"/>
                    <a:pt x="44192" y="22912"/>
                    <a:pt x="44390" y="23260"/>
                  </a:cubicBezTo>
                  <a:cubicBezTo>
                    <a:pt x="44588" y="23608"/>
                    <a:pt x="44824" y="23907"/>
                    <a:pt x="45077" y="24167"/>
                  </a:cubicBezTo>
                  <a:cubicBezTo>
                    <a:pt x="45584" y="24686"/>
                    <a:pt x="46146" y="25056"/>
                    <a:pt x="46712" y="25326"/>
                  </a:cubicBezTo>
                  <a:cubicBezTo>
                    <a:pt x="47278" y="25595"/>
                    <a:pt x="47852" y="25763"/>
                    <a:pt x="48413" y="25839"/>
                  </a:cubicBezTo>
                  <a:cubicBezTo>
                    <a:pt x="48562" y="25858"/>
                    <a:pt x="48710" y="25871"/>
                    <a:pt x="48858" y="25878"/>
                  </a:cubicBezTo>
                  <a:cubicBezTo>
                    <a:pt x="48933" y="25880"/>
                    <a:pt x="49007" y="25882"/>
                    <a:pt x="49081" y="25882"/>
                  </a:cubicBezTo>
                  <a:cubicBezTo>
                    <a:pt x="49145" y="25880"/>
                    <a:pt x="49208" y="25880"/>
                    <a:pt x="49272" y="25878"/>
                  </a:cubicBezTo>
                  <a:cubicBezTo>
                    <a:pt x="49518" y="25873"/>
                    <a:pt x="49758" y="25864"/>
                    <a:pt x="49996" y="25851"/>
                  </a:cubicBezTo>
                  <a:cubicBezTo>
                    <a:pt x="50116" y="25846"/>
                    <a:pt x="50234" y="25837"/>
                    <a:pt x="50353" y="25828"/>
                  </a:cubicBezTo>
                  <a:cubicBezTo>
                    <a:pt x="50540" y="25815"/>
                    <a:pt x="50733" y="25797"/>
                    <a:pt x="50914" y="25770"/>
                  </a:cubicBezTo>
                  <a:cubicBezTo>
                    <a:pt x="51096" y="25741"/>
                    <a:pt x="51270" y="25700"/>
                    <a:pt x="51422" y="25631"/>
                  </a:cubicBezTo>
                  <a:cubicBezTo>
                    <a:pt x="51498" y="25597"/>
                    <a:pt x="51568" y="25557"/>
                    <a:pt x="51635" y="25510"/>
                  </a:cubicBezTo>
                  <a:cubicBezTo>
                    <a:pt x="51702" y="25460"/>
                    <a:pt x="51764" y="25402"/>
                    <a:pt x="51819" y="25339"/>
                  </a:cubicBezTo>
                  <a:cubicBezTo>
                    <a:pt x="51929" y="25209"/>
                    <a:pt x="52001" y="25060"/>
                    <a:pt x="52046" y="24904"/>
                  </a:cubicBezTo>
                  <a:cubicBezTo>
                    <a:pt x="52067" y="24827"/>
                    <a:pt x="52084" y="24746"/>
                    <a:pt x="52094" y="24663"/>
                  </a:cubicBezTo>
                  <a:cubicBezTo>
                    <a:pt x="52107" y="24580"/>
                    <a:pt x="52102" y="24488"/>
                    <a:pt x="52103" y="24401"/>
                  </a:cubicBezTo>
                  <a:cubicBezTo>
                    <a:pt x="52105" y="24234"/>
                    <a:pt x="52117" y="4327"/>
                    <a:pt x="52107" y="4115"/>
                  </a:cubicBezTo>
                  <a:close/>
                  <a:moveTo>
                    <a:pt x="50669" y="23321"/>
                  </a:moveTo>
                  <a:cubicBezTo>
                    <a:pt x="50668" y="23480"/>
                    <a:pt x="50666" y="23637"/>
                    <a:pt x="50665" y="23797"/>
                  </a:cubicBezTo>
                  <a:cubicBezTo>
                    <a:pt x="50663" y="23970"/>
                    <a:pt x="50663" y="23970"/>
                    <a:pt x="50663" y="23970"/>
                  </a:cubicBezTo>
                  <a:cubicBezTo>
                    <a:pt x="50661" y="24059"/>
                    <a:pt x="50661" y="24059"/>
                    <a:pt x="50661" y="24059"/>
                  </a:cubicBezTo>
                  <a:cubicBezTo>
                    <a:pt x="50659" y="24118"/>
                    <a:pt x="50661" y="24180"/>
                    <a:pt x="50634" y="24234"/>
                  </a:cubicBezTo>
                  <a:cubicBezTo>
                    <a:pt x="50620" y="24259"/>
                    <a:pt x="50598" y="24281"/>
                    <a:pt x="50571" y="24293"/>
                  </a:cubicBezTo>
                  <a:cubicBezTo>
                    <a:pt x="50544" y="24306"/>
                    <a:pt x="50513" y="24311"/>
                    <a:pt x="50484" y="24315"/>
                  </a:cubicBezTo>
                  <a:cubicBezTo>
                    <a:pt x="50425" y="24324"/>
                    <a:pt x="50365" y="24327"/>
                    <a:pt x="50306" y="24329"/>
                  </a:cubicBezTo>
                  <a:cubicBezTo>
                    <a:pt x="50132" y="24338"/>
                    <a:pt x="50132" y="24338"/>
                    <a:pt x="50132" y="24338"/>
                  </a:cubicBezTo>
                  <a:cubicBezTo>
                    <a:pt x="49896" y="24346"/>
                    <a:pt x="49896" y="24346"/>
                    <a:pt x="49896" y="24346"/>
                  </a:cubicBezTo>
                  <a:cubicBezTo>
                    <a:pt x="49737" y="24349"/>
                    <a:pt x="49577" y="24351"/>
                    <a:pt x="49415" y="24351"/>
                  </a:cubicBezTo>
                  <a:cubicBezTo>
                    <a:pt x="49173" y="24351"/>
                    <a:pt x="49173" y="24351"/>
                    <a:pt x="49173" y="24351"/>
                  </a:cubicBezTo>
                  <a:cubicBezTo>
                    <a:pt x="49062" y="24349"/>
                    <a:pt x="49062" y="24349"/>
                    <a:pt x="49062" y="24349"/>
                  </a:cubicBezTo>
                  <a:cubicBezTo>
                    <a:pt x="49029" y="24349"/>
                    <a:pt x="48995" y="24346"/>
                    <a:pt x="48961" y="24344"/>
                  </a:cubicBezTo>
                  <a:cubicBezTo>
                    <a:pt x="48419" y="24311"/>
                    <a:pt x="47848" y="24138"/>
                    <a:pt x="47329" y="23862"/>
                  </a:cubicBezTo>
                  <a:cubicBezTo>
                    <a:pt x="46810" y="23588"/>
                    <a:pt x="46335" y="23206"/>
                    <a:pt x="46009" y="22755"/>
                  </a:cubicBezTo>
                  <a:cubicBezTo>
                    <a:pt x="45845" y="22532"/>
                    <a:pt x="45721" y="22290"/>
                    <a:pt x="45648" y="22048"/>
                  </a:cubicBezTo>
                  <a:cubicBezTo>
                    <a:pt x="45613" y="21926"/>
                    <a:pt x="45591" y="21803"/>
                    <a:pt x="45582" y="21681"/>
                  </a:cubicBezTo>
                  <a:cubicBezTo>
                    <a:pt x="45578" y="21650"/>
                    <a:pt x="45578" y="21619"/>
                    <a:pt x="45576" y="21589"/>
                  </a:cubicBezTo>
                  <a:cubicBezTo>
                    <a:pt x="45576" y="21480"/>
                    <a:pt x="45576" y="21480"/>
                    <a:pt x="45576" y="21480"/>
                  </a:cubicBezTo>
                  <a:cubicBezTo>
                    <a:pt x="45578" y="21214"/>
                    <a:pt x="45578" y="21214"/>
                    <a:pt x="45578" y="21214"/>
                  </a:cubicBezTo>
                  <a:cubicBezTo>
                    <a:pt x="45582" y="20498"/>
                    <a:pt x="45587" y="19773"/>
                    <a:pt x="45593" y="19043"/>
                  </a:cubicBezTo>
                  <a:cubicBezTo>
                    <a:pt x="45594" y="18678"/>
                    <a:pt x="45597" y="18311"/>
                    <a:pt x="45600" y="17941"/>
                  </a:cubicBezTo>
                  <a:cubicBezTo>
                    <a:pt x="45601" y="17757"/>
                    <a:pt x="45602" y="17571"/>
                    <a:pt x="45603" y="17386"/>
                  </a:cubicBezTo>
                  <a:cubicBezTo>
                    <a:pt x="45603" y="17236"/>
                    <a:pt x="45603" y="17236"/>
                    <a:pt x="45603" y="17236"/>
                  </a:cubicBezTo>
                  <a:cubicBezTo>
                    <a:pt x="45603" y="17177"/>
                    <a:pt x="45600" y="17119"/>
                    <a:pt x="45598" y="17061"/>
                  </a:cubicBezTo>
                  <a:cubicBezTo>
                    <a:pt x="45592" y="16946"/>
                    <a:pt x="45580" y="16832"/>
                    <a:pt x="45565" y="16719"/>
                  </a:cubicBezTo>
                  <a:cubicBezTo>
                    <a:pt x="45441" y="15801"/>
                    <a:pt x="44998" y="14926"/>
                    <a:pt x="44320" y="14275"/>
                  </a:cubicBezTo>
                  <a:cubicBezTo>
                    <a:pt x="44006" y="13971"/>
                    <a:pt x="43627" y="13700"/>
                    <a:pt x="43192" y="13496"/>
                  </a:cubicBezTo>
                  <a:cubicBezTo>
                    <a:pt x="42756" y="13293"/>
                    <a:pt x="42264" y="13156"/>
                    <a:pt x="41746" y="13121"/>
                  </a:cubicBezTo>
                  <a:cubicBezTo>
                    <a:pt x="41476" y="13105"/>
                    <a:pt x="41250" y="13112"/>
                    <a:pt x="41005" y="13127"/>
                  </a:cubicBezTo>
                  <a:cubicBezTo>
                    <a:pt x="40762" y="13143"/>
                    <a:pt x="40518" y="13172"/>
                    <a:pt x="40273" y="13217"/>
                  </a:cubicBezTo>
                  <a:cubicBezTo>
                    <a:pt x="39783" y="13302"/>
                    <a:pt x="39294" y="13446"/>
                    <a:pt x="38820" y="13635"/>
                  </a:cubicBezTo>
                  <a:cubicBezTo>
                    <a:pt x="37870" y="14016"/>
                    <a:pt x="36994" y="14578"/>
                    <a:pt x="36186" y="15204"/>
                  </a:cubicBezTo>
                  <a:cubicBezTo>
                    <a:pt x="35377" y="15833"/>
                    <a:pt x="34631" y="16529"/>
                    <a:pt x="33901" y="17207"/>
                  </a:cubicBezTo>
                  <a:cubicBezTo>
                    <a:pt x="33719" y="17373"/>
                    <a:pt x="33537" y="17541"/>
                    <a:pt x="33355" y="17708"/>
                  </a:cubicBezTo>
                  <a:cubicBezTo>
                    <a:pt x="33083" y="17952"/>
                    <a:pt x="33083" y="17952"/>
                    <a:pt x="33083" y="17952"/>
                  </a:cubicBezTo>
                  <a:cubicBezTo>
                    <a:pt x="32806" y="18195"/>
                    <a:pt x="32806" y="18195"/>
                    <a:pt x="32806" y="18195"/>
                  </a:cubicBezTo>
                  <a:cubicBezTo>
                    <a:pt x="32425" y="18531"/>
                    <a:pt x="32051" y="18868"/>
                    <a:pt x="31681" y="19200"/>
                  </a:cubicBezTo>
                  <a:cubicBezTo>
                    <a:pt x="30943" y="19861"/>
                    <a:pt x="30223" y="20509"/>
                    <a:pt x="29505" y="21060"/>
                  </a:cubicBezTo>
                  <a:cubicBezTo>
                    <a:pt x="28788" y="21610"/>
                    <a:pt x="28065" y="22057"/>
                    <a:pt x="27369" y="22286"/>
                  </a:cubicBezTo>
                  <a:cubicBezTo>
                    <a:pt x="26674" y="22519"/>
                    <a:pt x="26011" y="22524"/>
                    <a:pt x="25398" y="22368"/>
                  </a:cubicBezTo>
                  <a:cubicBezTo>
                    <a:pt x="24487" y="22137"/>
                    <a:pt x="23581" y="21531"/>
                    <a:pt x="22709" y="20821"/>
                  </a:cubicBezTo>
                  <a:cubicBezTo>
                    <a:pt x="21834" y="20107"/>
                    <a:pt x="20977" y="19286"/>
                    <a:pt x="20080" y="18475"/>
                  </a:cubicBezTo>
                  <a:cubicBezTo>
                    <a:pt x="19858" y="18275"/>
                    <a:pt x="19635" y="18073"/>
                    <a:pt x="19412" y="17873"/>
                  </a:cubicBezTo>
                  <a:cubicBezTo>
                    <a:pt x="19197" y="17678"/>
                    <a:pt x="18983" y="17476"/>
                    <a:pt x="18766" y="17272"/>
                  </a:cubicBezTo>
                  <a:cubicBezTo>
                    <a:pt x="18332" y="16861"/>
                    <a:pt x="17891" y="16439"/>
                    <a:pt x="17428" y="16023"/>
                  </a:cubicBezTo>
                  <a:cubicBezTo>
                    <a:pt x="16965" y="15604"/>
                    <a:pt x="16481" y="15191"/>
                    <a:pt x="15959" y="14804"/>
                  </a:cubicBezTo>
                  <a:cubicBezTo>
                    <a:pt x="15438" y="14416"/>
                    <a:pt x="14878" y="14052"/>
                    <a:pt x="14267" y="13745"/>
                  </a:cubicBezTo>
                  <a:cubicBezTo>
                    <a:pt x="13657" y="13441"/>
                    <a:pt x="12993" y="13195"/>
                    <a:pt x="12295" y="13055"/>
                  </a:cubicBezTo>
                  <a:cubicBezTo>
                    <a:pt x="11946" y="12984"/>
                    <a:pt x="11589" y="12941"/>
                    <a:pt x="11231" y="12925"/>
                  </a:cubicBezTo>
                  <a:cubicBezTo>
                    <a:pt x="11142" y="12921"/>
                    <a:pt x="11052" y="12919"/>
                    <a:pt x="10963" y="12919"/>
                  </a:cubicBezTo>
                  <a:cubicBezTo>
                    <a:pt x="10865" y="12919"/>
                    <a:pt x="10763" y="12921"/>
                    <a:pt x="10663" y="12928"/>
                  </a:cubicBezTo>
                  <a:cubicBezTo>
                    <a:pt x="10462" y="12941"/>
                    <a:pt x="10262" y="12968"/>
                    <a:pt x="10065" y="13010"/>
                  </a:cubicBezTo>
                  <a:cubicBezTo>
                    <a:pt x="9275" y="13174"/>
                    <a:pt x="8542" y="13569"/>
                    <a:pt x="7966" y="14119"/>
                  </a:cubicBezTo>
                  <a:cubicBezTo>
                    <a:pt x="7387" y="14667"/>
                    <a:pt x="6959" y="15375"/>
                    <a:pt x="6746" y="16152"/>
                  </a:cubicBezTo>
                  <a:cubicBezTo>
                    <a:pt x="6692" y="16345"/>
                    <a:pt x="6652" y="16544"/>
                    <a:pt x="6626" y="16744"/>
                  </a:cubicBezTo>
                  <a:cubicBezTo>
                    <a:pt x="6614" y="16843"/>
                    <a:pt x="6603" y="16942"/>
                    <a:pt x="6597" y="17043"/>
                  </a:cubicBezTo>
                  <a:cubicBezTo>
                    <a:pt x="6593" y="17094"/>
                    <a:pt x="6593" y="17144"/>
                    <a:pt x="6591" y="17195"/>
                  </a:cubicBezTo>
                  <a:cubicBezTo>
                    <a:pt x="6589" y="17335"/>
                    <a:pt x="6589" y="17335"/>
                    <a:pt x="6589" y="17335"/>
                  </a:cubicBezTo>
                  <a:cubicBezTo>
                    <a:pt x="6586" y="18257"/>
                    <a:pt x="6586" y="18257"/>
                    <a:pt x="6586" y="18257"/>
                  </a:cubicBezTo>
                  <a:cubicBezTo>
                    <a:pt x="6584" y="18871"/>
                    <a:pt x="6582" y="19486"/>
                    <a:pt x="6579" y="20101"/>
                  </a:cubicBezTo>
                  <a:cubicBezTo>
                    <a:pt x="6576" y="21331"/>
                    <a:pt x="6572" y="22562"/>
                    <a:pt x="6569" y="23796"/>
                  </a:cubicBezTo>
                  <a:cubicBezTo>
                    <a:pt x="6568" y="23909"/>
                    <a:pt x="6568" y="23909"/>
                    <a:pt x="6568" y="23909"/>
                  </a:cubicBezTo>
                  <a:cubicBezTo>
                    <a:pt x="6568" y="23938"/>
                    <a:pt x="6568" y="23938"/>
                    <a:pt x="6568" y="23938"/>
                  </a:cubicBezTo>
                  <a:cubicBezTo>
                    <a:pt x="6568" y="23940"/>
                    <a:pt x="6568" y="23940"/>
                    <a:pt x="6568" y="23940"/>
                  </a:cubicBezTo>
                  <a:cubicBezTo>
                    <a:pt x="6567" y="23951"/>
                    <a:pt x="6567" y="23951"/>
                    <a:pt x="6567" y="23951"/>
                  </a:cubicBezTo>
                  <a:cubicBezTo>
                    <a:pt x="6567" y="23956"/>
                    <a:pt x="6567" y="23963"/>
                    <a:pt x="6564" y="23970"/>
                  </a:cubicBezTo>
                  <a:cubicBezTo>
                    <a:pt x="6557" y="23983"/>
                    <a:pt x="6540" y="23980"/>
                    <a:pt x="6529" y="23981"/>
                  </a:cubicBezTo>
                  <a:cubicBezTo>
                    <a:pt x="6524" y="23981"/>
                    <a:pt x="6524" y="23981"/>
                    <a:pt x="6524" y="23981"/>
                  </a:cubicBezTo>
                  <a:cubicBezTo>
                    <a:pt x="6518" y="23981"/>
                    <a:pt x="6536" y="23980"/>
                    <a:pt x="6487" y="23983"/>
                  </a:cubicBezTo>
                  <a:cubicBezTo>
                    <a:pt x="6275" y="23992"/>
                    <a:pt x="6275" y="23992"/>
                    <a:pt x="6275" y="23992"/>
                  </a:cubicBezTo>
                  <a:cubicBezTo>
                    <a:pt x="6131" y="23996"/>
                    <a:pt x="5985" y="23999"/>
                    <a:pt x="5838" y="23999"/>
                  </a:cubicBezTo>
                  <a:cubicBezTo>
                    <a:pt x="5390" y="24001"/>
                    <a:pt x="5390" y="24001"/>
                    <a:pt x="5390" y="24001"/>
                  </a:cubicBezTo>
                  <a:cubicBezTo>
                    <a:pt x="5282" y="23999"/>
                    <a:pt x="5282" y="23999"/>
                    <a:pt x="5282" y="23999"/>
                  </a:cubicBezTo>
                  <a:cubicBezTo>
                    <a:pt x="5255" y="23999"/>
                    <a:pt x="5228" y="23999"/>
                    <a:pt x="5200" y="23998"/>
                  </a:cubicBezTo>
                  <a:cubicBezTo>
                    <a:pt x="5145" y="23996"/>
                    <a:pt x="5089" y="23990"/>
                    <a:pt x="5033" y="23985"/>
                  </a:cubicBezTo>
                  <a:cubicBezTo>
                    <a:pt x="4130" y="23895"/>
                    <a:pt x="3150" y="23366"/>
                    <a:pt x="2606" y="22670"/>
                  </a:cubicBezTo>
                  <a:cubicBezTo>
                    <a:pt x="2332" y="22323"/>
                    <a:pt x="2181" y="21951"/>
                    <a:pt x="2167" y="21605"/>
                  </a:cubicBezTo>
                  <a:cubicBezTo>
                    <a:pt x="2167" y="21008"/>
                    <a:pt x="2167" y="20413"/>
                    <a:pt x="2168" y="19818"/>
                  </a:cubicBezTo>
                  <a:cubicBezTo>
                    <a:pt x="2170" y="18592"/>
                    <a:pt x="2172" y="17368"/>
                    <a:pt x="2175" y="16149"/>
                  </a:cubicBezTo>
                  <a:cubicBezTo>
                    <a:pt x="2179" y="11420"/>
                    <a:pt x="2188" y="2224"/>
                    <a:pt x="2188" y="2163"/>
                  </a:cubicBezTo>
                  <a:cubicBezTo>
                    <a:pt x="2188" y="2102"/>
                    <a:pt x="2227" y="2106"/>
                    <a:pt x="2247" y="2106"/>
                  </a:cubicBezTo>
                  <a:cubicBezTo>
                    <a:pt x="2268" y="2106"/>
                    <a:pt x="4395" y="2105"/>
                    <a:pt x="5458" y="2105"/>
                  </a:cubicBezTo>
                  <a:cubicBezTo>
                    <a:pt x="5646" y="2106"/>
                    <a:pt x="5838" y="2106"/>
                    <a:pt x="6032" y="2106"/>
                  </a:cubicBezTo>
                  <a:cubicBezTo>
                    <a:pt x="6244" y="2106"/>
                    <a:pt x="6377" y="2107"/>
                    <a:pt x="6551" y="2122"/>
                  </a:cubicBezTo>
                  <a:cubicBezTo>
                    <a:pt x="6882" y="2148"/>
                    <a:pt x="7220" y="2206"/>
                    <a:pt x="7556" y="2300"/>
                  </a:cubicBezTo>
                  <a:cubicBezTo>
                    <a:pt x="8228" y="2488"/>
                    <a:pt x="8896" y="2825"/>
                    <a:pt x="9478" y="3304"/>
                  </a:cubicBezTo>
                  <a:cubicBezTo>
                    <a:pt x="9551" y="3363"/>
                    <a:pt x="9623" y="3426"/>
                    <a:pt x="9691" y="3488"/>
                  </a:cubicBezTo>
                  <a:cubicBezTo>
                    <a:pt x="9772" y="3564"/>
                    <a:pt x="9854" y="3640"/>
                    <a:pt x="9935" y="3717"/>
                  </a:cubicBezTo>
                  <a:cubicBezTo>
                    <a:pt x="10104" y="3873"/>
                    <a:pt x="10273" y="4033"/>
                    <a:pt x="10443" y="4193"/>
                  </a:cubicBezTo>
                  <a:cubicBezTo>
                    <a:pt x="10784" y="4511"/>
                    <a:pt x="11128" y="4832"/>
                    <a:pt x="11473" y="5155"/>
                  </a:cubicBezTo>
                  <a:cubicBezTo>
                    <a:pt x="12165" y="5801"/>
                    <a:pt x="12864" y="6453"/>
                    <a:pt x="13560" y="7102"/>
                  </a:cubicBezTo>
                  <a:cubicBezTo>
                    <a:pt x="13908" y="7426"/>
                    <a:pt x="14255" y="7750"/>
                    <a:pt x="14600" y="8071"/>
                  </a:cubicBezTo>
                  <a:cubicBezTo>
                    <a:pt x="14772" y="8231"/>
                    <a:pt x="14944" y="8391"/>
                    <a:pt x="15116" y="8551"/>
                  </a:cubicBezTo>
                  <a:cubicBezTo>
                    <a:pt x="15244" y="8670"/>
                    <a:pt x="15244" y="8670"/>
                    <a:pt x="15244" y="8670"/>
                  </a:cubicBezTo>
                  <a:cubicBezTo>
                    <a:pt x="15301" y="8723"/>
                    <a:pt x="15301" y="8723"/>
                    <a:pt x="15301" y="8723"/>
                  </a:cubicBezTo>
                  <a:cubicBezTo>
                    <a:pt x="15318" y="8739"/>
                    <a:pt x="15318" y="8739"/>
                    <a:pt x="15318" y="8739"/>
                  </a:cubicBezTo>
                  <a:cubicBezTo>
                    <a:pt x="15351" y="8772"/>
                    <a:pt x="15351" y="8772"/>
                    <a:pt x="15351" y="8772"/>
                  </a:cubicBezTo>
                  <a:cubicBezTo>
                    <a:pt x="15442" y="8861"/>
                    <a:pt x="15532" y="8946"/>
                    <a:pt x="15624" y="9032"/>
                  </a:cubicBezTo>
                  <a:cubicBezTo>
                    <a:pt x="16357" y="9713"/>
                    <a:pt x="17145" y="10301"/>
                    <a:pt x="17946" y="10792"/>
                  </a:cubicBezTo>
                  <a:cubicBezTo>
                    <a:pt x="19552" y="11776"/>
                    <a:pt x="21206" y="12352"/>
                    <a:pt x="22616" y="12654"/>
                  </a:cubicBezTo>
                  <a:cubicBezTo>
                    <a:pt x="22620" y="12654"/>
                    <a:pt x="22660" y="12663"/>
                    <a:pt x="22735" y="12680"/>
                  </a:cubicBezTo>
                  <a:cubicBezTo>
                    <a:pt x="22809" y="12694"/>
                    <a:pt x="22916" y="12718"/>
                    <a:pt x="23055" y="12743"/>
                  </a:cubicBezTo>
                  <a:cubicBezTo>
                    <a:pt x="23331" y="12795"/>
                    <a:pt x="23730" y="12862"/>
                    <a:pt x="24225" y="12916"/>
                  </a:cubicBezTo>
                  <a:cubicBezTo>
                    <a:pt x="25215" y="13026"/>
                    <a:pt x="26592" y="13075"/>
                    <a:pt x="28112" y="12878"/>
                  </a:cubicBezTo>
                  <a:cubicBezTo>
                    <a:pt x="28869" y="12781"/>
                    <a:pt x="29661" y="12622"/>
                    <a:pt x="30447" y="12395"/>
                  </a:cubicBezTo>
                  <a:cubicBezTo>
                    <a:pt x="31233" y="12169"/>
                    <a:pt x="32011" y="11874"/>
                    <a:pt x="32746" y="11522"/>
                  </a:cubicBezTo>
                  <a:cubicBezTo>
                    <a:pt x="33479" y="11172"/>
                    <a:pt x="34170" y="10765"/>
                    <a:pt x="34787" y="10330"/>
                  </a:cubicBezTo>
                  <a:cubicBezTo>
                    <a:pt x="35405" y="9898"/>
                    <a:pt x="35952" y="9439"/>
                    <a:pt x="36413" y="8996"/>
                  </a:cubicBezTo>
                  <a:cubicBezTo>
                    <a:pt x="37120" y="8298"/>
                    <a:pt x="37819" y="7609"/>
                    <a:pt x="38498" y="6938"/>
                  </a:cubicBezTo>
                  <a:cubicBezTo>
                    <a:pt x="39184" y="6265"/>
                    <a:pt x="39853" y="5610"/>
                    <a:pt x="40493" y="4982"/>
                  </a:cubicBezTo>
                  <a:cubicBezTo>
                    <a:pt x="41761" y="3748"/>
                    <a:pt x="43790" y="1776"/>
                    <a:pt x="43890" y="1677"/>
                  </a:cubicBezTo>
                  <a:cubicBezTo>
                    <a:pt x="43989" y="1579"/>
                    <a:pt x="44113" y="1557"/>
                    <a:pt x="44185" y="1556"/>
                  </a:cubicBezTo>
                  <a:cubicBezTo>
                    <a:pt x="44258" y="1555"/>
                    <a:pt x="47396" y="1513"/>
                    <a:pt x="47465" y="1512"/>
                  </a:cubicBezTo>
                  <a:cubicBezTo>
                    <a:pt x="48234" y="1495"/>
                    <a:pt x="48888" y="1761"/>
                    <a:pt x="49367" y="2115"/>
                  </a:cubicBezTo>
                  <a:cubicBezTo>
                    <a:pt x="49846" y="2471"/>
                    <a:pt x="50150" y="2903"/>
                    <a:pt x="50331" y="3278"/>
                  </a:cubicBezTo>
                  <a:cubicBezTo>
                    <a:pt x="50515" y="3656"/>
                    <a:pt x="50584" y="3979"/>
                    <a:pt x="50623" y="4197"/>
                  </a:cubicBezTo>
                  <a:cubicBezTo>
                    <a:pt x="50660" y="4416"/>
                    <a:pt x="50654" y="4668"/>
                    <a:pt x="50640" y="4917"/>
                  </a:cubicBezTo>
                  <a:cubicBezTo>
                    <a:pt x="50624" y="5164"/>
                    <a:pt x="50715" y="18267"/>
                    <a:pt x="50669" y="2332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2D4F9F9E-C406-463A-BF19-5AC81DDA12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2346 w 51688"/>
                <a:gd name="T43" fmla="*/ 1839 h 25918"/>
                <a:gd name="T44" fmla="*/ 6307 w 51688"/>
                <a:gd name="T45" fmla="*/ 1843 h 25918"/>
                <a:gd name="T46" fmla="*/ 9640 w 51688"/>
                <a:gd name="T47" fmla="*/ 3220 h 25918"/>
                <a:gd name="T48" fmla="*/ 15297 w 51688"/>
                <a:gd name="T49" fmla="*/ 8489 h 25918"/>
                <a:gd name="T50" fmla="*/ 15909 w 51688"/>
                <a:gd name="T51" fmla="*/ 9055 h 25918"/>
                <a:gd name="T52" fmla="*/ 24130 w 51688"/>
                <a:gd name="T53" fmla="*/ 12613 h 25918"/>
                <a:gd name="T54" fmla="*/ 35966 w 51688"/>
                <a:gd name="T55" fmla="*/ 8944 h 25918"/>
                <a:gd name="T56" fmla="*/ 43246 w 51688"/>
                <a:gd name="T57" fmla="*/ 1655 h 25918"/>
                <a:gd name="T58" fmla="*/ 43511 w 51688"/>
                <a:gd name="T59" fmla="*/ 1366 h 25918"/>
                <a:gd name="T60" fmla="*/ 44343 w 51688"/>
                <a:gd name="T61" fmla="*/ 896 h 25918"/>
                <a:gd name="T62" fmla="*/ 43670 w 51688"/>
                <a:gd name="T63" fmla="*/ 727 h 25918"/>
                <a:gd name="T64" fmla="*/ 41873 w 51688"/>
                <a:gd name="T65" fmla="*/ 2007 h 25918"/>
                <a:gd name="T66" fmla="*/ 34512 w 51688"/>
                <a:gd name="T67" fmla="*/ 8591 h 25918"/>
                <a:gd name="T68" fmla="*/ 18064 w 51688"/>
                <a:gd name="T69" fmla="*/ 8699 h 25918"/>
                <a:gd name="T70" fmla="*/ 16455 w 51688"/>
                <a:gd name="T71" fmla="*/ 7314 h 25918"/>
                <a:gd name="T72" fmla="*/ 11277 w 51688"/>
                <a:gd name="T73" fmla="*/ 2358 h 25918"/>
                <a:gd name="T74" fmla="*/ 9968 w 51688"/>
                <a:gd name="T75" fmla="*/ 1251 h 25918"/>
                <a:gd name="T76" fmla="*/ 6274 w 51688"/>
                <a:gd name="T77" fmla="*/ 41 h 25918"/>
                <a:gd name="T78" fmla="*/ 1317 w 51688"/>
                <a:gd name="T79" fmla="*/ 0 h 25918"/>
                <a:gd name="T80" fmla="*/ 93 w 51688"/>
                <a:gd name="T81" fmla="*/ 1809 h 25918"/>
                <a:gd name="T82" fmla="*/ 4 w 51688"/>
                <a:gd name="T83" fmla="*/ 20044 h 25918"/>
                <a:gd name="T84" fmla="*/ 1 w 51688"/>
                <a:gd name="T85" fmla="*/ 21517 h 25918"/>
                <a:gd name="T86" fmla="*/ 2071 w 51688"/>
                <a:gd name="T87" fmla="*/ 24909 h 25918"/>
                <a:gd name="T88" fmla="*/ 5413 w 51688"/>
                <a:gd name="T89" fmla="*/ 25918 h 25918"/>
                <a:gd name="T90" fmla="*/ 6643 w 51688"/>
                <a:gd name="T91" fmla="*/ 25888 h 25918"/>
                <a:gd name="T92" fmla="*/ 8425 w 51688"/>
                <a:gd name="T93" fmla="*/ 24824 h 25918"/>
                <a:gd name="T94" fmla="*/ 8503 w 51688"/>
                <a:gd name="T95" fmla="*/ 22556 h 25918"/>
                <a:gd name="T96" fmla="*/ 8881 w 51688"/>
                <a:gd name="T97" fmla="*/ 15895 h 25918"/>
                <a:gd name="T98" fmla="*/ 11106 w 51688"/>
                <a:gd name="T99" fmla="*/ 14804 h 25918"/>
                <a:gd name="T100" fmla="*/ 17572 w 51688"/>
                <a:gd name="T101" fmla="*/ 18816 h 25918"/>
                <a:gd name="T102" fmla="*/ 23192 w 51688"/>
                <a:gd name="T103" fmla="*/ 23423 h 25918"/>
                <a:gd name="T104" fmla="*/ 28379 w 51688"/>
                <a:gd name="T105" fmla="*/ 23720 h 25918"/>
                <a:gd name="T106" fmla="*/ 34070 w 51688"/>
                <a:gd name="T107" fmla="*/ 19236 h 25918"/>
                <a:gd name="T108" fmla="*/ 39540 w 51688"/>
                <a:gd name="T109" fmla="*/ 14993 h 25918"/>
                <a:gd name="T110" fmla="*/ 42326 w 51688"/>
                <a:gd name="T111" fmla="*/ 14813 h 25918"/>
                <a:gd name="T112" fmla="*/ 43945 w 51688"/>
                <a:gd name="T113" fmla="*/ 17822 h 25918"/>
                <a:gd name="T114" fmla="*/ 44003 w 51688"/>
                <a:gd name="T115" fmla="*/ 21414 h 25918"/>
                <a:gd name="T116" fmla="*/ 46894 w 51688"/>
                <a:gd name="T117" fmla="*/ 25058 h 25918"/>
                <a:gd name="T118" fmla="*/ 50155 w 51688"/>
                <a:gd name="T119" fmla="*/ 25408 h 25918"/>
                <a:gd name="T120" fmla="*/ 51516 w 51688"/>
                <a:gd name="T121" fmla="*/ 2493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931"/>
                    <a:pt x="1951" y="1894"/>
                    <a:pt x="1977" y="1870"/>
                  </a:cubicBezTo>
                  <a:cubicBezTo>
                    <a:pt x="1998" y="1850"/>
                    <a:pt x="2031" y="1839"/>
                    <a:pt x="2079" y="1839"/>
                  </a:cubicBezTo>
                  <a:cubicBezTo>
                    <a:pt x="2106" y="1839"/>
                    <a:pt x="2204" y="1839"/>
                    <a:pt x="2346" y="1839"/>
                  </a:cubicBezTo>
                  <a:cubicBezTo>
                    <a:pt x="2783" y="1839"/>
                    <a:pt x="364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578" y="1286"/>
                    <a:pt x="43599" y="1259"/>
                  </a:cubicBezTo>
                  <a:cubicBezTo>
                    <a:pt x="43675" y="1223"/>
                    <a:pt x="43738" y="1193"/>
                    <a:pt x="43792" y="1166"/>
                  </a:cubicBezTo>
                  <a:cubicBezTo>
                    <a:pt x="43855" y="1133"/>
                    <a:pt x="43909" y="1105"/>
                    <a:pt x="43958" y="1079"/>
                  </a:cubicBezTo>
                  <a:cubicBezTo>
                    <a:pt x="43981" y="1066"/>
                    <a:pt x="44282" y="928"/>
                    <a:pt x="44343" y="896"/>
                  </a:cubicBezTo>
                  <a:cubicBezTo>
                    <a:pt x="44493" y="812"/>
                    <a:pt x="44494" y="738"/>
                    <a:pt x="43958" y="663"/>
                  </a:cubicBezTo>
                  <a:cubicBezTo>
                    <a:pt x="43955" y="662"/>
                    <a:pt x="43955" y="662"/>
                    <a:pt x="43955" y="662"/>
                  </a:cubicBezTo>
                  <a:cubicBezTo>
                    <a:pt x="43884" y="677"/>
                    <a:pt x="43884" y="677"/>
                    <a:pt x="43884" y="677"/>
                  </a:cubicBezTo>
                  <a:cubicBezTo>
                    <a:pt x="43824" y="689"/>
                    <a:pt x="43754" y="706"/>
                    <a:pt x="43670" y="727"/>
                  </a:cubicBezTo>
                  <a:cubicBezTo>
                    <a:pt x="43621" y="740"/>
                    <a:pt x="43570" y="755"/>
                    <a:pt x="43518" y="768"/>
                  </a:cubicBezTo>
                  <a:cubicBezTo>
                    <a:pt x="43456" y="785"/>
                    <a:pt x="43392" y="804"/>
                    <a:pt x="43327" y="822"/>
                  </a:cubicBezTo>
                  <a:cubicBezTo>
                    <a:pt x="43141" y="971"/>
                    <a:pt x="42934" y="1137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261" y="0"/>
                    <a:pt x="1219" y="11"/>
                    <a:pt x="1167" y="15"/>
                  </a:cubicBezTo>
                  <a:cubicBezTo>
                    <a:pt x="1140" y="17"/>
                    <a:pt x="1114" y="19"/>
                    <a:pt x="1086" y="23"/>
                  </a:cubicBezTo>
                  <a:cubicBezTo>
                    <a:pt x="155" y="136"/>
                    <a:pt x="96" y="899"/>
                    <a:pt x="96" y="1210"/>
                  </a:cubicBezTo>
                  <a:cubicBezTo>
                    <a:pt x="96" y="1401"/>
                    <a:pt x="94" y="1611"/>
                    <a:pt x="93" y="1809"/>
                  </a:cubicBezTo>
                  <a:cubicBezTo>
                    <a:pt x="89" y="2555"/>
                    <a:pt x="80" y="3778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CD65F104-86DC-462B-94E7-0135CF74AE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726 w 20899"/>
                <a:gd name="T1" fmla="*/ 18165 h 24816"/>
                <a:gd name="T2" fmla="*/ 16704 w 20899"/>
                <a:gd name="T3" fmla="*/ 16252 h 24816"/>
                <a:gd name="T4" fmla="*/ 12823 w 20899"/>
                <a:gd name="T5" fmla="*/ 13479 h 24816"/>
                <a:gd name="T6" fmla="*/ 9723 w 20899"/>
                <a:gd name="T7" fmla="*/ 12968 h 24816"/>
                <a:gd name="T8" fmla="*/ 7957 w 20899"/>
                <a:gd name="T9" fmla="*/ 13747 h 24816"/>
                <a:gd name="T10" fmla="*/ 6544 w 20899"/>
                <a:gd name="T11" fmla="*/ 16529 h 24816"/>
                <a:gd name="T12" fmla="*/ 6538 w 20899"/>
                <a:gd name="T13" fmla="*/ 16843 h 24816"/>
                <a:gd name="T14" fmla="*/ 6526 w 20899"/>
                <a:gd name="T15" fmla="*/ 18358 h 24816"/>
                <a:gd name="T16" fmla="*/ 6495 w 20899"/>
                <a:gd name="T17" fmla="*/ 23550 h 24816"/>
                <a:gd name="T18" fmla="*/ 6349 w 20899"/>
                <a:gd name="T19" fmla="*/ 23873 h 24816"/>
                <a:gd name="T20" fmla="*/ 5979 w 20899"/>
                <a:gd name="T21" fmla="*/ 23933 h 24816"/>
                <a:gd name="T22" fmla="*/ 5730 w 20899"/>
                <a:gd name="T23" fmla="*/ 23945 h 24816"/>
                <a:gd name="T24" fmla="*/ 4774 w 20899"/>
                <a:gd name="T25" fmla="*/ 23960 h 24816"/>
                <a:gd name="T26" fmla="*/ 4472 w 20899"/>
                <a:gd name="T27" fmla="*/ 23956 h 24816"/>
                <a:gd name="T28" fmla="*/ 2799 w 20899"/>
                <a:gd name="T29" fmla="*/ 23486 h 24816"/>
                <a:gd name="T30" fmla="*/ 869 w 20899"/>
                <a:gd name="T31" fmla="*/ 20931 h 24816"/>
                <a:gd name="T32" fmla="*/ 810 w 20899"/>
                <a:gd name="T33" fmla="*/ 10472 h 24816"/>
                <a:gd name="T34" fmla="*/ 893 w 20899"/>
                <a:gd name="T35" fmla="*/ 826 h 24816"/>
                <a:gd name="T36" fmla="*/ 4833 w 20899"/>
                <a:gd name="T37" fmla="*/ 721 h 24816"/>
                <a:gd name="T38" fmla="*/ 5743 w 20899"/>
                <a:gd name="T39" fmla="*/ 723 h 24816"/>
                <a:gd name="T40" fmla="*/ 8228 w 20899"/>
                <a:gd name="T41" fmla="*/ 1382 h 24816"/>
                <a:gd name="T42" fmla="*/ 10925 w 20899"/>
                <a:gd name="T43" fmla="*/ 3587 h 24816"/>
                <a:gd name="T44" fmla="*/ 14516 w 20899"/>
                <a:gd name="T45" fmla="*/ 6926 h 24816"/>
                <a:gd name="T46" fmla="*/ 15118 w 20899"/>
                <a:gd name="T47" fmla="*/ 7482 h 24816"/>
                <a:gd name="T48" fmla="*/ 15228 w 20899"/>
                <a:gd name="T49" fmla="*/ 7584 h 24816"/>
                <a:gd name="T50" fmla="*/ 17201 w 20899"/>
                <a:gd name="T51" fmla="*/ 9156 h 24816"/>
                <a:gd name="T52" fmla="*/ 19276 w 20899"/>
                <a:gd name="T53" fmla="*/ 10228 h 24816"/>
                <a:gd name="T54" fmla="*/ 20704 w 20899"/>
                <a:gd name="T55" fmla="*/ 10652 h 24816"/>
                <a:gd name="T56" fmla="*/ 19526 w 20899"/>
                <a:gd name="T57" fmla="*/ 10044 h 24816"/>
                <a:gd name="T58" fmla="*/ 15710 w 20899"/>
                <a:gd name="T59" fmla="*/ 7341 h 24816"/>
                <a:gd name="T60" fmla="*/ 15321 w 20899"/>
                <a:gd name="T61" fmla="*/ 6958 h 24816"/>
                <a:gd name="T62" fmla="*/ 14062 w 20899"/>
                <a:gd name="T63" fmla="*/ 5741 h 24816"/>
                <a:gd name="T64" fmla="*/ 9540 w 20899"/>
                <a:gd name="T65" fmla="*/ 1447 h 24816"/>
                <a:gd name="T66" fmla="*/ 7379 w 20899"/>
                <a:gd name="T67" fmla="*/ 317 h 24816"/>
                <a:gd name="T68" fmla="*/ 5592 w 20899"/>
                <a:gd name="T69" fmla="*/ 28 h 24816"/>
                <a:gd name="T70" fmla="*/ 5281 w 20899"/>
                <a:gd name="T71" fmla="*/ 25 h 24816"/>
                <a:gd name="T72" fmla="*/ 4025 w 20899"/>
                <a:gd name="T73" fmla="*/ 17 h 24816"/>
                <a:gd name="T74" fmla="*/ 47 w 20899"/>
                <a:gd name="T75" fmla="*/ 915 h 24816"/>
                <a:gd name="T76" fmla="*/ 2 w 20899"/>
                <a:gd name="T77" fmla="*/ 17555 h 24816"/>
                <a:gd name="T78" fmla="*/ 5 w 20899"/>
                <a:gd name="T79" fmla="*/ 20341 h 24816"/>
                <a:gd name="T80" fmla="*/ 6 w 20899"/>
                <a:gd name="T81" fmla="*/ 20923 h 24816"/>
                <a:gd name="T82" fmla="*/ 38 w 20899"/>
                <a:gd name="T83" fmla="*/ 21322 h 24816"/>
                <a:gd name="T84" fmla="*/ 944 w 20899"/>
                <a:gd name="T85" fmla="*/ 23148 h 24816"/>
                <a:gd name="T86" fmla="*/ 4388 w 20899"/>
                <a:gd name="T87" fmla="*/ 24811 h 24816"/>
                <a:gd name="T88" fmla="*/ 4856 w 20899"/>
                <a:gd name="T89" fmla="*/ 24816 h 24816"/>
                <a:gd name="T90" fmla="*/ 5756 w 20899"/>
                <a:gd name="T91" fmla="*/ 24796 h 24816"/>
                <a:gd name="T92" fmla="*/ 6291 w 20899"/>
                <a:gd name="T93" fmla="*/ 24757 h 24816"/>
                <a:gd name="T94" fmla="*/ 7234 w 20899"/>
                <a:gd name="T95" fmla="*/ 24266 h 24816"/>
                <a:gd name="T96" fmla="*/ 7330 w 20899"/>
                <a:gd name="T97" fmla="*/ 23437 h 24816"/>
                <a:gd name="T98" fmla="*/ 7330 w 20899"/>
                <a:gd name="T99" fmla="*/ 23186 h 24816"/>
                <a:gd name="T100" fmla="*/ 7299 w 20899"/>
                <a:gd name="T101" fmla="*/ 18175 h 24816"/>
                <a:gd name="T102" fmla="*/ 7621 w 20899"/>
                <a:gd name="T103" fmla="*/ 15253 h 24816"/>
                <a:gd name="T104" fmla="*/ 9653 w 20899"/>
                <a:gd name="T105" fmla="*/ 13652 h 24816"/>
                <a:gd name="T106" fmla="*/ 10936 w 20899"/>
                <a:gd name="T107" fmla="*/ 13607 h 24816"/>
                <a:gd name="T108" fmla="*/ 14288 w 20899"/>
                <a:gd name="T109" fmla="*/ 14941 h 24816"/>
                <a:gd name="T110" fmla="*/ 17357 w 20899"/>
                <a:gd name="T111" fmla="*/ 17469 h 24816"/>
                <a:gd name="T112" fmla="*/ 19639 w 20899"/>
                <a:gd name="T113" fmla="*/ 19376 h 24816"/>
                <a:gd name="T114" fmla="*/ 19270 w 20899"/>
                <a:gd name="T115" fmla="*/ 1867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99" h="24816">
                  <a:moveTo>
                    <a:pt x="19270" y="18677"/>
                  </a:moveTo>
                  <a:cubicBezTo>
                    <a:pt x="19104" y="18520"/>
                    <a:pt x="18922" y="18349"/>
                    <a:pt x="18726" y="18165"/>
                  </a:cubicBezTo>
                  <a:cubicBezTo>
                    <a:pt x="18527" y="17981"/>
                    <a:pt x="18315" y="17790"/>
                    <a:pt x="18099" y="17586"/>
                  </a:cubicBezTo>
                  <a:cubicBezTo>
                    <a:pt x="17662" y="17168"/>
                    <a:pt x="17188" y="16713"/>
                    <a:pt x="16704" y="16252"/>
                  </a:cubicBezTo>
                  <a:cubicBezTo>
                    <a:pt x="16133" y="15720"/>
                    <a:pt x="15543" y="15193"/>
                    <a:pt x="14905" y="14714"/>
                  </a:cubicBezTo>
                  <a:cubicBezTo>
                    <a:pt x="14267" y="14236"/>
                    <a:pt x="13579" y="13801"/>
                    <a:pt x="12823" y="13479"/>
                  </a:cubicBezTo>
                  <a:cubicBezTo>
                    <a:pt x="12070" y="13154"/>
                    <a:pt x="11228" y="12950"/>
                    <a:pt x="10381" y="12932"/>
                  </a:cubicBezTo>
                  <a:cubicBezTo>
                    <a:pt x="10169" y="12927"/>
                    <a:pt x="9940" y="12936"/>
                    <a:pt x="9723" y="12968"/>
                  </a:cubicBezTo>
                  <a:cubicBezTo>
                    <a:pt x="9505" y="13002"/>
                    <a:pt x="9290" y="13055"/>
                    <a:pt x="9083" y="13125"/>
                  </a:cubicBezTo>
                  <a:cubicBezTo>
                    <a:pt x="8669" y="13266"/>
                    <a:pt x="8286" y="13480"/>
                    <a:pt x="7957" y="13747"/>
                  </a:cubicBezTo>
                  <a:cubicBezTo>
                    <a:pt x="7315" y="14259"/>
                    <a:pt x="6820" y="15011"/>
                    <a:pt x="6630" y="15873"/>
                  </a:cubicBezTo>
                  <a:cubicBezTo>
                    <a:pt x="6582" y="16088"/>
                    <a:pt x="6553" y="16308"/>
                    <a:pt x="6544" y="16529"/>
                  </a:cubicBezTo>
                  <a:cubicBezTo>
                    <a:pt x="6540" y="16583"/>
                    <a:pt x="6539" y="16645"/>
                    <a:pt x="6539" y="16693"/>
                  </a:cubicBezTo>
                  <a:cubicBezTo>
                    <a:pt x="6538" y="16843"/>
                    <a:pt x="6538" y="16843"/>
                    <a:pt x="6538" y="16843"/>
                  </a:cubicBezTo>
                  <a:cubicBezTo>
                    <a:pt x="6537" y="16942"/>
                    <a:pt x="6536" y="17041"/>
                    <a:pt x="6535" y="17142"/>
                  </a:cubicBezTo>
                  <a:cubicBezTo>
                    <a:pt x="6532" y="17543"/>
                    <a:pt x="6529" y="17948"/>
                    <a:pt x="6526" y="18358"/>
                  </a:cubicBezTo>
                  <a:cubicBezTo>
                    <a:pt x="6516" y="19980"/>
                    <a:pt x="6506" y="21661"/>
                    <a:pt x="6496" y="23363"/>
                  </a:cubicBezTo>
                  <a:cubicBezTo>
                    <a:pt x="6495" y="23550"/>
                    <a:pt x="6495" y="23550"/>
                    <a:pt x="6495" y="23550"/>
                  </a:cubicBezTo>
                  <a:cubicBezTo>
                    <a:pt x="6494" y="23614"/>
                    <a:pt x="6492" y="23677"/>
                    <a:pt x="6471" y="23736"/>
                  </a:cubicBezTo>
                  <a:cubicBezTo>
                    <a:pt x="6452" y="23796"/>
                    <a:pt x="6407" y="23846"/>
                    <a:pt x="6349" y="23873"/>
                  </a:cubicBezTo>
                  <a:cubicBezTo>
                    <a:pt x="6292" y="23897"/>
                    <a:pt x="6228" y="23906"/>
                    <a:pt x="6166" y="23915"/>
                  </a:cubicBezTo>
                  <a:cubicBezTo>
                    <a:pt x="6104" y="23924"/>
                    <a:pt x="6041" y="23927"/>
                    <a:pt x="5979" y="23933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730" y="23945"/>
                    <a:pt x="5730" y="23945"/>
                    <a:pt x="5730" y="23945"/>
                  </a:cubicBezTo>
                  <a:cubicBezTo>
                    <a:pt x="5521" y="23954"/>
                    <a:pt x="5309" y="23958"/>
                    <a:pt x="5096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4615" y="23960"/>
                    <a:pt x="4615" y="23960"/>
                    <a:pt x="4615" y="23960"/>
                  </a:cubicBezTo>
                  <a:cubicBezTo>
                    <a:pt x="4567" y="23960"/>
                    <a:pt x="4520" y="23958"/>
                    <a:pt x="4472" y="23956"/>
                  </a:cubicBezTo>
                  <a:cubicBezTo>
                    <a:pt x="4282" y="23945"/>
                    <a:pt x="4091" y="23920"/>
                    <a:pt x="3901" y="23879"/>
                  </a:cubicBezTo>
                  <a:cubicBezTo>
                    <a:pt x="3522" y="23799"/>
                    <a:pt x="3148" y="23664"/>
                    <a:pt x="2799" y="23486"/>
                  </a:cubicBezTo>
                  <a:cubicBezTo>
                    <a:pt x="2104" y="23129"/>
                    <a:pt x="1490" y="22589"/>
                    <a:pt x="1146" y="21942"/>
                  </a:cubicBezTo>
                  <a:cubicBezTo>
                    <a:pt x="975" y="21621"/>
                    <a:pt x="876" y="21277"/>
                    <a:pt x="869" y="20931"/>
                  </a:cubicBezTo>
                  <a:cubicBezTo>
                    <a:pt x="865" y="20510"/>
                    <a:pt x="862" y="20094"/>
                    <a:pt x="859" y="19679"/>
                  </a:cubicBezTo>
                  <a:cubicBezTo>
                    <a:pt x="843" y="16677"/>
                    <a:pt x="827" y="13590"/>
                    <a:pt x="810" y="10472"/>
                  </a:cubicBezTo>
                  <a:cubicBezTo>
                    <a:pt x="801" y="7400"/>
                    <a:pt x="784" y="1744"/>
                    <a:pt x="784" y="1219"/>
                  </a:cubicBezTo>
                  <a:cubicBezTo>
                    <a:pt x="784" y="1042"/>
                    <a:pt x="826" y="889"/>
                    <a:pt x="893" y="826"/>
                  </a:cubicBezTo>
                  <a:cubicBezTo>
                    <a:pt x="963" y="760"/>
                    <a:pt x="1171" y="729"/>
                    <a:pt x="1271" y="729"/>
                  </a:cubicBezTo>
                  <a:cubicBezTo>
                    <a:pt x="1424" y="729"/>
                    <a:pt x="3653" y="724"/>
                    <a:pt x="4833" y="721"/>
                  </a:cubicBezTo>
                  <a:cubicBezTo>
                    <a:pt x="5295" y="720"/>
                    <a:pt x="5295" y="720"/>
                    <a:pt x="5295" y="720"/>
                  </a:cubicBezTo>
                  <a:cubicBezTo>
                    <a:pt x="5448" y="720"/>
                    <a:pt x="5605" y="716"/>
                    <a:pt x="5743" y="723"/>
                  </a:cubicBezTo>
                  <a:cubicBezTo>
                    <a:pt x="6032" y="736"/>
                    <a:pt x="6320" y="770"/>
                    <a:pt x="6604" y="823"/>
                  </a:cubicBezTo>
                  <a:cubicBezTo>
                    <a:pt x="7171" y="930"/>
                    <a:pt x="7719" y="1119"/>
                    <a:pt x="8228" y="1382"/>
                  </a:cubicBezTo>
                  <a:cubicBezTo>
                    <a:pt x="8737" y="1644"/>
                    <a:pt x="9203" y="1975"/>
                    <a:pt x="9619" y="2367"/>
                  </a:cubicBezTo>
                  <a:cubicBezTo>
                    <a:pt x="10057" y="2776"/>
                    <a:pt x="10493" y="3183"/>
                    <a:pt x="10925" y="3587"/>
                  </a:cubicBezTo>
                  <a:cubicBezTo>
                    <a:pt x="11791" y="4393"/>
                    <a:pt x="12646" y="5189"/>
                    <a:pt x="13487" y="5972"/>
                  </a:cubicBezTo>
                  <a:cubicBezTo>
                    <a:pt x="13843" y="6302"/>
                    <a:pt x="14186" y="6620"/>
                    <a:pt x="14516" y="6926"/>
                  </a:cubicBezTo>
                  <a:cubicBezTo>
                    <a:pt x="14681" y="7078"/>
                    <a:pt x="14843" y="7227"/>
                    <a:pt x="15000" y="7373"/>
                  </a:cubicBezTo>
                  <a:cubicBezTo>
                    <a:pt x="15040" y="7409"/>
                    <a:pt x="15079" y="7445"/>
                    <a:pt x="15118" y="7482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228" y="7584"/>
                    <a:pt x="15228" y="7584"/>
                    <a:pt x="15228" y="7584"/>
                  </a:cubicBezTo>
                  <a:cubicBezTo>
                    <a:pt x="15305" y="7659"/>
                    <a:pt x="15381" y="7731"/>
                    <a:pt x="15458" y="7802"/>
                  </a:cubicBezTo>
                  <a:cubicBezTo>
                    <a:pt x="16071" y="8367"/>
                    <a:pt x="16670" y="8810"/>
                    <a:pt x="17201" y="9156"/>
                  </a:cubicBezTo>
                  <a:cubicBezTo>
                    <a:pt x="17732" y="9501"/>
                    <a:pt x="18195" y="9748"/>
                    <a:pt x="18552" y="9919"/>
                  </a:cubicBezTo>
                  <a:cubicBezTo>
                    <a:pt x="18909" y="10091"/>
                    <a:pt x="19159" y="10190"/>
                    <a:pt x="19276" y="10228"/>
                  </a:cubicBezTo>
                  <a:cubicBezTo>
                    <a:pt x="19727" y="10410"/>
                    <a:pt x="20068" y="10518"/>
                    <a:pt x="20309" y="10584"/>
                  </a:cubicBezTo>
                  <a:cubicBezTo>
                    <a:pt x="20549" y="10648"/>
                    <a:pt x="20681" y="10667"/>
                    <a:pt x="20704" y="10652"/>
                  </a:cubicBezTo>
                  <a:cubicBezTo>
                    <a:pt x="20728" y="10635"/>
                    <a:pt x="20641" y="10584"/>
                    <a:pt x="20445" y="10489"/>
                  </a:cubicBezTo>
                  <a:cubicBezTo>
                    <a:pt x="20247" y="10392"/>
                    <a:pt x="19988" y="10273"/>
                    <a:pt x="19526" y="10044"/>
                  </a:cubicBezTo>
                  <a:cubicBezTo>
                    <a:pt x="18945" y="9752"/>
                    <a:pt x="18115" y="9307"/>
                    <a:pt x="17174" y="8604"/>
                  </a:cubicBezTo>
                  <a:cubicBezTo>
                    <a:pt x="16703" y="8251"/>
                    <a:pt x="16207" y="7835"/>
                    <a:pt x="15710" y="7341"/>
                  </a:cubicBezTo>
                  <a:cubicBezTo>
                    <a:pt x="15647" y="7278"/>
                    <a:pt x="15583" y="7214"/>
                    <a:pt x="15519" y="7149"/>
                  </a:cubicBezTo>
                  <a:cubicBezTo>
                    <a:pt x="15453" y="7086"/>
                    <a:pt x="15388" y="7022"/>
                    <a:pt x="15321" y="6958"/>
                  </a:cubicBezTo>
                  <a:cubicBezTo>
                    <a:pt x="15188" y="6829"/>
                    <a:pt x="15053" y="6698"/>
                    <a:pt x="14916" y="6565"/>
                  </a:cubicBezTo>
                  <a:cubicBezTo>
                    <a:pt x="14640" y="6299"/>
                    <a:pt x="14355" y="6024"/>
                    <a:pt x="14062" y="5741"/>
                  </a:cubicBezTo>
                  <a:cubicBezTo>
                    <a:pt x="12879" y="4606"/>
                    <a:pt x="11557" y="3337"/>
                    <a:pt x="10126" y="1964"/>
                  </a:cubicBezTo>
                  <a:cubicBezTo>
                    <a:pt x="9948" y="1791"/>
                    <a:pt x="9748" y="1609"/>
                    <a:pt x="9540" y="1447"/>
                  </a:cubicBezTo>
                  <a:cubicBezTo>
                    <a:pt x="9332" y="1283"/>
                    <a:pt x="9112" y="1130"/>
                    <a:pt x="8881" y="990"/>
                  </a:cubicBezTo>
                  <a:cubicBezTo>
                    <a:pt x="8419" y="709"/>
                    <a:pt x="7914" y="480"/>
                    <a:pt x="7379" y="317"/>
                  </a:cubicBezTo>
                  <a:cubicBezTo>
                    <a:pt x="6844" y="152"/>
                    <a:pt x="6278" y="55"/>
                    <a:pt x="5702" y="30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281" y="25"/>
                    <a:pt x="5281" y="25"/>
                    <a:pt x="5281" y="25"/>
                  </a:cubicBezTo>
                  <a:cubicBezTo>
                    <a:pt x="5143" y="24"/>
                    <a:pt x="5004" y="23"/>
                    <a:pt x="4865" y="22"/>
                  </a:cubicBezTo>
                  <a:cubicBezTo>
                    <a:pt x="4587" y="20"/>
                    <a:pt x="4306" y="19"/>
                    <a:pt x="4025" y="17"/>
                  </a:cubicBezTo>
                  <a:cubicBezTo>
                    <a:pt x="3027" y="11"/>
                    <a:pt x="1835" y="0"/>
                    <a:pt x="969" y="0"/>
                  </a:cubicBezTo>
                  <a:cubicBezTo>
                    <a:pt x="474" y="0"/>
                    <a:pt x="47" y="259"/>
                    <a:pt x="47" y="915"/>
                  </a:cubicBezTo>
                  <a:cubicBezTo>
                    <a:pt x="47" y="1282"/>
                    <a:pt x="42" y="2101"/>
                    <a:pt x="39" y="2693"/>
                  </a:cubicBezTo>
                  <a:cubicBezTo>
                    <a:pt x="12" y="7527"/>
                    <a:pt x="0" y="12582"/>
                    <a:pt x="2" y="17555"/>
                  </a:cubicBezTo>
                  <a:cubicBezTo>
                    <a:pt x="3" y="18177"/>
                    <a:pt x="3" y="18796"/>
                    <a:pt x="4" y="19416"/>
                  </a:cubicBezTo>
                  <a:cubicBezTo>
                    <a:pt x="5" y="19724"/>
                    <a:pt x="5" y="20033"/>
                    <a:pt x="5" y="20341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6" y="20923"/>
                    <a:pt x="6" y="20923"/>
                    <a:pt x="6" y="20923"/>
                  </a:cubicBezTo>
                  <a:cubicBezTo>
                    <a:pt x="7" y="20967"/>
                    <a:pt x="8" y="21012"/>
                    <a:pt x="12" y="21057"/>
                  </a:cubicBezTo>
                  <a:cubicBezTo>
                    <a:pt x="16" y="21145"/>
                    <a:pt x="26" y="21233"/>
                    <a:pt x="38" y="21322"/>
                  </a:cubicBezTo>
                  <a:cubicBezTo>
                    <a:pt x="91" y="21673"/>
                    <a:pt x="206" y="22009"/>
                    <a:pt x="364" y="22315"/>
                  </a:cubicBezTo>
                  <a:cubicBezTo>
                    <a:pt x="521" y="22622"/>
                    <a:pt x="721" y="22900"/>
                    <a:pt x="944" y="23148"/>
                  </a:cubicBezTo>
                  <a:cubicBezTo>
                    <a:pt x="1393" y="23644"/>
                    <a:pt x="1935" y="24028"/>
                    <a:pt x="2519" y="24311"/>
                  </a:cubicBezTo>
                  <a:cubicBezTo>
                    <a:pt x="3103" y="24591"/>
                    <a:pt x="3734" y="24773"/>
                    <a:pt x="4388" y="24811"/>
                  </a:cubicBezTo>
                  <a:cubicBezTo>
                    <a:pt x="4469" y="24816"/>
                    <a:pt x="4551" y="24816"/>
                    <a:pt x="4633" y="24816"/>
                  </a:cubicBezTo>
                  <a:cubicBezTo>
                    <a:pt x="4856" y="24816"/>
                    <a:pt x="4856" y="24816"/>
                    <a:pt x="4856" y="24816"/>
                  </a:cubicBezTo>
                  <a:cubicBezTo>
                    <a:pt x="5006" y="24814"/>
                    <a:pt x="5156" y="24813"/>
                    <a:pt x="5305" y="24811"/>
                  </a:cubicBezTo>
                  <a:cubicBezTo>
                    <a:pt x="5455" y="24807"/>
                    <a:pt x="5605" y="24804"/>
                    <a:pt x="5756" y="24796"/>
                  </a:cubicBezTo>
                  <a:cubicBezTo>
                    <a:pt x="5998" y="24782"/>
                    <a:pt x="5998" y="24782"/>
                    <a:pt x="5998" y="24782"/>
                  </a:cubicBezTo>
                  <a:cubicBezTo>
                    <a:pt x="6096" y="24777"/>
                    <a:pt x="6194" y="24768"/>
                    <a:pt x="6291" y="24757"/>
                  </a:cubicBezTo>
                  <a:cubicBezTo>
                    <a:pt x="6485" y="24735"/>
                    <a:pt x="6675" y="24703"/>
                    <a:pt x="6843" y="24634"/>
                  </a:cubicBezTo>
                  <a:cubicBezTo>
                    <a:pt x="7012" y="24575"/>
                    <a:pt x="7164" y="24436"/>
                    <a:pt x="7234" y="24266"/>
                  </a:cubicBezTo>
                  <a:cubicBezTo>
                    <a:pt x="7306" y="24099"/>
                    <a:pt x="7327" y="23918"/>
                    <a:pt x="7327" y="23725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186"/>
                    <a:pt x="7330" y="23186"/>
                    <a:pt x="7330" y="23186"/>
                  </a:cubicBezTo>
                  <a:cubicBezTo>
                    <a:pt x="7327" y="22611"/>
                    <a:pt x="7324" y="22041"/>
                    <a:pt x="7321" y="21479"/>
                  </a:cubicBezTo>
                  <a:cubicBezTo>
                    <a:pt x="7313" y="20354"/>
                    <a:pt x="7306" y="19250"/>
                    <a:pt x="7299" y="18175"/>
                  </a:cubicBezTo>
                  <a:cubicBezTo>
                    <a:pt x="7295" y="17642"/>
                    <a:pt x="7291" y="17114"/>
                    <a:pt x="7287" y="16594"/>
                  </a:cubicBezTo>
                  <a:cubicBezTo>
                    <a:pt x="7293" y="16122"/>
                    <a:pt x="7411" y="15660"/>
                    <a:pt x="7621" y="15253"/>
                  </a:cubicBezTo>
                  <a:cubicBezTo>
                    <a:pt x="7829" y="14842"/>
                    <a:pt x="8128" y="14486"/>
                    <a:pt x="8479" y="14214"/>
                  </a:cubicBezTo>
                  <a:cubicBezTo>
                    <a:pt x="8830" y="13938"/>
                    <a:pt x="9235" y="13747"/>
                    <a:pt x="9653" y="13652"/>
                  </a:cubicBezTo>
                  <a:cubicBezTo>
                    <a:pt x="9862" y="13603"/>
                    <a:pt x="10074" y="13579"/>
                    <a:pt x="10285" y="13576"/>
                  </a:cubicBezTo>
                  <a:cubicBezTo>
                    <a:pt x="10504" y="13574"/>
                    <a:pt x="10722" y="13585"/>
                    <a:pt x="10936" y="13607"/>
                  </a:cubicBezTo>
                  <a:cubicBezTo>
                    <a:pt x="11364" y="13652"/>
                    <a:pt x="11777" y="13744"/>
                    <a:pt x="12171" y="13872"/>
                  </a:cubicBezTo>
                  <a:cubicBezTo>
                    <a:pt x="12959" y="14129"/>
                    <a:pt x="13662" y="14521"/>
                    <a:pt x="14288" y="14941"/>
                  </a:cubicBezTo>
                  <a:cubicBezTo>
                    <a:pt x="14916" y="15365"/>
                    <a:pt x="15471" y="15817"/>
                    <a:pt x="15976" y="16248"/>
                  </a:cubicBezTo>
                  <a:cubicBezTo>
                    <a:pt x="16481" y="16683"/>
                    <a:pt x="16937" y="17097"/>
                    <a:pt x="17357" y="17469"/>
                  </a:cubicBezTo>
                  <a:cubicBezTo>
                    <a:pt x="17774" y="17842"/>
                    <a:pt x="18164" y="18167"/>
                    <a:pt x="18503" y="18446"/>
                  </a:cubicBezTo>
                  <a:cubicBezTo>
                    <a:pt x="19023" y="18881"/>
                    <a:pt x="19326" y="19126"/>
                    <a:pt x="19639" y="19376"/>
                  </a:cubicBezTo>
                  <a:cubicBezTo>
                    <a:pt x="20570" y="20123"/>
                    <a:pt x="20899" y="20301"/>
                    <a:pt x="20529" y="19887"/>
                  </a:cubicBezTo>
                  <a:cubicBezTo>
                    <a:pt x="20142" y="19515"/>
                    <a:pt x="19773" y="19160"/>
                    <a:pt x="19270" y="18677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38">
              <a:extLst>
                <a:ext uri="{FF2B5EF4-FFF2-40B4-BE49-F238E27FC236}">
                  <a16:creationId xmlns:a16="http://schemas.microsoft.com/office/drawing/2014/main" id="{6AF14836-2E8E-48DC-92D6-2ABF406101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5415 w 51688"/>
                <a:gd name="T43" fmla="*/ 1838 h 25918"/>
                <a:gd name="T44" fmla="*/ 8570 w 51688"/>
                <a:gd name="T45" fmla="*/ 2470 h 25918"/>
                <a:gd name="T46" fmla="*/ 10305 w 51688"/>
                <a:gd name="T47" fmla="*/ 3841 h 25918"/>
                <a:gd name="T48" fmla="*/ 15418 w 51688"/>
                <a:gd name="T49" fmla="*/ 8605 h 25918"/>
                <a:gd name="T50" fmla="*/ 18027 w 51688"/>
                <a:gd name="T51" fmla="*/ 10592 h 25918"/>
                <a:gd name="T52" fmla="*/ 31601 w 51688"/>
                <a:gd name="T53" fmla="*/ 11637 h 25918"/>
                <a:gd name="T54" fmla="*/ 37074 w 51688"/>
                <a:gd name="T55" fmla="*/ 7875 h 25918"/>
                <a:gd name="T56" fmla="*/ 43442 w 51688"/>
                <a:gd name="T57" fmla="*/ 1444 h 25918"/>
                <a:gd name="T58" fmla="*/ 44433 w 51688"/>
                <a:gd name="T59" fmla="*/ 867 h 25918"/>
                <a:gd name="T60" fmla="*/ 41873 w 51688"/>
                <a:gd name="T61" fmla="*/ 2007 h 25918"/>
                <a:gd name="T62" fmla="*/ 34512 w 51688"/>
                <a:gd name="T63" fmla="*/ 8591 h 25918"/>
                <a:gd name="T64" fmla="*/ 18064 w 51688"/>
                <a:gd name="T65" fmla="*/ 8699 h 25918"/>
                <a:gd name="T66" fmla="*/ 16455 w 51688"/>
                <a:gd name="T67" fmla="*/ 7314 h 25918"/>
                <a:gd name="T68" fmla="*/ 11277 w 51688"/>
                <a:gd name="T69" fmla="*/ 2358 h 25918"/>
                <a:gd name="T70" fmla="*/ 9968 w 51688"/>
                <a:gd name="T71" fmla="*/ 1251 h 25918"/>
                <a:gd name="T72" fmla="*/ 6274 w 51688"/>
                <a:gd name="T73" fmla="*/ 41 h 25918"/>
                <a:gd name="T74" fmla="*/ 1317 w 51688"/>
                <a:gd name="T75" fmla="*/ 0 h 25918"/>
                <a:gd name="T76" fmla="*/ 11 w 51688"/>
                <a:gd name="T77" fmla="*/ 17772 h 25918"/>
                <a:gd name="T78" fmla="*/ 0 w 51688"/>
                <a:gd name="T79" fmla="*/ 21416 h 25918"/>
                <a:gd name="T80" fmla="*/ 1005 w 51688"/>
                <a:gd name="T81" fmla="*/ 23958 h 25918"/>
                <a:gd name="T82" fmla="*/ 5092 w 51688"/>
                <a:gd name="T83" fmla="*/ 25916 h 25918"/>
                <a:gd name="T84" fmla="*/ 6511 w 51688"/>
                <a:gd name="T85" fmla="*/ 25895 h 25918"/>
                <a:gd name="T86" fmla="*/ 8198 w 51688"/>
                <a:gd name="T87" fmla="*/ 25276 h 25918"/>
                <a:gd name="T88" fmla="*/ 8502 w 51688"/>
                <a:gd name="T89" fmla="*/ 23762 h 25918"/>
                <a:gd name="T90" fmla="*/ 8557 w 51688"/>
                <a:gd name="T91" fmla="*/ 16688 h 25918"/>
                <a:gd name="T92" fmla="*/ 10853 w 51688"/>
                <a:gd name="T93" fmla="*/ 14797 h 25918"/>
                <a:gd name="T94" fmla="*/ 15826 w 51688"/>
                <a:gd name="T95" fmla="*/ 17211 h 25918"/>
                <a:gd name="T96" fmla="*/ 21145 w 51688"/>
                <a:gd name="T97" fmla="*/ 21991 h 25918"/>
                <a:gd name="T98" fmla="*/ 27122 w 51688"/>
                <a:gd name="T99" fmla="*/ 24126 h 25918"/>
                <a:gd name="T100" fmla="*/ 33687 w 51688"/>
                <a:gd name="T101" fmla="*/ 19580 h 25918"/>
                <a:gd name="T102" fmla="*/ 36635 w 51688"/>
                <a:gd name="T103" fmla="*/ 16860 h 25918"/>
                <a:gd name="T104" fmla="*/ 41719 w 51688"/>
                <a:gd name="T105" fmla="*/ 14653 h 25918"/>
                <a:gd name="T106" fmla="*/ 43934 w 51688"/>
                <a:gd name="T107" fmla="*/ 17121 h 25918"/>
                <a:gd name="T108" fmla="*/ 43997 w 51688"/>
                <a:gd name="T109" fmla="*/ 21110 h 25918"/>
                <a:gd name="T110" fmla="*/ 45236 w 51688"/>
                <a:gd name="T111" fmla="*/ 23985 h 25918"/>
                <a:gd name="T112" fmla="*/ 49854 w 51688"/>
                <a:gd name="T113" fmla="*/ 25433 h 25918"/>
                <a:gd name="T114" fmla="*/ 51257 w 51688"/>
                <a:gd name="T115" fmla="*/ 2517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864"/>
                    <a:pt x="2000" y="1839"/>
                    <a:pt x="2090" y="1839"/>
                  </a:cubicBezTo>
                  <a:cubicBezTo>
                    <a:pt x="2180" y="1839"/>
                    <a:pt x="347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909" y="1105"/>
                    <a:pt x="43958" y="1079"/>
                  </a:cubicBezTo>
                  <a:cubicBezTo>
                    <a:pt x="43981" y="1066"/>
                    <a:pt x="44373" y="898"/>
                    <a:pt x="44433" y="867"/>
                  </a:cubicBezTo>
                  <a:cubicBezTo>
                    <a:pt x="44584" y="783"/>
                    <a:pt x="44236" y="653"/>
                    <a:pt x="43958" y="663"/>
                  </a:cubicBezTo>
                  <a:cubicBezTo>
                    <a:pt x="43680" y="672"/>
                    <a:pt x="43386" y="771"/>
                    <a:pt x="43286" y="836"/>
                  </a:cubicBezTo>
                  <a:cubicBezTo>
                    <a:pt x="43096" y="959"/>
                    <a:pt x="42853" y="1201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51" y="0"/>
                    <a:pt x="96" y="874"/>
                    <a:pt x="96" y="1210"/>
                  </a:cubicBezTo>
                  <a:cubicBezTo>
                    <a:pt x="96" y="1545"/>
                    <a:pt x="82" y="3462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39">
              <a:extLst>
                <a:ext uri="{FF2B5EF4-FFF2-40B4-BE49-F238E27FC236}">
                  <a16:creationId xmlns:a16="http://schemas.microsoft.com/office/drawing/2014/main" id="{A594E9E1-4054-400B-9ECC-A7B5BD157B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412137" y="19151600"/>
              <a:ext cx="192400238" cy="96275525"/>
            </a:xfrm>
            <a:custGeom>
              <a:avLst/>
              <a:gdLst>
                <a:gd name="T0" fmla="*/ 51227 w 51304"/>
                <a:gd name="T1" fmla="*/ 21984 h 25671"/>
                <a:gd name="T2" fmla="*/ 50896 w 51304"/>
                <a:gd name="T3" fmla="*/ 22934 h 25671"/>
                <a:gd name="T4" fmla="*/ 50845 w 51304"/>
                <a:gd name="T5" fmla="*/ 23767 h 25671"/>
                <a:gd name="T6" fmla="*/ 50418 w 51304"/>
                <a:gd name="T7" fmla="*/ 24434 h 25671"/>
                <a:gd name="T8" fmla="*/ 48957 w 51304"/>
                <a:gd name="T9" fmla="*/ 24450 h 25671"/>
                <a:gd name="T10" fmla="*/ 47352 w 51304"/>
                <a:gd name="T11" fmla="*/ 24093 h 25671"/>
                <a:gd name="T12" fmla="*/ 45066 w 51304"/>
                <a:gd name="T13" fmla="*/ 20519 h 25671"/>
                <a:gd name="T14" fmla="*/ 45007 w 51304"/>
                <a:gd name="T15" fmla="*/ 16059 h 25671"/>
                <a:gd name="T16" fmla="*/ 41247 w 51304"/>
                <a:gd name="T17" fmla="*/ 13062 h 25671"/>
                <a:gd name="T18" fmla="*/ 32977 w 51304"/>
                <a:gd name="T19" fmla="*/ 17784 h 25671"/>
                <a:gd name="T20" fmla="*/ 28720 w 51304"/>
                <a:gd name="T21" fmla="*/ 21371 h 25671"/>
                <a:gd name="T22" fmla="*/ 23145 w 51304"/>
                <a:gd name="T23" fmla="*/ 21262 h 25671"/>
                <a:gd name="T24" fmla="*/ 18779 w 51304"/>
                <a:gd name="T25" fmla="*/ 17460 h 25671"/>
                <a:gd name="T26" fmla="*/ 12183 w 51304"/>
                <a:gd name="T27" fmla="*/ 12999 h 25671"/>
                <a:gd name="T28" fmla="*/ 8276 w 51304"/>
                <a:gd name="T29" fmla="*/ 13641 h 25671"/>
                <a:gd name="T30" fmla="*/ 6547 w 51304"/>
                <a:gd name="T31" fmla="*/ 17003 h 25671"/>
                <a:gd name="T32" fmla="*/ 6558 w 51304"/>
                <a:gd name="T33" fmla="*/ 23790 h 25671"/>
                <a:gd name="T34" fmla="*/ 6182 w 51304"/>
                <a:gd name="T35" fmla="*/ 23963 h 25671"/>
                <a:gd name="T36" fmla="*/ 4939 w 51304"/>
                <a:gd name="T37" fmla="*/ 23978 h 25671"/>
                <a:gd name="T38" fmla="*/ 1686 w 51304"/>
                <a:gd name="T39" fmla="*/ 21486 h 25671"/>
                <a:gd name="T40" fmla="*/ 1670 w 51304"/>
                <a:gd name="T41" fmla="*/ 18403 h 25671"/>
                <a:gd name="T42" fmla="*/ 5462 w 51304"/>
                <a:gd name="T43" fmla="*/ 1545 h 25671"/>
                <a:gd name="T44" fmla="*/ 6853 w 51304"/>
                <a:gd name="T45" fmla="*/ 1621 h 25671"/>
                <a:gd name="T46" fmla="*/ 10321 w 51304"/>
                <a:gd name="T47" fmla="*/ 3594 h 25671"/>
                <a:gd name="T48" fmla="*/ 15079 w 51304"/>
                <a:gd name="T49" fmla="*/ 8001 h 25671"/>
                <a:gd name="T50" fmla="*/ 22415 w 51304"/>
                <a:gd name="T51" fmla="*/ 12022 h 25671"/>
                <a:gd name="T52" fmla="*/ 35193 w 51304"/>
                <a:gd name="T53" fmla="*/ 9144 h 25671"/>
                <a:gd name="T54" fmla="*/ 38644 w 51304"/>
                <a:gd name="T55" fmla="*/ 5676 h 25671"/>
                <a:gd name="T56" fmla="*/ 38608 w 51304"/>
                <a:gd name="T57" fmla="*/ 5316 h 25671"/>
                <a:gd name="T58" fmla="*/ 35007 w 51304"/>
                <a:gd name="T59" fmla="*/ 8337 h 25671"/>
                <a:gd name="T60" fmla="*/ 19876 w 51304"/>
                <a:gd name="T61" fmla="*/ 9816 h 25671"/>
                <a:gd name="T62" fmla="*/ 10700 w 51304"/>
                <a:gd name="T63" fmla="*/ 1961 h 25671"/>
                <a:gd name="T64" fmla="*/ 1246 w 51304"/>
                <a:gd name="T65" fmla="*/ 0 h 25671"/>
                <a:gd name="T66" fmla="*/ 1 w 51304"/>
                <a:gd name="T67" fmla="*/ 20794 h 25671"/>
                <a:gd name="T68" fmla="*/ 2175 w 51304"/>
                <a:gd name="T69" fmla="*/ 24786 h 25671"/>
                <a:gd name="T70" fmla="*/ 5478 w 51304"/>
                <a:gd name="T71" fmla="*/ 25671 h 25671"/>
                <a:gd name="T72" fmla="*/ 6619 w 51304"/>
                <a:gd name="T73" fmla="*/ 25631 h 25671"/>
                <a:gd name="T74" fmla="*/ 8202 w 51304"/>
                <a:gd name="T75" fmla="*/ 24575 h 25671"/>
                <a:gd name="T76" fmla="*/ 8252 w 51304"/>
                <a:gd name="T77" fmla="*/ 23446 h 25671"/>
                <a:gd name="T78" fmla="*/ 8253 w 51304"/>
                <a:gd name="T79" fmla="*/ 17036 h 25671"/>
                <a:gd name="T80" fmla="*/ 9588 w 51304"/>
                <a:gd name="T81" fmla="*/ 14825 h 25671"/>
                <a:gd name="T82" fmla="*/ 11057 w 51304"/>
                <a:gd name="T83" fmla="*/ 14549 h 25671"/>
                <a:gd name="T84" fmla="*/ 17864 w 51304"/>
                <a:gd name="T85" fmla="*/ 18877 h 25671"/>
                <a:gd name="T86" fmla="*/ 24961 w 51304"/>
                <a:gd name="T87" fmla="*/ 23846 h 25671"/>
                <a:gd name="T88" fmla="*/ 31626 w 51304"/>
                <a:gd name="T89" fmla="*/ 20994 h 25671"/>
                <a:gd name="T90" fmla="*/ 36096 w 51304"/>
                <a:gd name="T91" fmla="*/ 16843 h 25671"/>
                <a:gd name="T92" fmla="*/ 41234 w 51304"/>
                <a:gd name="T93" fmla="*/ 14288 h 25671"/>
                <a:gd name="T94" fmla="*/ 43955 w 51304"/>
                <a:gd name="T95" fmla="*/ 16317 h 25671"/>
                <a:gd name="T96" fmla="*/ 44179 w 51304"/>
                <a:gd name="T97" fmla="*/ 21228 h 25671"/>
                <a:gd name="T98" fmla="*/ 44984 w 51304"/>
                <a:gd name="T99" fmla="*/ 23266 h 25671"/>
                <a:gd name="T100" fmla="*/ 49556 w 51304"/>
                <a:gd name="T101" fmla="*/ 25025 h 25671"/>
                <a:gd name="T102" fmla="*/ 50989 w 51304"/>
                <a:gd name="T103" fmla="*/ 24822 h 25671"/>
                <a:gd name="T104" fmla="*/ 51278 w 51304"/>
                <a:gd name="T105" fmla="*/ 23556 h 25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304" h="25671">
                  <a:moveTo>
                    <a:pt x="51278" y="23556"/>
                  </a:moveTo>
                  <a:cubicBezTo>
                    <a:pt x="51276" y="23471"/>
                    <a:pt x="51273" y="23386"/>
                    <a:pt x="51271" y="23303"/>
                  </a:cubicBezTo>
                  <a:cubicBezTo>
                    <a:pt x="51266" y="23139"/>
                    <a:pt x="51261" y="22979"/>
                    <a:pt x="51256" y="22826"/>
                  </a:cubicBezTo>
                  <a:cubicBezTo>
                    <a:pt x="51246" y="22523"/>
                    <a:pt x="51236" y="22240"/>
                    <a:pt x="51227" y="21984"/>
                  </a:cubicBezTo>
                  <a:cubicBezTo>
                    <a:pt x="51186" y="20902"/>
                    <a:pt x="51143" y="20417"/>
                    <a:pt x="51103" y="20693"/>
                  </a:cubicBezTo>
                  <a:cubicBezTo>
                    <a:pt x="51083" y="20839"/>
                    <a:pt x="51061" y="20754"/>
                    <a:pt x="51042" y="20886"/>
                  </a:cubicBezTo>
                  <a:cubicBezTo>
                    <a:pt x="51006" y="21032"/>
                    <a:pt x="50975" y="21493"/>
                    <a:pt x="50943" y="22050"/>
                  </a:cubicBezTo>
                  <a:cubicBezTo>
                    <a:pt x="50928" y="22335"/>
                    <a:pt x="50912" y="22634"/>
                    <a:pt x="50896" y="22934"/>
                  </a:cubicBezTo>
                  <a:cubicBezTo>
                    <a:pt x="50887" y="23083"/>
                    <a:pt x="50879" y="23231"/>
                    <a:pt x="50870" y="23379"/>
                  </a:cubicBezTo>
                  <a:cubicBezTo>
                    <a:pt x="50867" y="23449"/>
                    <a:pt x="50862" y="23522"/>
                    <a:pt x="50858" y="23592"/>
                  </a:cubicBezTo>
                  <a:cubicBezTo>
                    <a:pt x="50856" y="23624"/>
                    <a:pt x="50854" y="23659"/>
                    <a:pt x="50851" y="23691"/>
                  </a:cubicBezTo>
                  <a:cubicBezTo>
                    <a:pt x="50850" y="23716"/>
                    <a:pt x="50847" y="23742"/>
                    <a:pt x="50845" y="23767"/>
                  </a:cubicBezTo>
                  <a:cubicBezTo>
                    <a:pt x="50841" y="23826"/>
                    <a:pt x="50840" y="23882"/>
                    <a:pt x="50836" y="23938"/>
                  </a:cubicBezTo>
                  <a:cubicBezTo>
                    <a:pt x="50830" y="24063"/>
                    <a:pt x="50832" y="24192"/>
                    <a:pt x="50759" y="24297"/>
                  </a:cubicBezTo>
                  <a:cubicBezTo>
                    <a:pt x="50722" y="24347"/>
                    <a:pt x="50670" y="24387"/>
                    <a:pt x="50607" y="24403"/>
                  </a:cubicBezTo>
                  <a:cubicBezTo>
                    <a:pt x="50546" y="24420"/>
                    <a:pt x="50481" y="24427"/>
                    <a:pt x="50418" y="24434"/>
                  </a:cubicBezTo>
                  <a:cubicBezTo>
                    <a:pt x="50353" y="24439"/>
                    <a:pt x="50288" y="24443"/>
                    <a:pt x="50223" y="24445"/>
                  </a:cubicBezTo>
                  <a:cubicBezTo>
                    <a:pt x="50155" y="24448"/>
                    <a:pt x="50086" y="24450"/>
                    <a:pt x="50016" y="24450"/>
                  </a:cubicBezTo>
                  <a:cubicBezTo>
                    <a:pt x="49830" y="24456"/>
                    <a:pt x="49637" y="24457"/>
                    <a:pt x="49433" y="24456"/>
                  </a:cubicBezTo>
                  <a:cubicBezTo>
                    <a:pt x="49287" y="24454"/>
                    <a:pt x="49116" y="24450"/>
                    <a:pt x="48957" y="24450"/>
                  </a:cubicBezTo>
                  <a:cubicBezTo>
                    <a:pt x="48885" y="24448"/>
                    <a:pt x="48822" y="24447"/>
                    <a:pt x="48757" y="24441"/>
                  </a:cubicBezTo>
                  <a:cubicBezTo>
                    <a:pt x="48692" y="24438"/>
                    <a:pt x="48627" y="24432"/>
                    <a:pt x="48561" y="24425"/>
                  </a:cubicBezTo>
                  <a:cubicBezTo>
                    <a:pt x="48429" y="24410"/>
                    <a:pt x="48296" y="24385"/>
                    <a:pt x="48162" y="24356"/>
                  </a:cubicBezTo>
                  <a:cubicBezTo>
                    <a:pt x="47893" y="24297"/>
                    <a:pt x="47621" y="24209"/>
                    <a:pt x="47352" y="24093"/>
                  </a:cubicBezTo>
                  <a:cubicBezTo>
                    <a:pt x="46815" y="23861"/>
                    <a:pt x="46284" y="23520"/>
                    <a:pt x="45848" y="23064"/>
                  </a:cubicBezTo>
                  <a:cubicBezTo>
                    <a:pt x="45541" y="22743"/>
                    <a:pt x="45289" y="22362"/>
                    <a:pt x="45156" y="21951"/>
                  </a:cubicBezTo>
                  <a:cubicBezTo>
                    <a:pt x="45090" y="21746"/>
                    <a:pt x="45055" y="21533"/>
                    <a:pt x="45055" y="21318"/>
                  </a:cubicBezTo>
                  <a:cubicBezTo>
                    <a:pt x="45058" y="21055"/>
                    <a:pt x="45063" y="20790"/>
                    <a:pt x="45066" y="20519"/>
                  </a:cubicBezTo>
                  <a:cubicBezTo>
                    <a:pt x="45083" y="19430"/>
                    <a:pt x="45101" y="18293"/>
                    <a:pt x="45119" y="17110"/>
                  </a:cubicBezTo>
                  <a:cubicBezTo>
                    <a:pt x="45120" y="17041"/>
                    <a:pt x="45122" y="16942"/>
                    <a:pt x="45119" y="16856"/>
                  </a:cubicBezTo>
                  <a:cubicBezTo>
                    <a:pt x="45115" y="16767"/>
                    <a:pt x="45109" y="16679"/>
                    <a:pt x="45100" y="16591"/>
                  </a:cubicBezTo>
                  <a:cubicBezTo>
                    <a:pt x="45081" y="16412"/>
                    <a:pt x="45050" y="16235"/>
                    <a:pt x="45007" y="16059"/>
                  </a:cubicBezTo>
                  <a:cubicBezTo>
                    <a:pt x="44918" y="15707"/>
                    <a:pt x="44781" y="15363"/>
                    <a:pt x="44596" y="15042"/>
                  </a:cubicBezTo>
                  <a:cubicBezTo>
                    <a:pt x="44226" y="14398"/>
                    <a:pt x="43662" y="13843"/>
                    <a:pt x="42966" y="13487"/>
                  </a:cubicBezTo>
                  <a:cubicBezTo>
                    <a:pt x="42619" y="13309"/>
                    <a:pt x="42239" y="13181"/>
                    <a:pt x="41846" y="13114"/>
                  </a:cubicBezTo>
                  <a:cubicBezTo>
                    <a:pt x="41648" y="13082"/>
                    <a:pt x="41447" y="13064"/>
                    <a:pt x="41247" y="13062"/>
                  </a:cubicBezTo>
                  <a:cubicBezTo>
                    <a:pt x="41060" y="13060"/>
                    <a:pt x="40872" y="13066"/>
                    <a:pt x="40685" y="13080"/>
                  </a:cubicBezTo>
                  <a:cubicBezTo>
                    <a:pt x="39934" y="13134"/>
                    <a:pt x="39188" y="13327"/>
                    <a:pt x="38493" y="13619"/>
                  </a:cubicBezTo>
                  <a:cubicBezTo>
                    <a:pt x="37442" y="14059"/>
                    <a:pt x="36487" y="14717"/>
                    <a:pt x="35592" y="15451"/>
                  </a:cubicBezTo>
                  <a:cubicBezTo>
                    <a:pt x="34695" y="16183"/>
                    <a:pt x="33852" y="17005"/>
                    <a:pt x="32977" y="17784"/>
                  </a:cubicBezTo>
                  <a:cubicBezTo>
                    <a:pt x="32751" y="17981"/>
                    <a:pt x="32524" y="18181"/>
                    <a:pt x="32295" y="18381"/>
                  </a:cubicBezTo>
                  <a:cubicBezTo>
                    <a:pt x="32066" y="18585"/>
                    <a:pt x="31835" y="18790"/>
                    <a:pt x="31603" y="18998"/>
                  </a:cubicBezTo>
                  <a:cubicBezTo>
                    <a:pt x="31141" y="19411"/>
                    <a:pt x="30676" y="19827"/>
                    <a:pt x="30198" y="20233"/>
                  </a:cubicBezTo>
                  <a:cubicBezTo>
                    <a:pt x="29720" y="20637"/>
                    <a:pt x="29232" y="21028"/>
                    <a:pt x="28720" y="21371"/>
                  </a:cubicBezTo>
                  <a:cubicBezTo>
                    <a:pt x="28209" y="21713"/>
                    <a:pt x="27674" y="22005"/>
                    <a:pt x="27122" y="22182"/>
                  </a:cubicBezTo>
                  <a:cubicBezTo>
                    <a:pt x="26680" y="22321"/>
                    <a:pt x="26231" y="22382"/>
                    <a:pt x="25783" y="22355"/>
                  </a:cubicBezTo>
                  <a:cubicBezTo>
                    <a:pt x="25335" y="22326"/>
                    <a:pt x="24888" y="22207"/>
                    <a:pt x="24446" y="22016"/>
                  </a:cubicBezTo>
                  <a:cubicBezTo>
                    <a:pt x="24005" y="21823"/>
                    <a:pt x="23570" y="21562"/>
                    <a:pt x="23145" y="21262"/>
                  </a:cubicBezTo>
                  <a:cubicBezTo>
                    <a:pt x="22720" y="20961"/>
                    <a:pt x="22303" y="20622"/>
                    <a:pt x="21890" y="20269"/>
                  </a:cubicBezTo>
                  <a:cubicBezTo>
                    <a:pt x="21064" y="19557"/>
                    <a:pt x="20248" y="18779"/>
                    <a:pt x="19395" y="18019"/>
                  </a:cubicBezTo>
                  <a:cubicBezTo>
                    <a:pt x="19083" y="17739"/>
                    <a:pt x="19083" y="17739"/>
                    <a:pt x="19083" y="17739"/>
                  </a:cubicBezTo>
                  <a:cubicBezTo>
                    <a:pt x="18779" y="17460"/>
                    <a:pt x="18779" y="17460"/>
                    <a:pt x="18779" y="17460"/>
                  </a:cubicBezTo>
                  <a:cubicBezTo>
                    <a:pt x="18167" y="16886"/>
                    <a:pt x="18167" y="16886"/>
                    <a:pt x="18167" y="16886"/>
                  </a:cubicBezTo>
                  <a:cubicBezTo>
                    <a:pt x="17756" y="16499"/>
                    <a:pt x="17338" y="16104"/>
                    <a:pt x="16902" y="15718"/>
                  </a:cubicBezTo>
                  <a:cubicBezTo>
                    <a:pt x="16029" y="14950"/>
                    <a:pt x="15078" y="14200"/>
                    <a:pt x="13963" y="13641"/>
                  </a:cubicBezTo>
                  <a:cubicBezTo>
                    <a:pt x="13406" y="13363"/>
                    <a:pt x="12809" y="13138"/>
                    <a:pt x="12183" y="12999"/>
                  </a:cubicBezTo>
                  <a:cubicBezTo>
                    <a:pt x="11870" y="12930"/>
                    <a:pt x="11551" y="12882"/>
                    <a:pt x="11231" y="12858"/>
                  </a:cubicBezTo>
                  <a:cubicBezTo>
                    <a:pt x="11070" y="12846"/>
                    <a:pt x="10909" y="12838"/>
                    <a:pt x="10748" y="12837"/>
                  </a:cubicBezTo>
                  <a:cubicBezTo>
                    <a:pt x="10578" y="12835"/>
                    <a:pt x="10396" y="12846"/>
                    <a:pt x="10221" y="12867"/>
                  </a:cubicBezTo>
                  <a:cubicBezTo>
                    <a:pt x="9515" y="12950"/>
                    <a:pt x="8839" y="13226"/>
                    <a:pt x="8276" y="13641"/>
                  </a:cubicBezTo>
                  <a:cubicBezTo>
                    <a:pt x="7712" y="14055"/>
                    <a:pt x="7256" y="14607"/>
                    <a:pt x="6956" y="15236"/>
                  </a:cubicBezTo>
                  <a:cubicBezTo>
                    <a:pt x="6806" y="15550"/>
                    <a:pt x="6695" y="15884"/>
                    <a:pt x="6628" y="16226"/>
                  </a:cubicBezTo>
                  <a:cubicBezTo>
                    <a:pt x="6594" y="16398"/>
                    <a:pt x="6570" y="16569"/>
                    <a:pt x="6558" y="16744"/>
                  </a:cubicBezTo>
                  <a:cubicBezTo>
                    <a:pt x="6552" y="16829"/>
                    <a:pt x="6548" y="16917"/>
                    <a:pt x="6547" y="17003"/>
                  </a:cubicBezTo>
                  <a:cubicBezTo>
                    <a:pt x="6547" y="17220"/>
                    <a:pt x="6547" y="17220"/>
                    <a:pt x="6547" y="17220"/>
                  </a:cubicBezTo>
                  <a:cubicBezTo>
                    <a:pt x="6548" y="17773"/>
                    <a:pt x="6549" y="18325"/>
                    <a:pt x="6549" y="18875"/>
                  </a:cubicBezTo>
                  <a:cubicBezTo>
                    <a:pt x="6552" y="20269"/>
                    <a:pt x="6554" y="21668"/>
                    <a:pt x="6556" y="23069"/>
                  </a:cubicBezTo>
                  <a:cubicBezTo>
                    <a:pt x="6556" y="23311"/>
                    <a:pt x="6557" y="23549"/>
                    <a:pt x="6558" y="23790"/>
                  </a:cubicBezTo>
                  <a:cubicBezTo>
                    <a:pt x="6558" y="23832"/>
                    <a:pt x="6555" y="23880"/>
                    <a:pt x="6521" y="23911"/>
                  </a:cubicBezTo>
                  <a:cubicBezTo>
                    <a:pt x="6487" y="23940"/>
                    <a:pt x="6440" y="23942"/>
                    <a:pt x="6397" y="23949"/>
                  </a:cubicBezTo>
                  <a:cubicBezTo>
                    <a:pt x="6333" y="23954"/>
                    <a:pt x="6333" y="23954"/>
                    <a:pt x="6333" y="23954"/>
                  </a:cubicBezTo>
                  <a:cubicBezTo>
                    <a:pt x="6182" y="23963"/>
                    <a:pt x="6182" y="23963"/>
                    <a:pt x="6182" y="23963"/>
                  </a:cubicBezTo>
                  <a:cubicBezTo>
                    <a:pt x="6018" y="23971"/>
                    <a:pt x="5850" y="23976"/>
                    <a:pt x="5681" y="23978"/>
                  </a:cubicBezTo>
                  <a:cubicBezTo>
                    <a:pt x="5166" y="23981"/>
                    <a:pt x="5166" y="23981"/>
                    <a:pt x="5166" y="23981"/>
                  </a:cubicBezTo>
                  <a:cubicBezTo>
                    <a:pt x="5042" y="23981"/>
                    <a:pt x="5042" y="23981"/>
                    <a:pt x="5042" y="23981"/>
                  </a:cubicBezTo>
                  <a:cubicBezTo>
                    <a:pt x="5007" y="23981"/>
                    <a:pt x="4973" y="23980"/>
                    <a:pt x="4939" y="23978"/>
                  </a:cubicBezTo>
                  <a:cubicBezTo>
                    <a:pt x="4870" y="23974"/>
                    <a:pt x="4801" y="23971"/>
                    <a:pt x="4731" y="23962"/>
                  </a:cubicBezTo>
                  <a:cubicBezTo>
                    <a:pt x="4173" y="23900"/>
                    <a:pt x="3599" y="23689"/>
                    <a:pt x="3100" y="23379"/>
                  </a:cubicBezTo>
                  <a:cubicBezTo>
                    <a:pt x="2601" y="23071"/>
                    <a:pt x="2172" y="22654"/>
                    <a:pt x="1921" y="22193"/>
                  </a:cubicBezTo>
                  <a:cubicBezTo>
                    <a:pt x="1796" y="21962"/>
                    <a:pt x="1715" y="21724"/>
                    <a:pt x="1686" y="21486"/>
                  </a:cubicBezTo>
                  <a:cubicBezTo>
                    <a:pt x="1678" y="21426"/>
                    <a:pt x="1673" y="21367"/>
                    <a:pt x="1673" y="21307"/>
                  </a:cubicBezTo>
                  <a:cubicBezTo>
                    <a:pt x="1672" y="21057"/>
                    <a:pt x="1672" y="21057"/>
                    <a:pt x="1672" y="21057"/>
                  </a:cubicBezTo>
                  <a:cubicBezTo>
                    <a:pt x="1672" y="20527"/>
                    <a:pt x="1672" y="20527"/>
                    <a:pt x="1672" y="20527"/>
                  </a:cubicBezTo>
                  <a:cubicBezTo>
                    <a:pt x="1671" y="19818"/>
                    <a:pt x="1671" y="19111"/>
                    <a:pt x="1670" y="18403"/>
                  </a:cubicBezTo>
                  <a:cubicBezTo>
                    <a:pt x="1665" y="12851"/>
                    <a:pt x="1656" y="2017"/>
                    <a:pt x="1656" y="1785"/>
                  </a:cubicBezTo>
                  <a:cubicBezTo>
                    <a:pt x="1656" y="1552"/>
                    <a:pt x="1756" y="1551"/>
                    <a:pt x="1888" y="1551"/>
                  </a:cubicBezTo>
                  <a:cubicBezTo>
                    <a:pt x="2019" y="1551"/>
                    <a:pt x="3257" y="1549"/>
                    <a:pt x="3939" y="1548"/>
                  </a:cubicBezTo>
                  <a:cubicBezTo>
                    <a:pt x="4446" y="1547"/>
                    <a:pt x="4954" y="1546"/>
                    <a:pt x="5462" y="1545"/>
                  </a:cubicBezTo>
                  <a:cubicBezTo>
                    <a:pt x="5842" y="1544"/>
                    <a:pt x="5842" y="1544"/>
                    <a:pt x="5842" y="1544"/>
                  </a:cubicBezTo>
                  <a:cubicBezTo>
                    <a:pt x="6032" y="1544"/>
                    <a:pt x="6032" y="1544"/>
                    <a:pt x="6032" y="1544"/>
                  </a:cubicBezTo>
                  <a:cubicBezTo>
                    <a:pt x="6191" y="1549"/>
                    <a:pt x="6191" y="1549"/>
                    <a:pt x="6191" y="1549"/>
                  </a:cubicBezTo>
                  <a:cubicBezTo>
                    <a:pt x="6413" y="1559"/>
                    <a:pt x="6634" y="1584"/>
                    <a:pt x="6853" y="1621"/>
                  </a:cubicBezTo>
                  <a:cubicBezTo>
                    <a:pt x="7727" y="1767"/>
                    <a:pt x="8561" y="2128"/>
                    <a:pt x="9264" y="2656"/>
                  </a:cubicBezTo>
                  <a:cubicBezTo>
                    <a:pt x="9353" y="2721"/>
                    <a:pt x="9439" y="2790"/>
                    <a:pt x="9523" y="2861"/>
                  </a:cubicBezTo>
                  <a:cubicBezTo>
                    <a:pt x="9610" y="2934"/>
                    <a:pt x="9677" y="2994"/>
                    <a:pt x="9774" y="3086"/>
                  </a:cubicBezTo>
                  <a:cubicBezTo>
                    <a:pt x="9957" y="3255"/>
                    <a:pt x="10139" y="3425"/>
                    <a:pt x="10321" y="3594"/>
                  </a:cubicBezTo>
                  <a:cubicBezTo>
                    <a:pt x="10685" y="3931"/>
                    <a:pt x="11047" y="4267"/>
                    <a:pt x="11407" y="4602"/>
                  </a:cubicBezTo>
                  <a:cubicBezTo>
                    <a:pt x="12126" y="5268"/>
                    <a:pt x="12837" y="5926"/>
                    <a:pt x="13534" y="6573"/>
                  </a:cubicBezTo>
                  <a:cubicBezTo>
                    <a:pt x="13882" y="6895"/>
                    <a:pt x="14227" y="7215"/>
                    <a:pt x="14570" y="7531"/>
                  </a:cubicBezTo>
                  <a:cubicBezTo>
                    <a:pt x="14740" y="7689"/>
                    <a:pt x="14910" y="7846"/>
                    <a:pt x="15079" y="8001"/>
                  </a:cubicBezTo>
                  <a:cubicBezTo>
                    <a:pt x="15158" y="8075"/>
                    <a:pt x="15237" y="8148"/>
                    <a:pt x="15316" y="8221"/>
                  </a:cubicBezTo>
                  <a:cubicBezTo>
                    <a:pt x="15402" y="8304"/>
                    <a:pt x="15489" y="8387"/>
                    <a:pt x="15577" y="8470"/>
                  </a:cubicBezTo>
                  <a:cubicBezTo>
                    <a:pt x="16277" y="9122"/>
                    <a:pt x="17026" y="9687"/>
                    <a:pt x="17793" y="10161"/>
                  </a:cubicBezTo>
                  <a:cubicBezTo>
                    <a:pt x="19329" y="11113"/>
                    <a:pt x="20932" y="11699"/>
                    <a:pt x="22415" y="12022"/>
                  </a:cubicBezTo>
                  <a:cubicBezTo>
                    <a:pt x="23690" y="12299"/>
                    <a:pt x="24941" y="12404"/>
                    <a:pt x="26148" y="12379"/>
                  </a:cubicBezTo>
                  <a:cubicBezTo>
                    <a:pt x="27356" y="12352"/>
                    <a:pt x="28527" y="12195"/>
                    <a:pt x="29650" y="11913"/>
                  </a:cubicBezTo>
                  <a:cubicBezTo>
                    <a:pt x="30847" y="11614"/>
                    <a:pt x="31924" y="11185"/>
                    <a:pt x="32850" y="10698"/>
                  </a:cubicBezTo>
                  <a:cubicBezTo>
                    <a:pt x="33779" y="10211"/>
                    <a:pt x="34558" y="9669"/>
                    <a:pt x="35193" y="9144"/>
                  </a:cubicBezTo>
                  <a:cubicBezTo>
                    <a:pt x="35510" y="8882"/>
                    <a:pt x="35791" y="8626"/>
                    <a:pt x="36040" y="8381"/>
                  </a:cubicBezTo>
                  <a:cubicBezTo>
                    <a:pt x="36276" y="8145"/>
                    <a:pt x="36493" y="7927"/>
                    <a:pt x="36689" y="7728"/>
                  </a:cubicBezTo>
                  <a:cubicBezTo>
                    <a:pt x="37071" y="7341"/>
                    <a:pt x="37356" y="7044"/>
                    <a:pt x="37531" y="6852"/>
                  </a:cubicBezTo>
                  <a:cubicBezTo>
                    <a:pt x="38004" y="6364"/>
                    <a:pt x="38370" y="5976"/>
                    <a:pt x="38644" y="5676"/>
                  </a:cubicBezTo>
                  <a:cubicBezTo>
                    <a:pt x="38679" y="5636"/>
                    <a:pt x="38713" y="5598"/>
                    <a:pt x="38746" y="5561"/>
                  </a:cubicBezTo>
                  <a:cubicBezTo>
                    <a:pt x="38977" y="5305"/>
                    <a:pt x="39127" y="5124"/>
                    <a:pt x="39197" y="5020"/>
                  </a:cubicBezTo>
                  <a:cubicBezTo>
                    <a:pt x="39268" y="4915"/>
                    <a:pt x="39277" y="4867"/>
                    <a:pt x="39161" y="4935"/>
                  </a:cubicBezTo>
                  <a:cubicBezTo>
                    <a:pt x="39027" y="5015"/>
                    <a:pt x="38866" y="5119"/>
                    <a:pt x="38608" y="5316"/>
                  </a:cubicBezTo>
                  <a:cubicBezTo>
                    <a:pt x="38279" y="5567"/>
                    <a:pt x="37834" y="5929"/>
                    <a:pt x="37244" y="6429"/>
                  </a:cubicBezTo>
                  <a:cubicBezTo>
                    <a:pt x="36951" y="6679"/>
                    <a:pt x="36619" y="6963"/>
                    <a:pt x="36249" y="7286"/>
                  </a:cubicBezTo>
                  <a:cubicBezTo>
                    <a:pt x="36062" y="7448"/>
                    <a:pt x="35866" y="7619"/>
                    <a:pt x="35661" y="7797"/>
                  </a:cubicBezTo>
                  <a:cubicBezTo>
                    <a:pt x="35459" y="7975"/>
                    <a:pt x="35241" y="8155"/>
                    <a:pt x="35007" y="8337"/>
                  </a:cubicBezTo>
                  <a:cubicBezTo>
                    <a:pt x="34067" y="9063"/>
                    <a:pt x="32846" y="9823"/>
                    <a:pt x="31255" y="10402"/>
                  </a:cubicBezTo>
                  <a:cubicBezTo>
                    <a:pt x="29669" y="10978"/>
                    <a:pt x="27703" y="11362"/>
                    <a:pt x="25427" y="11242"/>
                  </a:cubicBezTo>
                  <a:cubicBezTo>
                    <a:pt x="25081" y="11207"/>
                    <a:pt x="24334" y="11158"/>
                    <a:pt x="23346" y="10965"/>
                  </a:cubicBezTo>
                  <a:cubicBezTo>
                    <a:pt x="22359" y="10774"/>
                    <a:pt x="21130" y="10426"/>
                    <a:pt x="19876" y="9816"/>
                  </a:cubicBezTo>
                  <a:cubicBezTo>
                    <a:pt x="19250" y="9514"/>
                    <a:pt x="18620" y="9147"/>
                    <a:pt x="18014" y="8720"/>
                  </a:cubicBezTo>
                  <a:cubicBezTo>
                    <a:pt x="17408" y="8294"/>
                    <a:pt x="16826" y="7807"/>
                    <a:pt x="16294" y="7273"/>
                  </a:cubicBezTo>
                  <a:cubicBezTo>
                    <a:pt x="15142" y="6181"/>
                    <a:pt x="13996" y="5093"/>
                    <a:pt x="12954" y="4106"/>
                  </a:cubicBezTo>
                  <a:cubicBezTo>
                    <a:pt x="12195" y="3383"/>
                    <a:pt x="11444" y="2669"/>
                    <a:pt x="10700" y="1961"/>
                  </a:cubicBezTo>
                  <a:cubicBezTo>
                    <a:pt x="9873" y="1181"/>
                    <a:pt x="8868" y="610"/>
                    <a:pt x="7785" y="303"/>
                  </a:cubicBezTo>
                  <a:cubicBezTo>
                    <a:pt x="7243" y="149"/>
                    <a:pt x="6687" y="61"/>
                    <a:pt x="6124" y="39"/>
                  </a:cubicBezTo>
                  <a:cubicBezTo>
                    <a:pt x="5614" y="35"/>
                    <a:pt x="5104" y="30"/>
                    <a:pt x="4593" y="25"/>
                  </a:cubicBezTo>
                  <a:cubicBezTo>
                    <a:pt x="3479" y="18"/>
                    <a:pt x="2118" y="0"/>
                    <a:pt x="1246" y="0"/>
                  </a:cubicBezTo>
                  <a:cubicBezTo>
                    <a:pt x="374" y="0"/>
                    <a:pt x="97" y="503"/>
                    <a:pt x="97" y="1138"/>
                  </a:cubicBezTo>
                  <a:cubicBezTo>
                    <a:pt x="97" y="1773"/>
                    <a:pt x="76" y="4185"/>
                    <a:pt x="67" y="5741"/>
                  </a:cubicBezTo>
                  <a:cubicBezTo>
                    <a:pt x="54" y="8177"/>
                    <a:pt x="41" y="10618"/>
                    <a:pt x="27" y="13148"/>
                  </a:cubicBezTo>
                  <a:cubicBezTo>
                    <a:pt x="19" y="15633"/>
                    <a:pt x="10" y="18190"/>
                    <a:pt x="1" y="20794"/>
                  </a:cubicBezTo>
                  <a:cubicBezTo>
                    <a:pt x="1" y="20958"/>
                    <a:pt x="1" y="21120"/>
                    <a:pt x="0" y="21286"/>
                  </a:cubicBezTo>
                  <a:cubicBezTo>
                    <a:pt x="1" y="21502"/>
                    <a:pt x="21" y="21720"/>
                    <a:pt x="64" y="21931"/>
                  </a:cubicBezTo>
                  <a:cubicBezTo>
                    <a:pt x="145" y="22357"/>
                    <a:pt x="307" y="22755"/>
                    <a:pt x="515" y="23110"/>
                  </a:cubicBezTo>
                  <a:cubicBezTo>
                    <a:pt x="936" y="23823"/>
                    <a:pt x="1524" y="24369"/>
                    <a:pt x="2175" y="24786"/>
                  </a:cubicBezTo>
                  <a:cubicBezTo>
                    <a:pt x="2830" y="25198"/>
                    <a:pt x="3559" y="25489"/>
                    <a:pt x="4348" y="25613"/>
                  </a:cubicBezTo>
                  <a:cubicBezTo>
                    <a:pt x="4545" y="25644"/>
                    <a:pt x="4746" y="25662"/>
                    <a:pt x="4951" y="25669"/>
                  </a:cubicBezTo>
                  <a:cubicBezTo>
                    <a:pt x="5223" y="25671"/>
                    <a:pt x="5223" y="25671"/>
                    <a:pt x="5223" y="25671"/>
                  </a:cubicBezTo>
                  <a:cubicBezTo>
                    <a:pt x="5478" y="25671"/>
                    <a:pt x="5478" y="25671"/>
                    <a:pt x="5478" y="25671"/>
                  </a:cubicBezTo>
                  <a:cubicBezTo>
                    <a:pt x="5650" y="25669"/>
                    <a:pt x="5823" y="25667"/>
                    <a:pt x="5997" y="25662"/>
                  </a:cubicBezTo>
                  <a:cubicBezTo>
                    <a:pt x="6262" y="25653"/>
                    <a:pt x="6262" y="25653"/>
                    <a:pt x="6262" y="25653"/>
                  </a:cubicBezTo>
                  <a:cubicBezTo>
                    <a:pt x="6398" y="25646"/>
                    <a:pt x="6398" y="25646"/>
                    <a:pt x="6398" y="25646"/>
                  </a:cubicBezTo>
                  <a:cubicBezTo>
                    <a:pt x="6471" y="25642"/>
                    <a:pt x="6546" y="25637"/>
                    <a:pt x="6619" y="25631"/>
                  </a:cubicBezTo>
                  <a:cubicBezTo>
                    <a:pt x="6912" y="25606"/>
                    <a:pt x="7209" y="25570"/>
                    <a:pt x="7459" y="25467"/>
                  </a:cubicBezTo>
                  <a:cubicBezTo>
                    <a:pt x="7583" y="25415"/>
                    <a:pt x="7696" y="25350"/>
                    <a:pt x="7800" y="25262"/>
                  </a:cubicBezTo>
                  <a:cubicBezTo>
                    <a:pt x="7904" y="25173"/>
                    <a:pt x="7994" y="25065"/>
                    <a:pt x="8059" y="24948"/>
                  </a:cubicBezTo>
                  <a:cubicBezTo>
                    <a:pt x="8125" y="24832"/>
                    <a:pt x="8170" y="24708"/>
                    <a:pt x="8202" y="24575"/>
                  </a:cubicBezTo>
                  <a:cubicBezTo>
                    <a:pt x="8217" y="24510"/>
                    <a:pt x="8229" y="24441"/>
                    <a:pt x="8237" y="24369"/>
                  </a:cubicBezTo>
                  <a:cubicBezTo>
                    <a:pt x="8240" y="24297"/>
                    <a:pt x="8241" y="24223"/>
                    <a:pt x="8242" y="24149"/>
                  </a:cubicBezTo>
                  <a:cubicBezTo>
                    <a:pt x="8252" y="23709"/>
                    <a:pt x="8252" y="23709"/>
                    <a:pt x="8252" y="23709"/>
                  </a:cubicBezTo>
                  <a:cubicBezTo>
                    <a:pt x="8252" y="23446"/>
                    <a:pt x="8252" y="23446"/>
                    <a:pt x="8252" y="23446"/>
                  </a:cubicBezTo>
                  <a:cubicBezTo>
                    <a:pt x="8253" y="22775"/>
                    <a:pt x="8253" y="22106"/>
                    <a:pt x="8254" y="21434"/>
                  </a:cubicBezTo>
                  <a:cubicBezTo>
                    <a:pt x="8254" y="20094"/>
                    <a:pt x="8253" y="18751"/>
                    <a:pt x="8253" y="17409"/>
                  </a:cubicBezTo>
                  <a:cubicBezTo>
                    <a:pt x="8253" y="17159"/>
                    <a:pt x="8253" y="17159"/>
                    <a:pt x="8253" y="17159"/>
                  </a:cubicBezTo>
                  <a:cubicBezTo>
                    <a:pt x="8253" y="17036"/>
                    <a:pt x="8253" y="17036"/>
                    <a:pt x="8253" y="17036"/>
                  </a:cubicBezTo>
                  <a:cubicBezTo>
                    <a:pt x="8254" y="17005"/>
                    <a:pt x="8254" y="16975"/>
                    <a:pt x="8255" y="16944"/>
                  </a:cubicBezTo>
                  <a:cubicBezTo>
                    <a:pt x="8261" y="16818"/>
                    <a:pt x="8275" y="16695"/>
                    <a:pt x="8298" y="16573"/>
                  </a:cubicBezTo>
                  <a:cubicBezTo>
                    <a:pt x="8346" y="16327"/>
                    <a:pt x="8430" y="16091"/>
                    <a:pt x="8547" y="15871"/>
                  </a:cubicBezTo>
                  <a:cubicBezTo>
                    <a:pt x="8781" y="15429"/>
                    <a:pt x="9152" y="15058"/>
                    <a:pt x="9588" y="14825"/>
                  </a:cubicBezTo>
                  <a:cubicBezTo>
                    <a:pt x="9806" y="14708"/>
                    <a:pt x="10040" y="14625"/>
                    <a:pt x="10280" y="14580"/>
                  </a:cubicBezTo>
                  <a:cubicBezTo>
                    <a:pt x="10399" y="14557"/>
                    <a:pt x="10521" y="14544"/>
                    <a:pt x="10643" y="14540"/>
                  </a:cubicBezTo>
                  <a:cubicBezTo>
                    <a:pt x="10700" y="14539"/>
                    <a:pt x="10774" y="14539"/>
                    <a:pt x="10845" y="14540"/>
                  </a:cubicBezTo>
                  <a:cubicBezTo>
                    <a:pt x="10915" y="14542"/>
                    <a:pt x="10986" y="14544"/>
                    <a:pt x="11057" y="14549"/>
                  </a:cubicBezTo>
                  <a:cubicBezTo>
                    <a:pt x="11622" y="14587"/>
                    <a:pt x="12181" y="14723"/>
                    <a:pt x="12720" y="14939"/>
                  </a:cubicBezTo>
                  <a:cubicBezTo>
                    <a:pt x="13804" y="15372"/>
                    <a:pt x="14799" y="16113"/>
                    <a:pt x="15742" y="16933"/>
                  </a:cubicBezTo>
                  <a:cubicBezTo>
                    <a:pt x="16215" y="17346"/>
                    <a:pt x="16679" y="17779"/>
                    <a:pt x="17149" y="18219"/>
                  </a:cubicBezTo>
                  <a:cubicBezTo>
                    <a:pt x="17384" y="18437"/>
                    <a:pt x="17622" y="18659"/>
                    <a:pt x="17864" y="18877"/>
                  </a:cubicBezTo>
                  <a:cubicBezTo>
                    <a:pt x="18104" y="19090"/>
                    <a:pt x="18342" y="19301"/>
                    <a:pt x="18580" y="19512"/>
                  </a:cubicBezTo>
                  <a:cubicBezTo>
                    <a:pt x="19519" y="20346"/>
                    <a:pt x="20434" y="21212"/>
                    <a:pt x="21439" y="22011"/>
                  </a:cubicBezTo>
                  <a:cubicBezTo>
                    <a:pt x="21944" y="22407"/>
                    <a:pt x="22473" y="22790"/>
                    <a:pt x="23055" y="23116"/>
                  </a:cubicBezTo>
                  <a:cubicBezTo>
                    <a:pt x="23634" y="23440"/>
                    <a:pt x="24275" y="23711"/>
                    <a:pt x="24961" y="23846"/>
                  </a:cubicBezTo>
                  <a:cubicBezTo>
                    <a:pt x="25645" y="23985"/>
                    <a:pt x="26367" y="23976"/>
                    <a:pt x="27032" y="23830"/>
                  </a:cubicBezTo>
                  <a:cubicBezTo>
                    <a:pt x="27702" y="23686"/>
                    <a:pt x="28308" y="23421"/>
                    <a:pt x="28852" y="23112"/>
                  </a:cubicBezTo>
                  <a:cubicBezTo>
                    <a:pt x="29396" y="22804"/>
                    <a:pt x="29883" y="22452"/>
                    <a:pt x="30339" y="22092"/>
                  </a:cubicBezTo>
                  <a:cubicBezTo>
                    <a:pt x="30793" y="21731"/>
                    <a:pt x="31217" y="21361"/>
                    <a:pt x="31626" y="20994"/>
                  </a:cubicBezTo>
                  <a:cubicBezTo>
                    <a:pt x="32034" y="20626"/>
                    <a:pt x="32426" y="20262"/>
                    <a:pt x="32811" y="19905"/>
                  </a:cubicBezTo>
                  <a:cubicBezTo>
                    <a:pt x="33002" y="19728"/>
                    <a:pt x="33193" y="19553"/>
                    <a:pt x="33382" y="19378"/>
                  </a:cubicBezTo>
                  <a:cubicBezTo>
                    <a:pt x="33574" y="19205"/>
                    <a:pt x="33765" y="19030"/>
                    <a:pt x="33954" y="18859"/>
                  </a:cubicBezTo>
                  <a:cubicBezTo>
                    <a:pt x="34720" y="18152"/>
                    <a:pt x="35408" y="17460"/>
                    <a:pt x="36096" y="16843"/>
                  </a:cubicBezTo>
                  <a:cubicBezTo>
                    <a:pt x="36740" y="16264"/>
                    <a:pt x="37383" y="15749"/>
                    <a:pt x="38041" y="15336"/>
                  </a:cubicBezTo>
                  <a:cubicBezTo>
                    <a:pt x="38697" y="14923"/>
                    <a:pt x="39367" y="14620"/>
                    <a:pt x="40031" y="14454"/>
                  </a:cubicBezTo>
                  <a:cubicBezTo>
                    <a:pt x="40358" y="14371"/>
                    <a:pt x="40681" y="14320"/>
                    <a:pt x="40998" y="14299"/>
                  </a:cubicBezTo>
                  <a:cubicBezTo>
                    <a:pt x="41077" y="14295"/>
                    <a:pt x="41155" y="14290"/>
                    <a:pt x="41234" y="14288"/>
                  </a:cubicBezTo>
                  <a:cubicBezTo>
                    <a:pt x="41309" y="14288"/>
                    <a:pt x="41376" y="14288"/>
                    <a:pt x="41447" y="14292"/>
                  </a:cubicBezTo>
                  <a:cubicBezTo>
                    <a:pt x="41586" y="14299"/>
                    <a:pt x="41724" y="14319"/>
                    <a:pt x="41859" y="14346"/>
                  </a:cubicBezTo>
                  <a:cubicBezTo>
                    <a:pt x="42394" y="14461"/>
                    <a:pt x="42865" y="14737"/>
                    <a:pt x="43221" y="15092"/>
                  </a:cubicBezTo>
                  <a:cubicBezTo>
                    <a:pt x="43579" y="15446"/>
                    <a:pt x="43825" y="15877"/>
                    <a:pt x="43955" y="16317"/>
                  </a:cubicBezTo>
                  <a:cubicBezTo>
                    <a:pt x="44020" y="16536"/>
                    <a:pt x="44057" y="16762"/>
                    <a:pt x="44068" y="16982"/>
                  </a:cubicBezTo>
                  <a:cubicBezTo>
                    <a:pt x="44074" y="17238"/>
                    <a:pt x="44081" y="17489"/>
                    <a:pt x="44087" y="17737"/>
                  </a:cubicBezTo>
                  <a:cubicBezTo>
                    <a:pt x="44114" y="18733"/>
                    <a:pt x="44138" y="19658"/>
                    <a:pt x="44161" y="20559"/>
                  </a:cubicBezTo>
                  <a:cubicBezTo>
                    <a:pt x="44167" y="20783"/>
                    <a:pt x="44174" y="21006"/>
                    <a:pt x="44179" y="21228"/>
                  </a:cubicBezTo>
                  <a:cubicBezTo>
                    <a:pt x="44181" y="21279"/>
                    <a:pt x="44183" y="21351"/>
                    <a:pt x="44188" y="21412"/>
                  </a:cubicBezTo>
                  <a:cubicBezTo>
                    <a:pt x="44192" y="21475"/>
                    <a:pt x="44199" y="21540"/>
                    <a:pt x="44208" y="21603"/>
                  </a:cubicBezTo>
                  <a:cubicBezTo>
                    <a:pt x="44226" y="21729"/>
                    <a:pt x="44251" y="21854"/>
                    <a:pt x="44286" y="21975"/>
                  </a:cubicBezTo>
                  <a:cubicBezTo>
                    <a:pt x="44421" y="22461"/>
                    <a:pt x="44673" y="22894"/>
                    <a:pt x="44984" y="23266"/>
                  </a:cubicBezTo>
                  <a:cubicBezTo>
                    <a:pt x="45504" y="23884"/>
                    <a:pt x="46224" y="24380"/>
                    <a:pt x="47027" y="24697"/>
                  </a:cubicBezTo>
                  <a:cubicBezTo>
                    <a:pt x="47430" y="24856"/>
                    <a:pt x="47855" y="24969"/>
                    <a:pt x="48288" y="25022"/>
                  </a:cubicBezTo>
                  <a:cubicBezTo>
                    <a:pt x="48505" y="25047"/>
                    <a:pt x="48728" y="25056"/>
                    <a:pt x="48940" y="25049"/>
                  </a:cubicBezTo>
                  <a:cubicBezTo>
                    <a:pt x="49147" y="25043"/>
                    <a:pt x="49351" y="25036"/>
                    <a:pt x="49556" y="25025"/>
                  </a:cubicBezTo>
                  <a:cubicBezTo>
                    <a:pt x="49657" y="25020"/>
                    <a:pt x="49759" y="25014"/>
                    <a:pt x="49861" y="25009"/>
                  </a:cubicBezTo>
                  <a:cubicBezTo>
                    <a:pt x="49965" y="25000"/>
                    <a:pt x="50070" y="24993"/>
                    <a:pt x="50174" y="24986"/>
                  </a:cubicBezTo>
                  <a:cubicBezTo>
                    <a:pt x="50405" y="24964"/>
                    <a:pt x="50636" y="24939"/>
                    <a:pt x="50841" y="24879"/>
                  </a:cubicBezTo>
                  <a:cubicBezTo>
                    <a:pt x="50892" y="24863"/>
                    <a:pt x="50942" y="24845"/>
                    <a:pt x="50989" y="24822"/>
                  </a:cubicBezTo>
                  <a:cubicBezTo>
                    <a:pt x="51036" y="24798"/>
                    <a:pt x="51079" y="24764"/>
                    <a:pt x="51117" y="24726"/>
                  </a:cubicBezTo>
                  <a:cubicBezTo>
                    <a:pt x="51193" y="24650"/>
                    <a:pt x="51237" y="24549"/>
                    <a:pt x="51260" y="24450"/>
                  </a:cubicBezTo>
                  <a:cubicBezTo>
                    <a:pt x="51304" y="24248"/>
                    <a:pt x="51285" y="24035"/>
                    <a:pt x="51284" y="23835"/>
                  </a:cubicBezTo>
                  <a:cubicBezTo>
                    <a:pt x="51281" y="23742"/>
                    <a:pt x="51280" y="23648"/>
                    <a:pt x="51278" y="2355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40">
              <a:extLst>
                <a:ext uri="{FF2B5EF4-FFF2-40B4-BE49-F238E27FC236}">
                  <a16:creationId xmlns:a16="http://schemas.microsoft.com/office/drawing/2014/main" id="{5028AFA3-83A4-4551-846D-0EDB2EA21B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38 w 46525"/>
                <a:gd name="T3" fmla="*/ 21302 h 25428"/>
                <a:gd name="T4" fmla="*/ 44248 w 46525"/>
                <a:gd name="T5" fmla="*/ 18713 h 25428"/>
                <a:gd name="T6" fmla="*/ 44198 w 46525"/>
                <a:gd name="T7" fmla="*/ 16820 h 25428"/>
                <a:gd name="T8" fmla="*/ 43209 w 46525"/>
                <a:gd name="T9" fmla="*/ 14732 h 25428"/>
                <a:gd name="T10" fmla="*/ 41000 w 46525"/>
                <a:gd name="T11" fmla="*/ 13928 h 25428"/>
                <a:gd name="T12" fmla="*/ 36673 w 46525"/>
                <a:gd name="T13" fmla="*/ 15821 h 25428"/>
                <a:gd name="T14" fmla="*/ 31594 w 46525"/>
                <a:gd name="T15" fmla="*/ 20500 h 25428"/>
                <a:gd name="T16" fmla="*/ 27186 w 46525"/>
                <a:gd name="T17" fmla="*/ 23435 h 25428"/>
                <a:gd name="T18" fmla="*/ 22870 w 46525"/>
                <a:gd name="T19" fmla="*/ 22741 h 25428"/>
                <a:gd name="T20" fmla="*/ 18427 w 46525"/>
                <a:gd name="T21" fmla="*/ 19131 h 25428"/>
                <a:gd name="T22" fmla="*/ 15190 w 46525"/>
                <a:gd name="T23" fmla="*/ 16239 h 25428"/>
                <a:gd name="T24" fmla="*/ 10883 w 46525"/>
                <a:gd name="T25" fmla="*/ 14279 h 25428"/>
                <a:gd name="T26" fmla="*/ 9150 w 46525"/>
                <a:gd name="T27" fmla="*/ 14730 h 25428"/>
                <a:gd name="T28" fmla="*/ 7993 w 46525"/>
                <a:gd name="T29" fmla="*/ 16935 h 25428"/>
                <a:gd name="T30" fmla="*/ 7995 w 46525"/>
                <a:gd name="T31" fmla="*/ 18300 h 25428"/>
                <a:gd name="T32" fmla="*/ 8002 w 46525"/>
                <a:gd name="T33" fmla="*/ 23415 h 25428"/>
                <a:gd name="T34" fmla="*/ 8001 w 46525"/>
                <a:gd name="T35" fmla="*/ 23646 h 25428"/>
                <a:gd name="T36" fmla="*/ 7908 w 46525"/>
                <a:gd name="T37" fmla="*/ 24587 h 25428"/>
                <a:gd name="T38" fmla="*/ 6120 w 46525"/>
                <a:gd name="T39" fmla="*/ 25410 h 25428"/>
                <a:gd name="T40" fmla="*/ 5092 w 46525"/>
                <a:gd name="T41" fmla="*/ 25428 h 25428"/>
                <a:gd name="T42" fmla="*/ 3723 w 46525"/>
                <a:gd name="T43" fmla="*/ 25264 h 25428"/>
                <a:gd name="T44" fmla="*/ 232 w 46525"/>
                <a:gd name="T45" fmla="*/ 22380 h 25428"/>
                <a:gd name="T46" fmla="*/ 0 w 46525"/>
                <a:gd name="T47" fmla="*/ 21138 h 25428"/>
                <a:gd name="T48" fmla="*/ 3 w 46525"/>
                <a:gd name="T49" fmla="*/ 19732 h 25428"/>
                <a:gd name="T50" fmla="*/ 1172 w 46525"/>
                <a:gd name="T51" fmla="*/ 0 h 25428"/>
                <a:gd name="T52" fmla="*/ 6138 w 46525"/>
                <a:gd name="T53" fmla="*/ 40 h 25428"/>
                <a:gd name="T54" fmla="*/ 7478 w 46525"/>
                <a:gd name="T55" fmla="*/ 250 h 25428"/>
                <a:gd name="T56" fmla="*/ 10550 w 46525"/>
                <a:gd name="T57" fmla="*/ 1974 h 25428"/>
                <a:gd name="T58" fmla="*/ 12103 w 46525"/>
                <a:gd name="T59" fmla="*/ 3460 h 25428"/>
                <a:gd name="T60" fmla="*/ 15899 w 46525"/>
                <a:gd name="T61" fmla="*/ 7099 h 25428"/>
                <a:gd name="T62" fmla="*/ 16518 w 46525"/>
                <a:gd name="T63" fmla="*/ 7699 h 25428"/>
                <a:gd name="T64" fmla="*/ 24413 w 46525"/>
                <a:gd name="T65" fmla="*/ 11240 h 25428"/>
                <a:gd name="T66" fmla="*/ 33252 w 46525"/>
                <a:gd name="T67" fmla="*/ 9663 h 25428"/>
                <a:gd name="T68" fmla="*/ 31776 w 46525"/>
                <a:gd name="T69" fmla="*/ 10761 h 25428"/>
                <a:gd name="T70" fmla="*/ 24737 w 46525"/>
                <a:gd name="T71" fmla="*/ 12098 h 25428"/>
                <a:gd name="T72" fmla="*/ 15373 w 46525"/>
                <a:gd name="T73" fmla="*/ 8037 h 25428"/>
                <a:gd name="T74" fmla="*/ 15133 w 46525"/>
                <a:gd name="T75" fmla="*/ 7811 h 25428"/>
                <a:gd name="T76" fmla="*/ 11552 w 46525"/>
                <a:gd name="T77" fmla="*/ 4476 h 25428"/>
                <a:gd name="T78" fmla="*/ 9726 w 46525"/>
                <a:gd name="T79" fmla="*/ 2773 h 25428"/>
                <a:gd name="T80" fmla="*/ 9481 w 46525"/>
                <a:gd name="T81" fmla="*/ 2558 h 25428"/>
                <a:gd name="T82" fmla="*/ 4383 w 46525"/>
                <a:gd name="T83" fmla="*/ 1236 h 25428"/>
                <a:gd name="T84" fmla="*/ 1401 w 46525"/>
                <a:gd name="T85" fmla="*/ 19072 h 25428"/>
                <a:gd name="T86" fmla="*/ 1408 w 46525"/>
                <a:gd name="T87" fmla="*/ 21014 h 25428"/>
                <a:gd name="T88" fmla="*/ 2150 w 46525"/>
                <a:gd name="T89" fmla="*/ 22770 h 25428"/>
                <a:gd name="T90" fmla="*/ 4852 w 46525"/>
                <a:gd name="T91" fmla="*/ 23987 h 25428"/>
                <a:gd name="T92" fmla="*/ 5638 w 46525"/>
                <a:gd name="T93" fmla="*/ 23980 h 25428"/>
                <a:gd name="T94" fmla="*/ 6271 w 46525"/>
                <a:gd name="T95" fmla="*/ 23951 h 25428"/>
                <a:gd name="T96" fmla="*/ 6527 w 46525"/>
                <a:gd name="T97" fmla="*/ 23854 h 25428"/>
                <a:gd name="T98" fmla="*/ 6511 w 46525"/>
                <a:gd name="T99" fmla="*/ 17404 h 25428"/>
                <a:gd name="T100" fmla="*/ 7014 w 46525"/>
                <a:gd name="T101" fmla="*/ 14932 h 25428"/>
                <a:gd name="T102" fmla="*/ 10633 w 46525"/>
                <a:gd name="T103" fmla="*/ 12779 h 25428"/>
                <a:gd name="T104" fmla="*/ 13931 w 46525"/>
                <a:gd name="T105" fmla="*/ 13628 h 25428"/>
                <a:gd name="T106" fmla="*/ 18455 w 46525"/>
                <a:gd name="T107" fmla="*/ 17222 h 25428"/>
                <a:gd name="T108" fmla="*/ 20887 w 46525"/>
                <a:gd name="T109" fmla="*/ 19441 h 25428"/>
                <a:gd name="T110" fmla="*/ 25829 w 46525"/>
                <a:gd name="T111" fmla="*/ 22317 h 25428"/>
                <a:gd name="T112" fmla="*/ 30470 w 46525"/>
                <a:gd name="T113" fmla="*/ 19910 h 25428"/>
                <a:gd name="T114" fmla="*/ 32789 w 46525"/>
                <a:gd name="T115" fmla="*/ 17876 h 25428"/>
                <a:gd name="T116" fmla="*/ 37500 w 46525"/>
                <a:gd name="T117" fmla="*/ 14056 h 25428"/>
                <a:gd name="T118" fmla="*/ 43119 w 46525"/>
                <a:gd name="T119" fmla="*/ 13639 h 25428"/>
                <a:gd name="T120" fmla="*/ 44875 w 46525"/>
                <a:gd name="T121" fmla="*/ 19688 h 25428"/>
                <a:gd name="T122" fmla="*/ 44856 w 46525"/>
                <a:gd name="T123" fmla="*/ 21421 h 25428"/>
                <a:gd name="T124" fmla="*/ 46280 w 46525"/>
                <a:gd name="T125" fmla="*/ 23599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525" h="25428">
                  <a:moveTo>
                    <a:pt x="46364" y="23837"/>
                  </a:move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497"/>
                    <a:pt x="93" y="1070"/>
                  </a:cubicBezTo>
                  <a:cubicBezTo>
                    <a:pt x="93" y="643"/>
                    <a:pt x="258" y="0"/>
                    <a:pt x="1172" y="0"/>
                  </a:cubicBezTo>
                  <a:cubicBezTo>
                    <a:pt x="2081" y="0"/>
                    <a:pt x="3400" y="13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2017" y="1245"/>
                    <a:pt x="1688" y="1245"/>
                  </a:cubicBezTo>
                  <a:cubicBezTo>
                    <a:pt x="1360" y="1245"/>
                    <a:pt x="1347" y="1468"/>
                    <a:pt x="1347" y="1590"/>
                  </a:cubicBezTo>
                  <a:cubicBezTo>
                    <a:pt x="1347" y="1712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ubicBezTo>
                    <a:pt x="46525" y="23872"/>
                    <a:pt x="46476" y="23875"/>
                    <a:pt x="46364" y="2383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41">
              <a:extLst>
                <a:ext uri="{FF2B5EF4-FFF2-40B4-BE49-F238E27FC236}">
                  <a16:creationId xmlns:a16="http://schemas.microsoft.com/office/drawing/2014/main" id="{9E7A3E46-FA23-484C-9B3A-821F6AAC78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7 w 36820"/>
                <a:gd name="T29" fmla="*/ 1406 h 25129"/>
                <a:gd name="T30" fmla="*/ 4890 w 36820"/>
                <a:gd name="T31" fmla="*/ 979 h 25129"/>
                <a:gd name="T32" fmla="*/ 6055 w 36820"/>
                <a:gd name="T33" fmla="*/ 990 h 25129"/>
                <a:gd name="T34" fmla="*/ 9525 w 36820"/>
                <a:gd name="T35" fmla="*/ 2439 h 25129"/>
                <a:gd name="T36" fmla="*/ 14951 w 36820"/>
                <a:gd name="T37" fmla="*/ 7491 h 25129"/>
                <a:gd name="T38" fmla="*/ 15349 w 36820"/>
                <a:gd name="T39" fmla="*/ 7866 h 25129"/>
                <a:gd name="T40" fmla="*/ 19828 w 36820"/>
                <a:gd name="T41" fmla="*/ 10768 h 25129"/>
                <a:gd name="T42" fmla="*/ 25667 w 36820"/>
                <a:gd name="T43" fmla="*/ 11755 h 25129"/>
                <a:gd name="T44" fmla="*/ 27175 w 36820"/>
                <a:gd name="T45" fmla="*/ 11422 h 25129"/>
                <a:gd name="T46" fmla="*/ 19925 w 36820"/>
                <a:gd name="T47" fmla="*/ 10078 h 25129"/>
                <a:gd name="T48" fmla="*/ 15813 w 36820"/>
                <a:gd name="T49" fmla="*/ 7218 h 25129"/>
                <a:gd name="T50" fmla="*/ 12067 w 36820"/>
                <a:gd name="T51" fmla="*/ 3623 h 25129"/>
                <a:gd name="T52" fmla="*/ 9771 w 36820"/>
                <a:gd name="T53" fmla="*/ 1472 h 25129"/>
                <a:gd name="T54" fmla="*/ 5986 w 36820"/>
                <a:gd name="T55" fmla="*/ 39 h 25129"/>
                <a:gd name="T56" fmla="*/ 5400 w 36820"/>
                <a:gd name="T57" fmla="*/ 27 h 25129"/>
                <a:gd name="T58" fmla="*/ 71 w 36820"/>
                <a:gd name="T59" fmla="*/ 993 h 25129"/>
                <a:gd name="T60" fmla="*/ 1 w 36820"/>
                <a:gd name="T61" fmla="*/ 20107 h 25129"/>
                <a:gd name="T62" fmla="*/ 32 w 36820"/>
                <a:gd name="T63" fmla="*/ 21470 h 25129"/>
                <a:gd name="T64" fmla="*/ 2779 w 36820"/>
                <a:gd name="T65" fmla="*/ 24682 h 25129"/>
                <a:gd name="T66" fmla="*/ 4684 w 36820"/>
                <a:gd name="T67" fmla="*/ 25127 h 25129"/>
                <a:gd name="T68" fmla="*/ 5826 w 36820"/>
                <a:gd name="T69" fmla="*/ 25114 h 25129"/>
                <a:gd name="T70" fmla="*/ 7084 w 36820"/>
                <a:gd name="T71" fmla="*/ 24932 h 25129"/>
                <a:gd name="T72" fmla="*/ 7660 w 36820"/>
                <a:gd name="T73" fmla="*/ 24067 h 25129"/>
                <a:gd name="T74" fmla="*/ 7660 w 36820"/>
                <a:gd name="T75" fmla="*/ 18425 h 25129"/>
                <a:gd name="T76" fmla="*/ 7731 w 36820"/>
                <a:gd name="T77" fmla="*/ 16128 h 25129"/>
                <a:gd name="T78" fmla="*/ 10204 w 36820"/>
                <a:gd name="T79" fmla="*/ 13959 h 25129"/>
                <a:gd name="T80" fmla="*/ 12766 w 36820"/>
                <a:gd name="T81" fmla="*/ 14442 h 25129"/>
                <a:gd name="T82" fmla="*/ 17826 w 36820"/>
                <a:gd name="T83" fmla="*/ 18324 h 25129"/>
                <a:gd name="T84" fmla="*/ 22447 w 36820"/>
                <a:gd name="T85" fmla="*/ 22172 h 25129"/>
                <a:gd name="T86" fmla="*/ 27714 w 36820"/>
                <a:gd name="T87" fmla="*/ 22778 h 25129"/>
                <a:gd name="T88" fmla="*/ 32962 w 36820"/>
                <a:gd name="T89" fmla="*/ 18513 h 25129"/>
                <a:gd name="T90" fmla="*/ 36667 w 36820"/>
                <a:gd name="T91" fmla="*/ 14875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2" y="10331"/>
                    <a:pt x="1067" y="1568"/>
                    <a:pt x="1067" y="1406"/>
                  </a:cubicBezTo>
                  <a:cubicBezTo>
                    <a:pt x="1067" y="1081"/>
                    <a:pt x="1164" y="988"/>
                    <a:pt x="1480" y="988"/>
                  </a:cubicBezTo>
                  <a:cubicBezTo>
                    <a:pt x="193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1826" y="0"/>
                    <a:pt x="1071" y="0"/>
                  </a:cubicBezTo>
                  <a:cubicBezTo>
                    <a:pt x="316" y="0"/>
                    <a:pt x="71" y="462"/>
                    <a:pt x="71" y="993"/>
                  </a:cubicBezTo>
                  <a:cubicBezTo>
                    <a:pt x="71" y="148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FFD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42">
              <a:extLst>
                <a:ext uri="{FF2B5EF4-FFF2-40B4-BE49-F238E27FC236}">
                  <a16:creationId xmlns:a16="http://schemas.microsoft.com/office/drawing/2014/main" id="{70540FCC-E309-4460-848A-13723DEDDB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503 w 20899"/>
                <a:gd name="T1" fmla="*/ 18446 h 24816"/>
                <a:gd name="T2" fmla="*/ 15976 w 20899"/>
                <a:gd name="T3" fmla="*/ 16248 h 24816"/>
                <a:gd name="T4" fmla="*/ 12171 w 20899"/>
                <a:gd name="T5" fmla="*/ 13872 h 24816"/>
                <a:gd name="T6" fmla="*/ 10285 w 20899"/>
                <a:gd name="T7" fmla="*/ 13576 h 24816"/>
                <a:gd name="T8" fmla="*/ 8479 w 20899"/>
                <a:gd name="T9" fmla="*/ 14214 h 24816"/>
                <a:gd name="T10" fmla="*/ 7287 w 20899"/>
                <a:gd name="T11" fmla="*/ 16594 h 24816"/>
                <a:gd name="T12" fmla="*/ 7321 w 20899"/>
                <a:gd name="T13" fmla="*/ 21479 h 24816"/>
                <a:gd name="T14" fmla="*/ 7331 w 20899"/>
                <a:gd name="T15" fmla="*/ 23294 h 24816"/>
                <a:gd name="T16" fmla="*/ 7327 w 20899"/>
                <a:gd name="T17" fmla="*/ 23725 h 24816"/>
                <a:gd name="T18" fmla="*/ 6843 w 20899"/>
                <a:gd name="T19" fmla="*/ 24634 h 24816"/>
                <a:gd name="T20" fmla="*/ 5998 w 20899"/>
                <a:gd name="T21" fmla="*/ 24782 h 24816"/>
                <a:gd name="T22" fmla="*/ 5305 w 20899"/>
                <a:gd name="T23" fmla="*/ 24811 h 24816"/>
                <a:gd name="T24" fmla="*/ 4633 w 20899"/>
                <a:gd name="T25" fmla="*/ 24816 h 24816"/>
                <a:gd name="T26" fmla="*/ 2519 w 20899"/>
                <a:gd name="T27" fmla="*/ 24311 h 24816"/>
                <a:gd name="T28" fmla="*/ 364 w 20899"/>
                <a:gd name="T29" fmla="*/ 22315 h 24816"/>
                <a:gd name="T30" fmla="*/ 12 w 20899"/>
                <a:gd name="T31" fmla="*/ 21057 h 24816"/>
                <a:gd name="T32" fmla="*/ 6 w 20899"/>
                <a:gd name="T33" fmla="*/ 20803 h 24816"/>
                <a:gd name="T34" fmla="*/ 4 w 20899"/>
                <a:gd name="T35" fmla="*/ 19416 h 24816"/>
                <a:gd name="T36" fmla="*/ 39 w 20899"/>
                <a:gd name="T37" fmla="*/ 2693 h 24816"/>
                <a:gd name="T38" fmla="*/ 969 w 20899"/>
                <a:gd name="T39" fmla="*/ 0 h 24816"/>
                <a:gd name="T40" fmla="*/ 4865 w 20899"/>
                <a:gd name="T41" fmla="*/ 22 h 24816"/>
                <a:gd name="T42" fmla="*/ 5488 w 20899"/>
                <a:gd name="T43" fmla="*/ 27 h 24816"/>
                <a:gd name="T44" fmla="*/ 5702 w 20899"/>
                <a:gd name="T45" fmla="*/ 30 h 24816"/>
                <a:gd name="T46" fmla="*/ 8881 w 20899"/>
                <a:gd name="T47" fmla="*/ 990 h 24816"/>
                <a:gd name="T48" fmla="*/ 10126 w 20899"/>
                <a:gd name="T49" fmla="*/ 1964 h 24816"/>
                <a:gd name="T50" fmla="*/ 14916 w 20899"/>
                <a:gd name="T51" fmla="*/ 6565 h 24816"/>
                <a:gd name="T52" fmla="*/ 15519 w 20899"/>
                <a:gd name="T53" fmla="*/ 7149 h 24816"/>
                <a:gd name="T54" fmla="*/ 17174 w 20899"/>
                <a:gd name="T55" fmla="*/ 8604 h 24816"/>
                <a:gd name="T56" fmla="*/ 20445 w 20899"/>
                <a:gd name="T57" fmla="*/ 10489 h 24816"/>
                <a:gd name="T58" fmla="*/ 20309 w 20899"/>
                <a:gd name="T59" fmla="*/ 10584 h 24816"/>
                <a:gd name="T60" fmla="*/ 18552 w 20899"/>
                <a:gd name="T61" fmla="*/ 9919 h 24816"/>
                <a:gd name="T62" fmla="*/ 15458 w 20899"/>
                <a:gd name="T63" fmla="*/ 7802 h 24816"/>
                <a:gd name="T64" fmla="*/ 15171 w 20899"/>
                <a:gd name="T65" fmla="*/ 7529 h 24816"/>
                <a:gd name="T66" fmla="*/ 15000 w 20899"/>
                <a:gd name="T67" fmla="*/ 7373 h 24816"/>
                <a:gd name="T68" fmla="*/ 13487 w 20899"/>
                <a:gd name="T69" fmla="*/ 5972 h 24816"/>
                <a:gd name="T70" fmla="*/ 9619 w 20899"/>
                <a:gd name="T71" fmla="*/ 2367 h 24816"/>
                <a:gd name="T72" fmla="*/ 6604 w 20899"/>
                <a:gd name="T73" fmla="*/ 823 h 24816"/>
                <a:gd name="T74" fmla="*/ 5295 w 20899"/>
                <a:gd name="T75" fmla="*/ 720 h 24816"/>
                <a:gd name="T76" fmla="*/ 1271 w 20899"/>
                <a:gd name="T77" fmla="*/ 729 h 24816"/>
                <a:gd name="T78" fmla="*/ 810 w 20899"/>
                <a:gd name="T79" fmla="*/ 10472 h 24816"/>
                <a:gd name="T80" fmla="*/ 869 w 20899"/>
                <a:gd name="T81" fmla="*/ 20931 h 24816"/>
                <a:gd name="T82" fmla="*/ 2799 w 20899"/>
                <a:gd name="T83" fmla="*/ 23486 h 24816"/>
                <a:gd name="T84" fmla="*/ 4472 w 20899"/>
                <a:gd name="T85" fmla="*/ 23956 h 24816"/>
                <a:gd name="T86" fmla="*/ 4774 w 20899"/>
                <a:gd name="T87" fmla="*/ 23960 h 24816"/>
                <a:gd name="T88" fmla="*/ 5730 w 20899"/>
                <a:gd name="T89" fmla="*/ 23945 h 24816"/>
                <a:gd name="T90" fmla="*/ 5979 w 20899"/>
                <a:gd name="T91" fmla="*/ 23933 h 24816"/>
                <a:gd name="T92" fmla="*/ 6349 w 20899"/>
                <a:gd name="T93" fmla="*/ 23873 h 24816"/>
                <a:gd name="T94" fmla="*/ 6495 w 20899"/>
                <a:gd name="T95" fmla="*/ 23550 h 24816"/>
                <a:gd name="T96" fmla="*/ 6526 w 20899"/>
                <a:gd name="T97" fmla="*/ 18358 h 24816"/>
                <a:gd name="T98" fmla="*/ 6538 w 20899"/>
                <a:gd name="T99" fmla="*/ 16843 h 24816"/>
                <a:gd name="T100" fmla="*/ 6544 w 20899"/>
                <a:gd name="T101" fmla="*/ 16529 h 24816"/>
                <a:gd name="T102" fmla="*/ 7957 w 20899"/>
                <a:gd name="T103" fmla="*/ 13747 h 24816"/>
                <a:gd name="T104" fmla="*/ 9723 w 20899"/>
                <a:gd name="T105" fmla="*/ 12968 h 24816"/>
                <a:gd name="T106" fmla="*/ 12823 w 20899"/>
                <a:gd name="T107" fmla="*/ 13479 h 24816"/>
                <a:gd name="T108" fmla="*/ 16704 w 20899"/>
                <a:gd name="T109" fmla="*/ 16252 h 24816"/>
                <a:gd name="T110" fmla="*/ 18726 w 20899"/>
                <a:gd name="T111" fmla="*/ 18165 h 24816"/>
                <a:gd name="T112" fmla="*/ 20529 w 20899"/>
                <a:gd name="T113" fmla="*/ 1988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899" h="24816">
                  <a:moveTo>
                    <a:pt x="19639" y="19376"/>
                  </a:moveTo>
                  <a:cubicBezTo>
                    <a:pt x="19326" y="19126"/>
                    <a:pt x="19023" y="18881"/>
                    <a:pt x="18503" y="18446"/>
                  </a:cubicBezTo>
                  <a:cubicBezTo>
                    <a:pt x="18164" y="18167"/>
                    <a:pt x="17774" y="17842"/>
                    <a:pt x="17357" y="17469"/>
                  </a:cubicBezTo>
                  <a:cubicBezTo>
                    <a:pt x="16937" y="17097"/>
                    <a:pt x="16481" y="16683"/>
                    <a:pt x="15976" y="16248"/>
                  </a:cubicBezTo>
                  <a:cubicBezTo>
                    <a:pt x="15471" y="15817"/>
                    <a:pt x="14916" y="15365"/>
                    <a:pt x="14288" y="14941"/>
                  </a:cubicBezTo>
                  <a:cubicBezTo>
                    <a:pt x="13662" y="14521"/>
                    <a:pt x="12959" y="14129"/>
                    <a:pt x="12171" y="13872"/>
                  </a:cubicBezTo>
                  <a:cubicBezTo>
                    <a:pt x="11777" y="13744"/>
                    <a:pt x="11364" y="13652"/>
                    <a:pt x="10936" y="13607"/>
                  </a:cubicBezTo>
                  <a:cubicBezTo>
                    <a:pt x="10722" y="13585"/>
                    <a:pt x="10504" y="13574"/>
                    <a:pt x="10285" y="13576"/>
                  </a:cubicBezTo>
                  <a:cubicBezTo>
                    <a:pt x="10074" y="13579"/>
                    <a:pt x="9862" y="13603"/>
                    <a:pt x="9653" y="13652"/>
                  </a:cubicBezTo>
                  <a:cubicBezTo>
                    <a:pt x="9235" y="13747"/>
                    <a:pt x="8830" y="13938"/>
                    <a:pt x="8479" y="14214"/>
                  </a:cubicBezTo>
                  <a:cubicBezTo>
                    <a:pt x="8128" y="14486"/>
                    <a:pt x="7829" y="14842"/>
                    <a:pt x="7621" y="15253"/>
                  </a:cubicBezTo>
                  <a:cubicBezTo>
                    <a:pt x="7411" y="15660"/>
                    <a:pt x="7293" y="16122"/>
                    <a:pt x="7287" y="16594"/>
                  </a:cubicBezTo>
                  <a:cubicBezTo>
                    <a:pt x="7291" y="17114"/>
                    <a:pt x="7295" y="17642"/>
                    <a:pt x="7299" y="18175"/>
                  </a:cubicBezTo>
                  <a:cubicBezTo>
                    <a:pt x="7306" y="19250"/>
                    <a:pt x="7313" y="20354"/>
                    <a:pt x="7321" y="21479"/>
                  </a:cubicBezTo>
                  <a:cubicBezTo>
                    <a:pt x="7324" y="22041"/>
                    <a:pt x="7327" y="22611"/>
                    <a:pt x="7330" y="23186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27" y="23725"/>
                    <a:pt x="7327" y="23725"/>
                    <a:pt x="7327" y="23725"/>
                  </a:cubicBezTo>
                  <a:cubicBezTo>
                    <a:pt x="7327" y="23918"/>
                    <a:pt x="7306" y="24099"/>
                    <a:pt x="7234" y="24266"/>
                  </a:cubicBezTo>
                  <a:cubicBezTo>
                    <a:pt x="7164" y="24436"/>
                    <a:pt x="7012" y="24575"/>
                    <a:pt x="6843" y="24634"/>
                  </a:cubicBezTo>
                  <a:cubicBezTo>
                    <a:pt x="6675" y="24703"/>
                    <a:pt x="6485" y="24735"/>
                    <a:pt x="6291" y="24757"/>
                  </a:cubicBezTo>
                  <a:cubicBezTo>
                    <a:pt x="6194" y="24768"/>
                    <a:pt x="6096" y="24777"/>
                    <a:pt x="5998" y="24782"/>
                  </a:cubicBezTo>
                  <a:cubicBezTo>
                    <a:pt x="5756" y="24796"/>
                    <a:pt x="5756" y="24796"/>
                    <a:pt x="5756" y="24796"/>
                  </a:cubicBezTo>
                  <a:cubicBezTo>
                    <a:pt x="5605" y="24804"/>
                    <a:pt x="5455" y="24807"/>
                    <a:pt x="5305" y="24811"/>
                  </a:cubicBezTo>
                  <a:cubicBezTo>
                    <a:pt x="5156" y="24813"/>
                    <a:pt x="5006" y="24814"/>
                    <a:pt x="4856" y="24816"/>
                  </a:cubicBezTo>
                  <a:cubicBezTo>
                    <a:pt x="4633" y="24816"/>
                    <a:pt x="4633" y="24816"/>
                    <a:pt x="4633" y="24816"/>
                  </a:cubicBezTo>
                  <a:cubicBezTo>
                    <a:pt x="4551" y="24816"/>
                    <a:pt x="4469" y="24816"/>
                    <a:pt x="4388" y="24811"/>
                  </a:cubicBezTo>
                  <a:cubicBezTo>
                    <a:pt x="3734" y="24773"/>
                    <a:pt x="3103" y="24591"/>
                    <a:pt x="2519" y="24311"/>
                  </a:cubicBezTo>
                  <a:cubicBezTo>
                    <a:pt x="1935" y="24028"/>
                    <a:pt x="1393" y="23644"/>
                    <a:pt x="944" y="23148"/>
                  </a:cubicBezTo>
                  <a:cubicBezTo>
                    <a:pt x="721" y="22900"/>
                    <a:pt x="521" y="22622"/>
                    <a:pt x="364" y="22315"/>
                  </a:cubicBezTo>
                  <a:cubicBezTo>
                    <a:pt x="206" y="22009"/>
                    <a:pt x="91" y="21673"/>
                    <a:pt x="38" y="21322"/>
                  </a:cubicBezTo>
                  <a:cubicBezTo>
                    <a:pt x="26" y="21233"/>
                    <a:pt x="16" y="21145"/>
                    <a:pt x="12" y="21057"/>
                  </a:cubicBezTo>
                  <a:cubicBezTo>
                    <a:pt x="8" y="21012"/>
                    <a:pt x="7" y="20967"/>
                    <a:pt x="6" y="20923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5" y="20341"/>
                    <a:pt x="5" y="20341"/>
                    <a:pt x="5" y="20341"/>
                  </a:cubicBezTo>
                  <a:cubicBezTo>
                    <a:pt x="5" y="20033"/>
                    <a:pt x="5" y="19724"/>
                    <a:pt x="4" y="19416"/>
                  </a:cubicBezTo>
                  <a:cubicBezTo>
                    <a:pt x="3" y="18796"/>
                    <a:pt x="3" y="18177"/>
                    <a:pt x="2" y="17555"/>
                  </a:cubicBezTo>
                  <a:cubicBezTo>
                    <a:pt x="0" y="12582"/>
                    <a:pt x="12" y="7527"/>
                    <a:pt x="39" y="2693"/>
                  </a:cubicBezTo>
                  <a:cubicBezTo>
                    <a:pt x="42" y="2101"/>
                    <a:pt x="47" y="1358"/>
                    <a:pt x="47" y="915"/>
                  </a:cubicBezTo>
                  <a:cubicBezTo>
                    <a:pt x="47" y="472"/>
                    <a:pt x="318" y="0"/>
                    <a:pt x="969" y="0"/>
                  </a:cubicBezTo>
                  <a:cubicBezTo>
                    <a:pt x="1621" y="0"/>
                    <a:pt x="3027" y="11"/>
                    <a:pt x="4025" y="17"/>
                  </a:cubicBezTo>
                  <a:cubicBezTo>
                    <a:pt x="4306" y="19"/>
                    <a:pt x="4587" y="20"/>
                    <a:pt x="4865" y="22"/>
                  </a:cubicBezTo>
                  <a:cubicBezTo>
                    <a:pt x="5004" y="23"/>
                    <a:pt x="5143" y="24"/>
                    <a:pt x="5281" y="25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702" y="30"/>
                    <a:pt x="5702" y="30"/>
                    <a:pt x="5702" y="30"/>
                  </a:cubicBezTo>
                  <a:cubicBezTo>
                    <a:pt x="6278" y="55"/>
                    <a:pt x="6844" y="152"/>
                    <a:pt x="7379" y="317"/>
                  </a:cubicBezTo>
                  <a:cubicBezTo>
                    <a:pt x="7914" y="480"/>
                    <a:pt x="8419" y="709"/>
                    <a:pt x="8881" y="990"/>
                  </a:cubicBezTo>
                  <a:cubicBezTo>
                    <a:pt x="9112" y="1130"/>
                    <a:pt x="9332" y="1283"/>
                    <a:pt x="9540" y="1447"/>
                  </a:cubicBezTo>
                  <a:cubicBezTo>
                    <a:pt x="9748" y="1609"/>
                    <a:pt x="9948" y="1791"/>
                    <a:pt x="10126" y="1964"/>
                  </a:cubicBezTo>
                  <a:cubicBezTo>
                    <a:pt x="11557" y="3337"/>
                    <a:pt x="12879" y="4606"/>
                    <a:pt x="14062" y="5741"/>
                  </a:cubicBezTo>
                  <a:cubicBezTo>
                    <a:pt x="14355" y="6024"/>
                    <a:pt x="14640" y="6299"/>
                    <a:pt x="14916" y="6565"/>
                  </a:cubicBezTo>
                  <a:cubicBezTo>
                    <a:pt x="15053" y="6698"/>
                    <a:pt x="15188" y="6829"/>
                    <a:pt x="15321" y="6958"/>
                  </a:cubicBezTo>
                  <a:cubicBezTo>
                    <a:pt x="15388" y="7022"/>
                    <a:pt x="15453" y="7086"/>
                    <a:pt x="15519" y="7149"/>
                  </a:cubicBezTo>
                  <a:cubicBezTo>
                    <a:pt x="15583" y="7214"/>
                    <a:pt x="15647" y="7278"/>
                    <a:pt x="15710" y="7341"/>
                  </a:cubicBezTo>
                  <a:cubicBezTo>
                    <a:pt x="16207" y="7835"/>
                    <a:pt x="16703" y="8251"/>
                    <a:pt x="17174" y="8604"/>
                  </a:cubicBezTo>
                  <a:cubicBezTo>
                    <a:pt x="18115" y="9307"/>
                    <a:pt x="18945" y="9752"/>
                    <a:pt x="19526" y="10044"/>
                  </a:cubicBezTo>
                  <a:cubicBezTo>
                    <a:pt x="19988" y="10273"/>
                    <a:pt x="20247" y="10392"/>
                    <a:pt x="20445" y="10489"/>
                  </a:cubicBezTo>
                  <a:cubicBezTo>
                    <a:pt x="20641" y="10584"/>
                    <a:pt x="20728" y="10635"/>
                    <a:pt x="20704" y="10652"/>
                  </a:cubicBezTo>
                  <a:cubicBezTo>
                    <a:pt x="20681" y="10667"/>
                    <a:pt x="20549" y="10648"/>
                    <a:pt x="20309" y="10584"/>
                  </a:cubicBezTo>
                  <a:cubicBezTo>
                    <a:pt x="20068" y="10518"/>
                    <a:pt x="19727" y="10410"/>
                    <a:pt x="19276" y="10228"/>
                  </a:cubicBezTo>
                  <a:cubicBezTo>
                    <a:pt x="19159" y="10190"/>
                    <a:pt x="18909" y="10091"/>
                    <a:pt x="18552" y="9919"/>
                  </a:cubicBezTo>
                  <a:cubicBezTo>
                    <a:pt x="18195" y="9748"/>
                    <a:pt x="17732" y="9501"/>
                    <a:pt x="17201" y="9156"/>
                  </a:cubicBezTo>
                  <a:cubicBezTo>
                    <a:pt x="16670" y="8810"/>
                    <a:pt x="16071" y="8367"/>
                    <a:pt x="15458" y="7802"/>
                  </a:cubicBezTo>
                  <a:cubicBezTo>
                    <a:pt x="15381" y="7731"/>
                    <a:pt x="15305" y="7659"/>
                    <a:pt x="15228" y="7584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118" y="7482"/>
                    <a:pt x="15118" y="7482"/>
                    <a:pt x="15118" y="7482"/>
                  </a:cubicBezTo>
                  <a:cubicBezTo>
                    <a:pt x="15079" y="7445"/>
                    <a:pt x="15040" y="7409"/>
                    <a:pt x="15000" y="7373"/>
                  </a:cubicBezTo>
                  <a:cubicBezTo>
                    <a:pt x="14843" y="7227"/>
                    <a:pt x="14681" y="7078"/>
                    <a:pt x="14516" y="6926"/>
                  </a:cubicBezTo>
                  <a:cubicBezTo>
                    <a:pt x="14186" y="6620"/>
                    <a:pt x="13843" y="6302"/>
                    <a:pt x="13487" y="5972"/>
                  </a:cubicBezTo>
                  <a:cubicBezTo>
                    <a:pt x="12646" y="5189"/>
                    <a:pt x="11791" y="4393"/>
                    <a:pt x="10925" y="3587"/>
                  </a:cubicBezTo>
                  <a:cubicBezTo>
                    <a:pt x="10493" y="3183"/>
                    <a:pt x="10057" y="2776"/>
                    <a:pt x="9619" y="2367"/>
                  </a:cubicBezTo>
                  <a:cubicBezTo>
                    <a:pt x="9203" y="1975"/>
                    <a:pt x="8737" y="1644"/>
                    <a:pt x="8228" y="1382"/>
                  </a:cubicBezTo>
                  <a:cubicBezTo>
                    <a:pt x="7719" y="1119"/>
                    <a:pt x="7171" y="930"/>
                    <a:pt x="6604" y="823"/>
                  </a:cubicBezTo>
                  <a:cubicBezTo>
                    <a:pt x="6320" y="770"/>
                    <a:pt x="6032" y="736"/>
                    <a:pt x="5743" y="723"/>
                  </a:cubicBezTo>
                  <a:cubicBezTo>
                    <a:pt x="5605" y="716"/>
                    <a:pt x="5448" y="720"/>
                    <a:pt x="5295" y="720"/>
                  </a:cubicBezTo>
                  <a:cubicBezTo>
                    <a:pt x="4833" y="721"/>
                    <a:pt x="4833" y="721"/>
                    <a:pt x="4833" y="721"/>
                  </a:cubicBezTo>
                  <a:cubicBezTo>
                    <a:pt x="3653" y="724"/>
                    <a:pt x="1519" y="729"/>
                    <a:pt x="1271" y="729"/>
                  </a:cubicBezTo>
                  <a:cubicBezTo>
                    <a:pt x="1024" y="729"/>
                    <a:pt x="784" y="724"/>
                    <a:pt x="784" y="1219"/>
                  </a:cubicBezTo>
                  <a:cubicBezTo>
                    <a:pt x="784" y="1715"/>
                    <a:pt x="801" y="7400"/>
                    <a:pt x="810" y="10472"/>
                  </a:cubicBezTo>
                  <a:cubicBezTo>
                    <a:pt x="827" y="13590"/>
                    <a:pt x="843" y="16677"/>
                    <a:pt x="859" y="19679"/>
                  </a:cubicBezTo>
                  <a:cubicBezTo>
                    <a:pt x="862" y="20094"/>
                    <a:pt x="865" y="20510"/>
                    <a:pt x="869" y="20931"/>
                  </a:cubicBezTo>
                  <a:cubicBezTo>
                    <a:pt x="876" y="21277"/>
                    <a:pt x="975" y="21621"/>
                    <a:pt x="1146" y="21942"/>
                  </a:cubicBezTo>
                  <a:cubicBezTo>
                    <a:pt x="1490" y="22589"/>
                    <a:pt x="2104" y="23129"/>
                    <a:pt x="2799" y="23486"/>
                  </a:cubicBezTo>
                  <a:cubicBezTo>
                    <a:pt x="3148" y="23664"/>
                    <a:pt x="3522" y="23799"/>
                    <a:pt x="3901" y="23879"/>
                  </a:cubicBezTo>
                  <a:cubicBezTo>
                    <a:pt x="4091" y="23920"/>
                    <a:pt x="4282" y="23945"/>
                    <a:pt x="4472" y="23956"/>
                  </a:cubicBezTo>
                  <a:cubicBezTo>
                    <a:pt x="4520" y="23958"/>
                    <a:pt x="4567" y="23960"/>
                    <a:pt x="4615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5096" y="23960"/>
                    <a:pt x="5096" y="23960"/>
                    <a:pt x="5096" y="23960"/>
                  </a:cubicBezTo>
                  <a:cubicBezTo>
                    <a:pt x="5309" y="23958"/>
                    <a:pt x="5521" y="23954"/>
                    <a:pt x="5730" y="23945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979" y="23933"/>
                    <a:pt x="5979" y="23933"/>
                    <a:pt x="5979" y="23933"/>
                  </a:cubicBezTo>
                  <a:cubicBezTo>
                    <a:pt x="6041" y="23927"/>
                    <a:pt x="6104" y="23924"/>
                    <a:pt x="6166" y="23915"/>
                  </a:cubicBezTo>
                  <a:cubicBezTo>
                    <a:pt x="6228" y="23906"/>
                    <a:pt x="6292" y="23897"/>
                    <a:pt x="6349" y="23873"/>
                  </a:cubicBezTo>
                  <a:cubicBezTo>
                    <a:pt x="6407" y="23846"/>
                    <a:pt x="6452" y="23796"/>
                    <a:pt x="6471" y="23736"/>
                  </a:cubicBezTo>
                  <a:cubicBezTo>
                    <a:pt x="6492" y="23677"/>
                    <a:pt x="6494" y="23614"/>
                    <a:pt x="6495" y="23550"/>
                  </a:cubicBezTo>
                  <a:cubicBezTo>
                    <a:pt x="6496" y="23363"/>
                    <a:pt x="6496" y="23363"/>
                    <a:pt x="6496" y="23363"/>
                  </a:cubicBezTo>
                  <a:cubicBezTo>
                    <a:pt x="6506" y="21661"/>
                    <a:pt x="6516" y="19980"/>
                    <a:pt x="6526" y="18358"/>
                  </a:cubicBezTo>
                  <a:cubicBezTo>
                    <a:pt x="6529" y="17948"/>
                    <a:pt x="6532" y="17543"/>
                    <a:pt x="6535" y="17142"/>
                  </a:cubicBezTo>
                  <a:cubicBezTo>
                    <a:pt x="6536" y="17041"/>
                    <a:pt x="6537" y="16942"/>
                    <a:pt x="6538" y="16843"/>
                  </a:cubicBezTo>
                  <a:cubicBezTo>
                    <a:pt x="6539" y="16693"/>
                    <a:pt x="6539" y="16693"/>
                    <a:pt x="6539" y="16693"/>
                  </a:cubicBezTo>
                  <a:cubicBezTo>
                    <a:pt x="6539" y="16645"/>
                    <a:pt x="6540" y="16583"/>
                    <a:pt x="6544" y="16529"/>
                  </a:cubicBezTo>
                  <a:cubicBezTo>
                    <a:pt x="6553" y="16308"/>
                    <a:pt x="6582" y="16088"/>
                    <a:pt x="6630" y="15873"/>
                  </a:cubicBezTo>
                  <a:cubicBezTo>
                    <a:pt x="6820" y="15011"/>
                    <a:pt x="7315" y="14259"/>
                    <a:pt x="7957" y="13747"/>
                  </a:cubicBezTo>
                  <a:cubicBezTo>
                    <a:pt x="8286" y="13480"/>
                    <a:pt x="8669" y="13266"/>
                    <a:pt x="9083" y="13125"/>
                  </a:cubicBezTo>
                  <a:cubicBezTo>
                    <a:pt x="9290" y="13055"/>
                    <a:pt x="9505" y="13002"/>
                    <a:pt x="9723" y="12968"/>
                  </a:cubicBezTo>
                  <a:cubicBezTo>
                    <a:pt x="9940" y="12936"/>
                    <a:pt x="10169" y="12927"/>
                    <a:pt x="10381" y="12932"/>
                  </a:cubicBezTo>
                  <a:cubicBezTo>
                    <a:pt x="11228" y="12950"/>
                    <a:pt x="12070" y="13154"/>
                    <a:pt x="12823" y="13479"/>
                  </a:cubicBezTo>
                  <a:cubicBezTo>
                    <a:pt x="13579" y="13801"/>
                    <a:pt x="14267" y="14236"/>
                    <a:pt x="14905" y="14714"/>
                  </a:cubicBezTo>
                  <a:cubicBezTo>
                    <a:pt x="15543" y="15193"/>
                    <a:pt x="16133" y="15720"/>
                    <a:pt x="16704" y="16252"/>
                  </a:cubicBezTo>
                  <a:cubicBezTo>
                    <a:pt x="17188" y="16713"/>
                    <a:pt x="17662" y="17168"/>
                    <a:pt x="18099" y="17586"/>
                  </a:cubicBezTo>
                  <a:cubicBezTo>
                    <a:pt x="18315" y="17790"/>
                    <a:pt x="18527" y="17981"/>
                    <a:pt x="18726" y="18165"/>
                  </a:cubicBezTo>
                  <a:cubicBezTo>
                    <a:pt x="18922" y="18349"/>
                    <a:pt x="19104" y="18520"/>
                    <a:pt x="19270" y="18677"/>
                  </a:cubicBezTo>
                  <a:cubicBezTo>
                    <a:pt x="19773" y="19160"/>
                    <a:pt x="20142" y="19515"/>
                    <a:pt x="20529" y="19887"/>
                  </a:cubicBezTo>
                  <a:cubicBezTo>
                    <a:pt x="20899" y="20301"/>
                    <a:pt x="20570" y="20123"/>
                    <a:pt x="19639" y="193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9490190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hteck 55">
            <a:extLst>
              <a:ext uri="{FF2B5EF4-FFF2-40B4-BE49-F238E27FC236}">
                <a16:creationId xmlns:a16="http://schemas.microsoft.com/office/drawing/2014/main" id="{251E8E59-29AE-4CCD-BE18-3431CAC9BF47}"/>
              </a:ext>
            </a:extLst>
          </p:cNvPr>
          <p:cNvSpPr/>
          <p:nvPr userDrawn="1"/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68" name="Freihandform: Form 67">
            <a:extLst>
              <a:ext uri="{FF2B5EF4-FFF2-40B4-BE49-F238E27FC236}">
                <a16:creationId xmlns:a16="http://schemas.microsoft.com/office/drawing/2014/main" id="{5BDD8D32-BDE3-4959-8EB5-4E55890A8E02}"/>
              </a:ext>
            </a:extLst>
          </p:cNvPr>
          <p:cNvSpPr/>
          <p:nvPr userDrawn="1"/>
        </p:nvSpPr>
        <p:spPr>
          <a:xfrm>
            <a:off x="9371098" y="0"/>
            <a:ext cx="2820902" cy="916322"/>
          </a:xfrm>
          <a:custGeom>
            <a:avLst/>
            <a:gdLst>
              <a:gd name="connsiteX0" fmla="*/ 0 w 2820902"/>
              <a:gd name="connsiteY0" fmla="*/ 0 h 916322"/>
              <a:gd name="connsiteX1" fmla="*/ 2820902 w 2820902"/>
              <a:gd name="connsiteY1" fmla="*/ 0 h 916322"/>
              <a:gd name="connsiteX2" fmla="*/ 2820902 w 2820902"/>
              <a:gd name="connsiteY2" fmla="*/ 916322 h 916322"/>
              <a:gd name="connsiteX3" fmla="*/ 561754 w 2820902"/>
              <a:gd name="connsiteY3" fmla="*/ 611337 h 916322"/>
              <a:gd name="connsiteX4" fmla="*/ 1803 w 2820902"/>
              <a:gd name="connsiteY4" fmla="*/ 29958 h 916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20902" h="916322">
                <a:moveTo>
                  <a:pt x="0" y="0"/>
                </a:moveTo>
                <a:lnTo>
                  <a:pt x="2820902" y="0"/>
                </a:lnTo>
                <a:lnTo>
                  <a:pt x="2820902" y="916322"/>
                </a:lnTo>
                <a:lnTo>
                  <a:pt x="561754" y="611337"/>
                </a:lnTo>
                <a:cubicBezTo>
                  <a:pt x="117119" y="551316"/>
                  <a:pt x="19435" y="226873"/>
                  <a:pt x="1803" y="29958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5" name="Freihandform: Form 64">
            <a:extLst>
              <a:ext uri="{FF2B5EF4-FFF2-40B4-BE49-F238E27FC236}">
                <a16:creationId xmlns:a16="http://schemas.microsoft.com/office/drawing/2014/main" id="{7F110E34-DF35-4C02-843D-136FFFA43FB6}"/>
              </a:ext>
            </a:extLst>
          </p:cNvPr>
          <p:cNvSpPr/>
          <p:nvPr/>
        </p:nvSpPr>
        <p:spPr>
          <a:xfrm>
            <a:off x="0" y="0"/>
            <a:ext cx="11291801" cy="6858000"/>
          </a:xfrm>
          <a:custGeom>
            <a:avLst/>
            <a:gdLst>
              <a:gd name="connsiteX0" fmla="*/ 0 w 11291801"/>
              <a:gd name="connsiteY0" fmla="*/ 0 h 6858000"/>
              <a:gd name="connsiteX1" fmla="*/ 5867242 w 11291801"/>
              <a:gd name="connsiteY1" fmla="*/ 0 h 6858000"/>
              <a:gd name="connsiteX2" fmla="*/ 10575361 w 11291801"/>
              <a:gd name="connsiteY2" fmla="*/ 1327450 h 6858000"/>
              <a:gd name="connsiteX3" fmla="*/ 11256975 w 11291801"/>
              <a:gd name="connsiteY3" fmla="*/ 2544590 h 6858000"/>
              <a:gd name="connsiteX4" fmla="*/ 10040809 w 11291801"/>
              <a:gd name="connsiteY4" fmla="*/ 6858000 h 6858000"/>
              <a:gd name="connsiteX5" fmla="*/ 4679310 w 11291801"/>
              <a:gd name="connsiteY5" fmla="*/ 6858000 h 6858000"/>
              <a:gd name="connsiteX6" fmla="*/ 0 w 11291801"/>
              <a:gd name="connsiteY6" fmla="*/ 553867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91801" h="6858000">
                <a:moveTo>
                  <a:pt x="0" y="0"/>
                </a:moveTo>
                <a:lnTo>
                  <a:pt x="5867242" y="0"/>
                </a:lnTo>
                <a:lnTo>
                  <a:pt x="10575361" y="1327450"/>
                </a:lnTo>
                <a:cubicBezTo>
                  <a:pt x="11524738" y="1595213"/>
                  <a:pt x="11256975" y="2544590"/>
                  <a:pt x="11256975" y="2544590"/>
                </a:cubicBezTo>
                <a:lnTo>
                  <a:pt x="10040809" y="6858000"/>
                </a:lnTo>
                <a:lnTo>
                  <a:pt x="4679310" y="6858000"/>
                </a:lnTo>
                <a:lnTo>
                  <a:pt x="0" y="5538673"/>
                </a:ln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70" name="Freihandform: Form 69">
            <a:extLst>
              <a:ext uri="{FF2B5EF4-FFF2-40B4-BE49-F238E27FC236}">
                <a16:creationId xmlns:a16="http://schemas.microsoft.com/office/drawing/2014/main" id="{25C4C6FE-34E8-4FF8-A5FA-19FB6A5A320F}"/>
              </a:ext>
            </a:extLst>
          </p:cNvPr>
          <p:cNvSpPr/>
          <p:nvPr/>
        </p:nvSpPr>
        <p:spPr>
          <a:xfrm>
            <a:off x="11590478" y="1561289"/>
            <a:ext cx="601522" cy="3171132"/>
          </a:xfrm>
          <a:custGeom>
            <a:avLst/>
            <a:gdLst>
              <a:gd name="connsiteX0" fmla="*/ 601522 w 601522"/>
              <a:gd name="connsiteY0" fmla="*/ 0 h 3171132"/>
              <a:gd name="connsiteX1" fmla="*/ 601522 w 601522"/>
              <a:gd name="connsiteY1" fmla="*/ 3171132 h 3171132"/>
              <a:gd name="connsiteX2" fmla="*/ 385348 w 601522"/>
              <a:gd name="connsiteY2" fmla="*/ 3146832 h 3171132"/>
              <a:gd name="connsiteX3" fmla="*/ 1636 w 601522"/>
              <a:gd name="connsiteY3" fmla="*/ 2665854 h 3171132"/>
              <a:gd name="connsiteX4" fmla="*/ 258814 w 601522"/>
              <a:gd name="connsiteY4" fmla="*/ 376411 h 3171132"/>
              <a:gd name="connsiteX5" fmla="*/ 600415 w 601522"/>
              <a:gd name="connsiteY5" fmla="*/ 129 h 3171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1522" h="3171132">
                <a:moveTo>
                  <a:pt x="601522" y="0"/>
                </a:moveTo>
                <a:lnTo>
                  <a:pt x="601522" y="3171132"/>
                </a:lnTo>
                <a:lnTo>
                  <a:pt x="385348" y="3146832"/>
                </a:lnTo>
                <a:cubicBezTo>
                  <a:pt x="-46934" y="3098259"/>
                  <a:pt x="1636" y="2665854"/>
                  <a:pt x="1636" y="2665854"/>
                </a:cubicBezTo>
                <a:lnTo>
                  <a:pt x="258814" y="376411"/>
                </a:lnTo>
                <a:cubicBezTo>
                  <a:pt x="289171" y="106236"/>
                  <a:pt x="469464" y="23893"/>
                  <a:pt x="600415" y="129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21197233-897C-41D4-9C30-F6F736C304FC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033488 w 12192000"/>
              <a:gd name="connsiteY1" fmla="*/ 0 h 6858000"/>
              <a:gd name="connsiteX2" fmla="*/ 3724975 w 12192000"/>
              <a:gd name="connsiteY2" fmla="*/ 269476 h 6858000"/>
              <a:gd name="connsiteX3" fmla="*/ 3080894 w 12192000"/>
              <a:gd name="connsiteY3" fmla="*/ 1247045 h 6858000"/>
              <a:gd name="connsiteX4" fmla="*/ 3920436 w 12192000"/>
              <a:gd name="connsiteY4" fmla="*/ 5316609 h 6858000"/>
              <a:gd name="connsiteX5" fmla="*/ 4898005 w 12192000"/>
              <a:gd name="connsiteY5" fmla="*/ 5960691 h 6858000"/>
              <a:gd name="connsiteX6" fmla="*/ 12192000 w 12192000"/>
              <a:gd name="connsiteY6" fmla="*/ 4459702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033488" y="0"/>
                </a:lnTo>
                <a:lnTo>
                  <a:pt x="3724975" y="269476"/>
                </a:lnTo>
                <a:cubicBezTo>
                  <a:pt x="2914150" y="436220"/>
                  <a:pt x="3080894" y="1247045"/>
                  <a:pt x="3080894" y="1247045"/>
                </a:cubicBezTo>
                <a:lnTo>
                  <a:pt x="3920436" y="5316609"/>
                </a:lnTo>
                <a:cubicBezTo>
                  <a:pt x="4087181" y="6127436"/>
                  <a:pt x="4898005" y="5960691"/>
                  <a:pt x="4898005" y="5960691"/>
                </a:cubicBezTo>
                <a:lnTo>
                  <a:pt x="12192000" y="4459702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wrap="square" rtlCol="0" anchor="ctr" anchorCtr="0">
            <a:noAutofit/>
          </a:bodyPr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CEAC3525-663E-4607-85AE-F5786E32F89B}"/>
              </a:ext>
            </a:extLst>
          </p:cNvPr>
          <p:cNvSpPr/>
          <p:nvPr userDrawn="1"/>
        </p:nvSpPr>
        <p:spPr bwMode="gray">
          <a:xfrm>
            <a:off x="1" y="4282473"/>
            <a:ext cx="3725692" cy="2581891"/>
          </a:xfrm>
          <a:custGeom>
            <a:avLst/>
            <a:gdLst>
              <a:gd name="connsiteX0" fmla="*/ 2629322 w 3725692"/>
              <a:gd name="connsiteY0" fmla="*/ 286 h 2581891"/>
              <a:gd name="connsiteX1" fmla="*/ 3384875 w 3725692"/>
              <a:gd name="connsiteY1" fmla="*/ 652496 h 2581891"/>
              <a:gd name="connsiteX2" fmla="*/ 3725692 w 3725692"/>
              <a:gd name="connsiteY2" fmla="*/ 2581891 h 2581891"/>
              <a:gd name="connsiteX3" fmla="*/ 0 w 3725692"/>
              <a:gd name="connsiteY3" fmla="*/ 2581891 h 2581891"/>
              <a:gd name="connsiteX4" fmla="*/ 0 w 3725692"/>
              <a:gd name="connsiteY4" fmla="*/ 448448 h 2581891"/>
              <a:gd name="connsiteX5" fmla="*/ 2469797 w 3725692"/>
              <a:gd name="connsiteY5" fmla="*/ 12172 h 2581891"/>
              <a:gd name="connsiteX6" fmla="*/ 2629322 w 3725692"/>
              <a:gd name="connsiteY6" fmla="*/ 286 h 25818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25692" h="2581891">
                <a:moveTo>
                  <a:pt x="2629322" y="286"/>
                </a:moveTo>
                <a:cubicBezTo>
                  <a:pt x="2996517" y="10203"/>
                  <a:pt x="3318488" y="276672"/>
                  <a:pt x="3384875" y="652496"/>
                </a:cubicBezTo>
                <a:lnTo>
                  <a:pt x="3725692" y="2581891"/>
                </a:lnTo>
                <a:lnTo>
                  <a:pt x="0" y="2581891"/>
                </a:lnTo>
                <a:lnTo>
                  <a:pt x="0" y="448448"/>
                </a:lnTo>
                <a:lnTo>
                  <a:pt x="2469797" y="12172"/>
                </a:lnTo>
                <a:cubicBezTo>
                  <a:pt x="2523486" y="2688"/>
                  <a:pt x="2576866" y="-1131"/>
                  <a:pt x="2629322" y="286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4079776" y="3597205"/>
            <a:ext cx="6553198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4080416" y="2877197"/>
            <a:ext cx="6552559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4080416" y="1484784"/>
            <a:ext cx="6552559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grpSp>
        <p:nvGrpSpPr>
          <p:cNvPr id="20" name="Group 12">
            <a:extLst>
              <a:ext uri="{FF2B5EF4-FFF2-40B4-BE49-F238E27FC236}">
                <a16:creationId xmlns:a16="http://schemas.microsoft.com/office/drawing/2014/main" id="{8BD0F8A9-224B-4042-99B8-F80550A3CDD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1" y="5272544"/>
            <a:ext cx="2494962" cy="1252800"/>
            <a:chOff x="-85296375" y="18191163"/>
            <a:chExt cx="195448238" cy="98140837"/>
          </a:xfrm>
        </p:grpSpPr>
        <p:sp>
          <p:nvSpPr>
            <p:cNvPr id="21" name="Freeform 33">
              <a:extLst>
                <a:ext uri="{FF2B5EF4-FFF2-40B4-BE49-F238E27FC236}">
                  <a16:creationId xmlns:a16="http://schemas.microsoft.com/office/drawing/2014/main" id="{4B717B30-6A3A-42AA-B9CD-A23B1E33C0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26 w 46525"/>
                <a:gd name="T3" fmla="*/ 21145 h 25428"/>
                <a:gd name="T4" fmla="*/ 44204 w 46525"/>
                <a:gd name="T5" fmla="*/ 16995 h 25428"/>
                <a:gd name="T6" fmla="*/ 43209 w 46525"/>
                <a:gd name="T7" fmla="*/ 14732 h 25428"/>
                <a:gd name="T8" fmla="*/ 40113 w 46525"/>
                <a:gd name="T9" fmla="*/ 14038 h 25428"/>
                <a:gd name="T10" fmla="*/ 33362 w 46525"/>
                <a:gd name="T11" fmla="*/ 18866 h 25428"/>
                <a:gd name="T12" fmla="*/ 27186 w 46525"/>
                <a:gd name="T13" fmla="*/ 23435 h 25428"/>
                <a:gd name="T14" fmla="*/ 21668 w 46525"/>
                <a:gd name="T15" fmla="*/ 21926 h 25428"/>
                <a:gd name="T16" fmla="*/ 17342 w 46525"/>
                <a:gd name="T17" fmla="*/ 18159 h 25428"/>
                <a:gd name="T18" fmla="*/ 10883 w 46525"/>
                <a:gd name="T19" fmla="*/ 14279 h 25428"/>
                <a:gd name="T20" fmla="*/ 8335 w 46525"/>
                <a:gd name="T21" fmla="*/ 15623 h 25428"/>
                <a:gd name="T22" fmla="*/ 7994 w 46525"/>
                <a:gd name="T23" fmla="*/ 17519 h 25428"/>
                <a:gd name="T24" fmla="*/ 8002 w 46525"/>
                <a:gd name="T25" fmla="*/ 23415 h 25428"/>
                <a:gd name="T26" fmla="*/ 7995 w 46525"/>
                <a:gd name="T27" fmla="*/ 23973 h 25428"/>
                <a:gd name="T28" fmla="*/ 6368 w 46525"/>
                <a:gd name="T29" fmla="*/ 25395 h 25428"/>
                <a:gd name="T30" fmla="*/ 5092 w 46525"/>
                <a:gd name="T31" fmla="*/ 25428 h 25428"/>
                <a:gd name="T32" fmla="*/ 2054 w 46525"/>
                <a:gd name="T33" fmla="*/ 24521 h 25428"/>
                <a:gd name="T34" fmla="*/ 2 w 46525"/>
                <a:gd name="T35" fmla="*/ 21261 h 25428"/>
                <a:gd name="T36" fmla="*/ 3 w 46525"/>
                <a:gd name="T37" fmla="*/ 19732 h 25428"/>
                <a:gd name="T38" fmla="*/ 1172 w 46525"/>
                <a:gd name="T39" fmla="*/ 0 h 25428"/>
                <a:gd name="T40" fmla="*/ 6138 w 46525"/>
                <a:gd name="T41" fmla="*/ 40 h 25428"/>
                <a:gd name="T42" fmla="*/ 10142 w 46525"/>
                <a:gd name="T43" fmla="*/ 1610 h 25428"/>
                <a:gd name="T44" fmla="*/ 11153 w 46525"/>
                <a:gd name="T45" fmla="*/ 2551 h 25428"/>
                <a:gd name="T46" fmla="*/ 15899 w 46525"/>
                <a:gd name="T47" fmla="*/ 7099 h 25428"/>
                <a:gd name="T48" fmla="*/ 17354 w 46525"/>
                <a:gd name="T49" fmla="*/ 8408 h 25428"/>
                <a:gd name="T50" fmla="*/ 31821 w 46525"/>
                <a:gd name="T51" fmla="*/ 10275 h 25428"/>
                <a:gd name="T52" fmla="*/ 31776 w 46525"/>
                <a:gd name="T53" fmla="*/ 10761 h 25428"/>
                <a:gd name="T54" fmla="*/ 20355 w 46525"/>
                <a:gd name="T55" fmla="*/ 11189 h 25428"/>
                <a:gd name="T56" fmla="*/ 15258 w 46525"/>
                <a:gd name="T57" fmla="*/ 7928 h 25428"/>
                <a:gd name="T58" fmla="*/ 11552 w 46525"/>
                <a:gd name="T59" fmla="*/ 4476 h 25428"/>
                <a:gd name="T60" fmla="*/ 9664 w 46525"/>
                <a:gd name="T61" fmla="*/ 2716 h 25428"/>
                <a:gd name="T62" fmla="*/ 5849 w 46525"/>
                <a:gd name="T63" fmla="*/ 1231 h 25428"/>
                <a:gd name="T64" fmla="*/ 1480 w 46525"/>
                <a:gd name="T65" fmla="*/ 1296 h 25428"/>
                <a:gd name="T66" fmla="*/ 1347 w 46525"/>
                <a:gd name="T67" fmla="*/ 1590 h 25428"/>
                <a:gd name="T68" fmla="*/ 1408 w 46525"/>
                <a:gd name="T69" fmla="*/ 21014 h 25428"/>
                <a:gd name="T70" fmla="*/ 3727 w 46525"/>
                <a:gd name="T71" fmla="*/ 23767 h 25428"/>
                <a:gd name="T72" fmla="*/ 5103 w 46525"/>
                <a:gd name="T73" fmla="*/ 23987 h 25428"/>
                <a:gd name="T74" fmla="*/ 6271 w 46525"/>
                <a:gd name="T75" fmla="*/ 23951 h 25428"/>
                <a:gd name="T76" fmla="*/ 6548 w 46525"/>
                <a:gd name="T77" fmla="*/ 23664 h 25428"/>
                <a:gd name="T78" fmla="*/ 6571 w 46525"/>
                <a:gd name="T79" fmla="*/ 16189 h 25428"/>
                <a:gd name="T80" fmla="*/ 10633 w 46525"/>
                <a:gd name="T81" fmla="*/ 12779 h 25428"/>
                <a:gd name="T82" fmla="*/ 15923 w 46525"/>
                <a:gd name="T83" fmla="*/ 14945 h 25428"/>
                <a:gd name="T84" fmla="*/ 19260 w 46525"/>
                <a:gd name="T85" fmla="*/ 17958 h 25428"/>
                <a:gd name="T86" fmla="*/ 25829 w 46525"/>
                <a:gd name="T87" fmla="*/ 22317 h 25428"/>
                <a:gd name="T88" fmla="*/ 31813 w 46525"/>
                <a:gd name="T89" fmla="*/ 18727 h 25428"/>
                <a:gd name="T90" fmla="*/ 35917 w 46525"/>
                <a:gd name="T91" fmla="*/ 15125 h 25428"/>
                <a:gd name="T92" fmla="*/ 43119 w 46525"/>
                <a:gd name="T93" fmla="*/ 13639 h 25428"/>
                <a:gd name="T94" fmla="*/ 44851 w 46525"/>
                <a:gd name="T95" fmla="*/ 20902 h 25428"/>
                <a:gd name="T96" fmla="*/ 45499 w 46525"/>
                <a:gd name="T97" fmla="*/ 22864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6525" h="25428">
                  <a:moveTo>
                    <a:pt x="46508" y="23834"/>
                  </a:moveTo>
                  <a:cubicBezTo>
                    <a:pt x="46525" y="23872"/>
                    <a:pt x="46476" y="23875"/>
                    <a:pt x="46364" y="23837"/>
                  </a:cubicBez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784"/>
                    <a:pt x="93" y="1070"/>
                  </a:cubicBezTo>
                  <a:cubicBezTo>
                    <a:pt x="93" y="923"/>
                    <a:pt x="113" y="802"/>
                    <a:pt x="138" y="685"/>
                  </a:cubicBezTo>
                  <a:cubicBezTo>
                    <a:pt x="211" y="404"/>
                    <a:pt x="441" y="0"/>
                    <a:pt x="1172" y="0"/>
                  </a:cubicBezTo>
                  <a:cubicBezTo>
                    <a:pt x="1336" y="0"/>
                    <a:pt x="1526" y="1"/>
                    <a:pt x="1713" y="1"/>
                  </a:cubicBezTo>
                  <a:cubicBezTo>
                    <a:pt x="2509" y="5"/>
                    <a:pt x="3619" y="15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1921" y="1245"/>
                    <a:pt x="1688" y="1245"/>
                  </a:cubicBezTo>
                  <a:cubicBezTo>
                    <a:pt x="1615" y="1245"/>
                    <a:pt x="1559" y="1258"/>
                    <a:pt x="1510" y="1279"/>
                  </a:cubicBezTo>
                  <a:cubicBezTo>
                    <a:pt x="1498" y="1284"/>
                    <a:pt x="1490" y="1290"/>
                    <a:pt x="1480" y="1296"/>
                  </a:cubicBezTo>
                  <a:cubicBezTo>
                    <a:pt x="1453" y="1312"/>
                    <a:pt x="1430" y="1332"/>
                    <a:pt x="1411" y="1357"/>
                  </a:cubicBezTo>
                  <a:cubicBezTo>
                    <a:pt x="1399" y="1373"/>
                    <a:pt x="1389" y="1389"/>
                    <a:pt x="1382" y="1407"/>
                  </a:cubicBezTo>
                  <a:cubicBezTo>
                    <a:pt x="1375" y="1422"/>
                    <a:pt x="1369" y="1438"/>
                    <a:pt x="1364" y="1456"/>
                  </a:cubicBezTo>
                  <a:cubicBezTo>
                    <a:pt x="1352" y="1504"/>
                    <a:pt x="1347" y="1552"/>
                    <a:pt x="1347" y="1590"/>
                  </a:cubicBezTo>
                  <a:cubicBezTo>
                    <a:pt x="1347" y="1839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34">
              <a:extLst>
                <a:ext uri="{FF2B5EF4-FFF2-40B4-BE49-F238E27FC236}">
                  <a16:creationId xmlns:a16="http://schemas.microsoft.com/office/drawing/2014/main" id="{CB070510-7DF0-4FF1-80B4-4B49D636E9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0 w 36820"/>
                <a:gd name="T29" fmla="*/ 1793 h 25129"/>
                <a:gd name="T30" fmla="*/ 3689 w 36820"/>
                <a:gd name="T31" fmla="*/ 982 h 25129"/>
                <a:gd name="T32" fmla="*/ 5782 w 36820"/>
                <a:gd name="T33" fmla="*/ 977 h 25129"/>
                <a:gd name="T34" fmla="*/ 9101 w 36820"/>
                <a:gd name="T35" fmla="*/ 2101 h 25129"/>
                <a:gd name="T36" fmla="*/ 13309 w 36820"/>
                <a:gd name="T37" fmla="*/ 5963 h 25129"/>
                <a:gd name="T38" fmla="*/ 15246 w 36820"/>
                <a:gd name="T39" fmla="*/ 7767 h 25129"/>
                <a:gd name="T40" fmla="*/ 16641 w 36820"/>
                <a:gd name="T41" fmla="*/ 8970 h 25129"/>
                <a:gd name="T42" fmla="*/ 24643 w 36820"/>
                <a:gd name="T43" fmla="*/ 11779 h 25129"/>
                <a:gd name="T44" fmla="*/ 27567 w 36820"/>
                <a:gd name="T45" fmla="*/ 11469 h 25129"/>
                <a:gd name="T46" fmla="*/ 22316 w 36820"/>
                <a:gd name="T47" fmla="*/ 10912 h 25129"/>
                <a:gd name="T48" fmla="*/ 16115 w 36820"/>
                <a:gd name="T49" fmla="*/ 7516 h 25129"/>
                <a:gd name="T50" fmla="*/ 14838 w 36820"/>
                <a:gd name="T51" fmla="*/ 6279 h 25129"/>
                <a:gd name="T52" fmla="*/ 10203 w 36820"/>
                <a:gd name="T53" fmla="*/ 1841 h 25129"/>
                <a:gd name="T54" fmla="*/ 6586 w 36820"/>
                <a:gd name="T55" fmla="*/ 101 h 25129"/>
                <a:gd name="T56" fmla="*/ 5685 w 36820"/>
                <a:gd name="T57" fmla="*/ 29 h 25129"/>
                <a:gd name="T58" fmla="*/ 1071 w 36820"/>
                <a:gd name="T59" fmla="*/ 0 h 25129"/>
                <a:gd name="T60" fmla="*/ 9 w 36820"/>
                <a:gd name="T61" fmla="*/ 14968 h 25129"/>
                <a:gd name="T62" fmla="*/ 2 w 36820"/>
                <a:gd name="T63" fmla="*/ 21079 h 25129"/>
                <a:gd name="T64" fmla="*/ 1566 w 36820"/>
                <a:gd name="T65" fmla="*/ 23950 h 25129"/>
                <a:gd name="T66" fmla="*/ 4502 w 36820"/>
                <a:gd name="T67" fmla="*/ 25118 h 25129"/>
                <a:gd name="T68" fmla="*/ 5500 w 36820"/>
                <a:gd name="T69" fmla="*/ 25123 h 25129"/>
                <a:gd name="T70" fmla="*/ 6180 w 36820"/>
                <a:gd name="T71" fmla="*/ 25096 h 25129"/>
                <a:gd name="T72" fmla="*/ 7622 w 36820"/>
                <a:gd name="T73" fmla="*/ 24285 h 25129"/>
                <a:gd name="T74" fmla="*/ 7674 w 36820"/>
                <a:gd name="T75" fmla="*/ 23387 h 25129"/>
                <a:gd name="T76" fmla="*/ 7658 w 36820"/>
                <a:gd name="T77" fmla="*/ 16629 h 25129"/>
                <a:gd name="T78" fmla="*/ 9720 w 36820"/>
                <a:gd name="T79" fmla="*/ 14049 h 25129"/>
                <a:gd name="T80" fmla="*/ 10716 w 36820"/>
                <a:gd name="T81" fmla="*/ 13953 h 25129"/>
                <a:gd name="T82" fmla="*/ 16254 w 36820"/>
                <a:gd name="T83" fmla="*/ 16889 h 25129"/>
                <a:gd name="T84" fmla="*/ 19370 w 36820"/>
                <a:gd name="T85" fmla="*/ 19687 h 25129"/>
                <a:gd name="T86" fmla="*/ 26024 w 36820"/>
                <a:gd name="T87" fmla="*/ 23232 h 25129"/>
                <a:gd name="T88" fmla="*/ 31256 w 36820"/>
                <a:gd name="T89" fmla="*/ 20132 h 25129"/>
                <a:gd name="T90" fmla="*/ 35607 w 36820"/>
                <a:gd name="T91" fmla="*/ 15888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4" y="10863"/>
                    <a:pt x="1065" y="3552"/>
                    <a:pt x="1060" y="1793"/>
                  </a:cubicBezTo>
                  <a:cubicBezTo>
                    <a:pt x="1059" y="1554"/>
                    <a:pt x="1067" y="1418"/>
                    <a:pt x="1067" y="1406"/>
                  </a:cubicBezTo>
                  <a:cubicBezTo>
                    <a:pt x="1067" y="1152"/>
                    <a:pt x="1084" y="988"/>
                    <a:pt x="1480" y="988"/>
                  </a:cubicBezTo>
                  <a:cubicBezTo>
                    <a:pt x="201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2153" y="7"/>
                    <a:pt x="1071" y="0"/>
                  </a:cubicBezTo>
                  <a:cubicBezTo>
                    <a:pt x="440" y="30"/>
                    <a:pt x="70" y="466"/>
                    <a:pt x="71" y="993"/>
                  </a:cubicBezTo>
                  <a:cubicBezTo>
                    <a:pt x="72" y="152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35">
              <a:extLst>
                <a:ext uri="{FF2B5EF4-FFF2-40B4-BE49-F238E27FC236}">
                  <a16:creationId xmlns:a16="http://schemas.microsoft.com/office/drawing/2014/main" id="{DC490BB3-8FB7-442F-875D-5C43C7D5E58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85296375" y="18191163"/>
              <a:ext cx="195448238" cy="98140837"/>
            </a:xfrm>
            <a:custGeom>
              <a:avLst/>
              <a:gdLst>
                <a:gd name="T0" fmla="*/ 49583 w 52117"/>
                <a:gd name="T1" fmla="*/ 737 h 26168"/>
                <a:gd name="T2" fmla="*/ 35822 w 52117"/>
                <a:gd name="T3" fmla="*/ 7517 h 26168"/>
                <a:gd name="T4" fmla="*/ 33730 w 52117"/>
                <a:gd name="T5" fmla="*/ 9149 h 26168"/>
                <a:gd name="T6" fmla="*/ 17258 w 52117"/>
                <a:gd name="T7" fmla="*/ 7854 h 26168"/>
                <a:gd name="T8" fmla="*/ 11345 w 52117"/>
                <a:gd name="T9" fmla="*/ 2224 h 26168"/>
                <a:gd name="T10" fmla="*/ 9326 w 52117"/>
                <a:gd name="T11" fmla="*/ 768 h 26168"/>
                <a:gd name="T12" fmla="*/ 1375 w 52117"/>
                <a:gd name="T13" fmla="*/ 0 h 26168"/>
                <a:gd name="T14" fmla="*/ 5 w 52117"/>
                <a:gd name="T15" fmla="*/ 19472 h 26168"/>
                <a:gd name="T16" fmla="*/ 5 w 52117"/>
                <a:gd name="T17" fmla="*/ 21740 h 26168"/>
                <a:gd name="T18" fmla="*/ 2995 w 52117"/>
                <a:gd name="T19" fmla="*/ 25633 h 26168"/>
                <a:gd name="T20" fmla="*/ 5449 w 52117"/>
                <a:gd name="T21" fmla="*/ 26168 h 26168"/>
                <a:gd name="T22" fmla="*/ 6688 w 52117"/>
                <a:gd name="T23" fmla="*/ 26141 h 26168"/>
                <a:gd name="T24" fmla="*/ 8720 w 52117"/>
                <a:gd name="T25" fmla="*/ 24416 h 26168"/>
                <a:gd name="T26" fmla="*/ 8736 w 52117"/>
                <a:gd name="T27" fmla="*/ 21563 h 26168"/>
                <a:gd name="T28" fmla="*/ 8741 w 52117"/>
                <a:gd name="T29" fmla="*/ 17270 h 26168"/>
                <a:gd name="T30" fmla="*/ 10456 w 52117"/>
                <a:gd name="T31" fmla="*/ 15112 h 26168"/>
                <a:gd name="T32" fmla="*/ 15098 w 52117"/>
                <a:gd name="T33" fmla="*/ 16805 h 26168"/>
                <a:gd name="T34" fmla="*/ 21041 w 52117"/>
                <a:gd name="T35" fmla="*/ 22112 h 26168"/>
                <a:gd name="T36" fmla="*/ 28486 w 52117"/>
                <a:gd name="T37" fmla="*/ 24005 h 26168"/>
                <a:gd name="T38" fmla="*/ 36202 w 52117"/>
                <a:gd name="T39" fmla="*/ 17676 h 26168"/>
                <a:gd name="T40" fmla="*/ 41491 w 52117"/>
                <a:gd name="T41" fmla="*/ 14928 h 26168"/>
                <a:gd name="T42" fmla="*/ 43802 w 52117"/>
                <a:gd name="T43" fmla="*/ 16791 h 26168"/>
                <a:gd name="T44" fmla="*/ 43869 w 52117"/>
                <a:gd name="T45" fmla="*/ 17719 h 26168"/>
                <a:gd name="T46" fmla="*/ 43910 w 52117"/>
                <a:gd name="T47" fmla="*/ 21574 h 26168"/>
                <a:gd name="T48" fmla="*/ 45077 w 52117"/>
                <a:gd name="T49" fmla="*/ 24167 h 26168"/>
                <a:gd name="T50" fmla="*/ 49081 w 52117"/>
                <a:gd name="T51" fmla="*/ 25882 h 26168"/>
                <a:gd name="T52" fmla="*/ 50914 w 52117"/>
                <a:gd name="T53" fmla="*/ 25770 h 26168"/>
                <a:gd name="T54" fmla="*/ 52046 w 52117"/>
                <a:gd name="T55" fmla="*/ 24904 h 26168"/>
                <a:gd name="T56" fmla="*/ 50669 w 52117"/>
                <a:gd name="T57" fmla="*/ 23321 h 26168"/>
                <a:gd name="T58" fmla="*/ 50634 w 52117"/>
                <a:gd name="T59" fmla="*/ 24234 h 26168"/>
                <a:gd name="T60" fmla="*/ 50132 w 52117"/>
                <a:gd name="T61" fmla="*/ 24338 h 26168"/>
                <a:gd name="T62" fmla="*/ 49062 w 52117"/>
                <a:gd name="T63" fmla="*/ 24349 h 26168"/>
                <a:gd name="T64" fmla="*/ 45648 w 52117"/>
                <a:gd name="T65" fmla="*/ 22048 h 26168"/>
                <a:gd name="T66" fmla="*/ 45578 w 52117"/>
                <a:gd name="T67" fmla="*/ 21214 h 26168"/>
                <a:gd name="T68" fmla="*/ 45603 w 52117"/>
                <a:gd name="T69" fmla="*/ 17236 h 26168"/>
                <a:gd name="T70" fmla="*/ 43192 w 52117"/>
                <a:gd name="T71" fmla="*/ 13496 h 26168"/>
                <a:gd name="T72" fmla="*/ 38820 w 52117"/>
                <a:gd name="T73" fmla="*/ 13635 h 26168"/>
                <a:gd name="T74" fmla="*/ 33083 w 52117"/>
                <a:gd name="T75" fmla="*/ 17952 h 26168"/>
                <a:gd name="T76" fmla="*/ 27369 w 52117"/>
                <a:gd name="T77" fmla="*/ 22286 h 26168"/>
                <a:gd name="T78" fmla="*/ 19412 w 52117"/>
                <a:gd name="T79" fmla="*/ 17873 h 26168"/>
                <a:gd name="T80" fmla="*/ 14267 w 52117"/>
                <a:gd name="T81" fmla="*/ 13745 h 26168"/>
                <a:gd name="T82" fmla="*/ 10663 w 52117"/>
                <a:gd name="T83" fmla="*/ 12928 h 26168"/>
                <a:gd name="T84" fmla="*/ 6626 w 52117"/>
                <a:gd name="T85" fmla="*/ 16744 h 26168"/>
                <a:gd name="T86" fmla="*/ 6586 w 52117"/>
                <a:gd name="T87" fmla="*/ 18257 h 26168"/>
                <a:gd name="T88" fmla="*/ 6568 w 52117"/>
                <a:gd name="T89" fmla="*/ 23938 h 26168"/>
                <a:gd name="T90" fmla="*/ 6529 w 52117"/>
                <a:gd name="T91" fmla="*/ 23981 h 26168"/>
                <a:gd name="T92" fmla="*/ 5838 w 52117"/>
                <a:gd name="T93" fmla="*/ 23999 h 26168"/>
                <a:gd name="T94" fmla="*/ 5033 w 52117"/>
                <a:gd name="T95" fmla="*/ 23985 h 26168"/>
                <a:gd name="T96" fmla="*/ 2175 w 52117"/>
                <a:gd name="T97" fmla="*/ 16149 h 26168"/>
                <a:gd name="T98" fmla="*/ 6032 w 52117"/>
                <a:gd name="T99" fmla="*/ 2106 h 26168"/>
                <a:gd name="T100" fmla="*/ 9691 w 52117"/>
                <a:gd name="T101" fmla="*/ 3488 h 26168"/>
                <a:gd name="T102" fmla="*/ 13560 w 52117"/>
                <a:gd name="T103" fmla="*/ 7102 h 26168"/>
                <a:gd name="T104" fmla="*/ 15301 w 52117"/>
                <a:gd name="T105" fmla="*/ 8723 h 26168"/>
                <a:gd name="T106" fmla="*/ 17946 w 52117"/>
                <a:gd name="T107" fmla="*/ 10792 h 26168"/>
                <a:gd name="T108" fmla="*/ 24225 w 52117"/>
                <a:gd name="T109" fmla="*/ 12916 h 26168"/>
                <a:gd name="T110" fmla="*/ 34787 w 52117"/>
                <a:gd name="T111" fmla="*/ 10330 h 26168"/>
                <a:gd name="T112" fmla="*/ 43890 w 52117"/>
                <a:gd name="T113" fmla="*/ 1677 h 26168"/>
                <a:gd name="T114" fmla="*/ 50331 w 52117"/>
                <a:gd name="T115" fmla="*/ 3278 h 26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2117" h="26168">
                  <a:moveTo>
                    <a:pt x="52107" y="4115"/>
                  </a:moveTo>
                  <a:cubicBezTo>
                    <a:pt x="52091" y="3841"/>
                    <a:pt x="52040" y="3427"/>
                    <a:pt x="51838" y="2930"/>
                  </a:cubicBezTo>
                  <a:cubicBezTo>
                    <a:pt x="51638" y="2436"/>
                    <a:pt x="51278" y="1854"/>
                    <a:pt x="50670" y="1361"/>
                  </a:cubicBezTo>
                  <a:cubicBezTo>
                    <a:pt x="50367" y="1116"/>
                    <a:pt x="50002" y="896"/>
                    <a:pt x="49583" y="737"/>
                  </a:cubicBezTo>
                  <a:cubicBezTo>
                    <a:pt x="49164" y="577"/>
                    <a:pt x="48683" y="480"/>
                    <a:pt x="48187" y="476"/>
                  </a:cubicBezTo>
                  <a:cubicBezTo>
                    <a:pt x="47024" y="459"/>
                    <a:pt x="44252" y="418"/>
                    <a:pt x="43968" y="420"/>
                  </a:cubicBezTo>
                  <a:cubicBezTo>
                    <a:pt x="43684" y="422"/>
                    <a:pt x="43402" y="560"/>
                    <a:pt x="43268" y="682"/>
                  </a:cubicBezTo>
                  <a:cubicBezTo>
                    <a:pt x="43135" y="804"/>
                    <a:pt x="38532" y="5028"/>
                    <a:pt x="35822" y="7517"/>
                  </a:cubicBezTo>
                  <a:cubicBezTo>
                    <a:pt x="35737" y="7593"/>
                    <a:pt x="35654" y="7670"/>
                    <a:pt x="35569" y="7747"/>
                  </a:cubicBezTo>
                  <a:cubicBezTo>
                    <a:pt x="35490" y="7821"/>
                    <a:pt x="35409" y="7893"/>
                    <a:pt x="35326" y="7965"/>
                  </a:cubicBezTo>
                  <a:cubicBezTo>
                    <a:pt x="35162" y="8108"/>
                    <a:pt x="34993" y="8248"/>
                    <a:pt x="34819" y="8383"/>
                  </a:cubicBezTo>
                  <a:cubicBezTo>
                    <a:pt x="34473" y="8654"/>
                    <a:pt x="34111" y="8911"/>
                    <a:pt x="33730" y="9149"/>
                  </a:cubicBezTo>
                  <a:cubicBezTo>
                    <a:pt x="32972" y="9627"/>
                    <a:pt x="32150" y="10035"/>
                    <a:pt x="31278" y="10356"/>
                  </a:cubicBezTo>
                  <a:cubicBezTo>
                    <a:pt x="29536" y="11001"/>
                    <a:pt x="27598" y="11297"/>
                    <a:pt x="25618" y="11198"/>
                  </a:cubicBezTo>
                  <a:cubicBezTo>
                    <a:pt x="23642" y="11104"/>
                    <a:pt x="21634" y="10601"/>
                    <a:pt x="19812" y="9632"/>
                  </a:cubicBezTo>
                  <a:cubicBezTo>
                    <a:pt x="18902" y="9149"/>
                    <a:pt x="18040" y="8554"/>
                    <a:pt x="17258" y="7854"/>
                  </a:cubicBezTo>
                  <a:cubicBezTo>
                    <a:pt x="16451" y="7085"/>
                    <a:pt x="15636" y="6309"/>
                    <a:pt x="14813" y="5525"/>
                  </a:cubicBezTo>
                  <a:cubicBezTo>
                    <a:pt x="13983" y="4734"/>
                    <a:pt x="13145" y="3937"/>
                    <a:pt x="12299" y="3131"/>
                  </a:cubicBezTo>
                  <a:cubicBezTo>
                    <a:pt x="12088" y="2931"/>
                    <a:pt x="11876" y="2729"/>
                    <a:pt x="11664" y="2527"/>
                  </a:cubicBezTo>
                  <a:cubicBezTo>
                    <a:pt x="11345" y="2224"/>
                    <a:pt x="11345" y="2224"/>
                    <a:pt x="11345" y="2224"/>
                  </a:cubicBezTo>
                  <a:cubicBezTo>
                    <a:pt x="11185" y="2072"/>
                    <a:pt x="11185" y="2072"/>
                    <a:pt x="11185" y="2072"/>
                  </a:cubicBezTo>
                  <a:cubicBezTo>
                    <a:pt x="11099" y="1991"/>
                    <a:pt x="11099" y="1991"/>
                    <a:pt x="11099" y="1991"/>
                  </a:cubicBezTo>
                  <a:cubicBezTo>
                    <a:pt x="11006" y="1905"/>
                    <a:pt x="11006" y="1905"/>
                    <a:pt x="11006" y="1905"/>
                  </a:cubicBezTo>
                  <a:cubicBezTo>
                    <a:pt x="10504" y="1454"/>
                    <a:pt x="9939" y="1069"/>
                    <a:pt x="9326" y="768"/>
                  </a:cubicBezTo>
                  <a:cubicBezTo>
                    <a:pt x="8713" y="467"/>
                    <a:pt x="8055" y="251"/>
                    <a:pt x="7376" y="132"/>
                  </a:cubicBezTo>
                  <a:cubicBezTo>
                    <a:pt x="7036" y="73"/>
                    <a:pt x="6698" y="37"/>
                    <a:pt x="6345" y="26"/>
                  </a:cubicBezTo>
                  <a:cubicBezTo>
                    <a:pt x="6040" y="23"/>
                    <a:pt x="5735" y="21"/>
                    <a:pt x="5430" y="18"/>
                  </a:cubicBezTo>
                  <a:cubicBezTo>
                    <a:pt x="4086" y="12"/>
                    <a:pt x="2155" y="0"/>
                    <a:pt x="1375" y="0"/>
                  </a:cubicBezTo>
                  <a:cubicBezTo>
                    <a:pt x="595" y="0"/>
                    <a:pt x="78" y="373"/>
                    <a:pt x="78" y="1289"/>
                  </a:cubicBezTo>
                  <a:cubicBezTo>
                    <a:pt x="78" y="2417"/>
                    <a:pt x="69" y="3264"/>
                    <a:pt x="65" y="4257"/>
                  </a:cubicBezTo>
                  <a:cubicBezTo>
                    <a:pt x="52" y="7480"/>
                    <a:pt x="34" y="11821"/>
                    <a:pt x="17" y="16197"/>
                  </a:cubicBezTo>
                  <a:cubicBezTo>
                    <a:pt x="13" y="17294"/>
                    <a:pt x="9" y="18390"/>
                    <a:pt x="5" y="19472"/>
                  </a:cubicBezTo>
                  <a:cubicBezTo>
                    <a:pt x="4" y="20013"/>
                    <a:pt x="2" y="20550"/>
                    <a:pt x="0" y="21082"/>
                  </a:cubicBezTo>
                  <a:cubicBezTo>
                    <a:pt x="0" y="21215"/>
                    <a:pt x="0" y="21349"/>
                    <a:pt x="0" y="21480"/>
                  </a:cubicBezTo>
                  <a:cubicBezTo>
                    <a:pt x="0" y="21599"/>
                    <a:pt x="0" y="21599"/>
                    <a:pt x="0" y="21599"/>
                  </a:cubicBezTo>
                  <a:cubicBezTo>
                    <a:pt x="0" y="21646"/>
                    <a:pt x="3" y="21693"/>
                    <a:pt x="5" y="21740"/>
                  </a:cubicBezTo>
                  <a:cubicBezTo>
                    <a:pt x="10" y="21836"/>
                    <a:pt x="20" y="21928"/>
                    <a:pt x="32" y="22021"/>
                  </a:cubicBezTo>
                  <a:cubicBezTo>
                    <a:pt x="80" y="22391"/>
                    <a:pt x="187" y="22743"/>
                    <a:pt x="330" y="23065"/>
                  </a:cubicBezTo>
                  <a:cubicBezTo>
                    <a:pt x="618" y="23711"/>
                    <a:pt x="1040" y="24230"/>
                    <a:pt x="1499" y="24647"/>
                  </a:cubicBezTo>
                  <a:cubicBezTo>
                    <a:pt x="1961" y="25065"/>
                    <a:pt x="2468" y="25388"/>
                    <a:pt x="2995" y="25633"/>
                  </a:cubicBezTo>
                  <a:cubicBezTo>
                    <a:pt x="3523" y="25876"/>
                    <a:pt x="4074" y="26042"/>
                    <a:pt x="4638" y="26120"/>
                  </a:cubicBezTo>
                  <a:cubicBezTo>
                    <a:pt x="4779" y="26140"/>
                    <a:pt x="4922" y="26154"/>
                    <a:pt x="5064" y="26161"/>
                  </a:cubicBezTo>
                  <a:cubicBezTo>
                    <a:pt x="5136" y="26163"/>
                    <a:pt x="5207" y="26167"/>
                    <a:pt x="5279" y="26167"/>
                  </a:cubicBezTo>
                  <a:cubicBezTo>
                    <a:pt x="5336" y="26167"/>
                    <a:pt x="5393" y="26167"/>
                    <a:pt x="5449" y="26168"/>
                  </a:cubicBezTo>
                  <a:cubicBezTo>
                    <a:pt x="5672" y="26168"/>
                    <a:pt x="5896" y="26167"/>
                    <a:pt x="6118" y="26163"/>
                  </a:cubicBezTo>
                  <a:cubicBezTo>
                    <a:pt x="6101" y="26163"/>
                    <a:pt x="6139" y="26163"/>
                    <a:pt x="6230" y="26159"/>
                  </a:cubicBezTo>
                  <a:cubicBezTo>
                    <a:pt x="6276" y="26158"/>
                    <a:pt x="6335" y="26156"/>
                    <a:pt x="6407" y="26154"/>
                  </a:cubicBezTo>
                  <a:cubicBezTo>
                    <a:pt x="6487" y="26150"/>
                    <a:pt x="6580" y="26147"/>
                    <a:pt x="6688" y="26141"/>
                  </a:cubicBezTo>
                  <a:cubicBezTo>
                    <a:pt x="6868" y="26129"/>
                    <a:pt x="7073" y="26114"/>
                    <a:pt x="7294" y="26080"/>
                  </a:cubicBezTo>
                  <a:cubicBezTo>
                    <a:pt x="7514" y="26046"/>
                    <a:pt x="7750" y="25990"/>
                    <a:pt x="7958" y="25869"/>
                  </a:cubicBezTo>
                  <a:cubicBezTo>
                    <a:pt x="8162" y="25756"/>
                    <a:pt x="8375" y="25563"/>
                    <a:pt x="8513" y="25317"/>
                  </a:cubicBezTo>
                  <a:cubicBezTo>
                    <a:pt x="8650" y="25074"/>
                    <a:pt x="8735" y="24782"/>
                    <a:pt x="8720" y="24416"/>
                  </a:cubicBezTo>
                  <a:cubicBezTo>
                    <a:pt x="8724" y="24248"/>
                    <a:pt x="8728" y="24079"/>
                    <a:pt x="8732" y="23904"/>
                  </a:cubicBezTo>
                  <a:cubicBezTo>
                    <a:pt x="8732" y="23808"/>
                    <a:pt x="8732" y="23711"/>
                    <a:pt x="8733" y="23612"/>
                  </a:cubicBezTo>
                  <a:cubicBezTo>
                    <a:pt x="8733" y="23413"/>
                    <a:pt x="8733" y="23202"/>
                    <a:pt x="8733" y="22986"/>
                  </a:cubicBezTo>
                  <a:cubicBezTo>
                    <a:pt x="8734" y="22548"/>
                    <a:pt x="8735" y="22074"/>
                    <a:pt x="8736" y="21563"/>
                  </a:cubicBezTo>
                  <a:cubicBezTo>
                    <a:pt x="8737" y="20545"/>
                    <a:pt x="8738" y="19384"/>
                    <a:pt x="8740" y="18107"/>
                  </a:cubicBezTo>
                  <a:cubicBezTo>
                    <a:pt x="8740" y="17948"/>
                    <a:pt x="8740" y="17788"/>
                    <a:pt x="8740" y="17624"/>
                  </a:cubicBezTo>
                  <a:cubicBezTo>
                    <a:pt x="8740" y="17543"/>
                    <a:pt x="8740" y="17460"/>
                    <a:pt x="8740" y="17378"/>
                  </a:cubicBezTo>
                  <a:cubicBezTo>
                    <a:pt x="8741" y="17270"/>
                    <a:pt x="8741" y="17270"/>
                    <a:pt x="8741" y="17270"/>
                  </a:cubicBezTo>
                  <a:cubicBezTo>
                    <a:pt x="8741" y="17243"/>
                    <a:pt x="8743" y="17214"/>
                    <a:pt x="8744" y="17187"/>
                  </a:cubicBezTo>
                  <a:cubicBezTo>
                    <a:pt x="8755" y="16964"/>
                    <a:pt x="8800" y="16740"/>
                    <a:pt x="8882" y="16522"/>
                  </a:cubicBezTo>
                  <a:cubicBezTo>
                    <a:pt x="9042" y="16087"/>
                    <a:pt x="9355" y="15680"/>
                    <a:pt x="9773" y="15408"/>
                  </a:cubicBezTo>
                  <a:cubicBezTo>
                    <a:pt x="9980" y="15273"/>
                    <a:pt x="10212" y="15170"/>
                    <a:pt x="10456" y="15112"/>
                  </a:cubicBezTo>
                  <a:cubicBezTo>
                    <a:pt x="10578" y="15083"/>
                    <a:pt x="10703" y="15063"/>
                    <a:pt x="10829" y="15056"/>
                  </a:cubicBezTo>
                  <a:cubicBezTo>
                    <a:pt x="10942" y="15051"/>
                    <a:pt x="11122" y="15054"/>
                    <a:pt x="11276" y="15063"/>
                  </a:cubicBezTo>
                  <a:cubicBezTo>
                    <a:pt x="11911" y="15107"/>
                    <a:pt x="12556" y="15283"/>
                    <a:pt x="13197" y="15584"/>
                  </a:cubicBezTo>
                  <a:cubicBezTo>
                    <a:pt x="13839" y="15886"/>
                    <a:pt x="14472" y="16307"/>
                    <a:pt x="15098" y="16805"/>
                  </a:cubicBezTo>
                  <a:cubicBezTo>
                    <a:pt x="15724" y="17299"/>
                    <a:pt x="16340" y="17869"/>
                    <a:pt x="16981" y="18468"/>
                  </a:cubicBezTo>
                  <a:cubicBezTo>
                    <a:pt x="17301" y="18769"/>
                    <a:pt x="17628" y="19075"/>
                    <a:pt x="17971" y="19385"/>
                  </a:cubicBezTo>
                  <a:cubicBezTo>
                    <a:pt x="18303" y="19681"/>
                    <a:pt x="18637" y="19978"/>
                    <a:pt x="18973" y="20280"/>
                  </a:cubicBezTo>
                  <a:cubicBezTo>
                    <a:pt x="19637" y="20878"/>
                    <a:pt x="20310" y="21500"/>
                    <a:pt x="21041" y="22112"/>
                  </a:cubicBezTo>
                  <a:cubicBezTo>
                    <a:pt x="21778" y="22725"/>
                    <a:pt x="22570" y="23339"/>
                    <a:pt x="23533" y="23824"/>
                  </a:cubicBezTo>
                  <a:cubicBezTo>
                    <a:pt x="24015" y="24064"/>
                    <a:pt x="24542" y="24264"/>
                    <a:pt x="25108" y="24382"/>
                  </a:cubicBezTo>
                  <a:cubicBezTo>
                    <a:pt x="25671" y="24499"/>
                    <a:pt x="26269" y="24528"/>
                    <a:pt x="26848" y="24457"/>
                  </a:cubicBezTo>
                  <a:cubicBezTo>
                    <a:pt x="27427" y="24387"/>
                    <a:pt x="27981" y="24221"/>
                    <a:pt x="28486" y="24005"/>
                  </a:cubicBezTo>
                  <a:cubicBezTo>
                    <a:pt x="28992" y="23787"/>
                    <a:pt x="29451" y="23520"/>
                    <a:pt x="29878" y="23237"/>
                  </a:cubicBezTo>
                  <a:cubicBezTo>
                    <a:pt x="30730" y="22663"/>
                    <a:pt x="31464" y="22025"/>
                    <a:pt x="32166" y="21397"/>
                  </a:cubicBezTo>
                  <a:cubicBezTo>
                    <a:pt x="32866" y="20766"/>
                    <a:pt x="33533" y="20139"/>
                    <a:pt x="34204" y="19542"/>
                  </a:cubicBezTo>
                  <a:cubicBezTo>
                    <a:pt x="34915" y="18906"/>
                    <a:pt x="35557" y="18267"/>
                    <a:pt x="36202" y="17676"/>
                  </a:cubicBezTo>
                  <a:cubicBezTo>
                    <a:pt x="36845" y="17086"/>
                    <a:pt x="37487" y="16544"/>
                    <a:pt x="38150" y="16096"/>
                  </a:cubicBezTo>
                  <a:cubicBezTo>
                    <a:pt x="38813" y="15649"/>
                    <a:pt x="39496" y="15305"/>
                    <a:pt x="40189" y="15114"/>
                  </a:cubicBezTo>
                  <a:cubicBezTo>
                    <a:pt x="40535" y="15018"/>
                    <a:pt x="40883" y="14959"/>
                    <a:pt x="41231" y="14937"/>
                  </a:cubicBezTo>
                  <a:cubicBezTo>
                    <a:pt x="41318" y="14932"/>
                    <a:pt x="41406" y="14928"/>
                    <a:pt x="41491" y="14928"/>
                  </a:cubicBezTo>
                  <a:cubicBezTo>
                    <a:pt x="41564" y="14928"/>
                    <a:pt x="41637" y="14930"/>
                    <a:pt x="41709" y="14937"/>
                  </a:cubicBezTo>
                  <a:cubicBezTo>
                    <a:pt x="41852" y="14950"/>
                    <a:pt x="41994" y="14975"/>
                    <a:pt x="42131" y="15015"/>
                  </a:cubicBezTo>
                  <a:cubicBezTo>
                    <a:pt x="42684" y="15172"/>
                    <a:pt x="43172" y="15548"/>
                    <a:pt x="43477" y="16024"/>
                  </a:cubicBezTo>
                  <a:cubicBezTo>
                    <a:pt x="43631" y="16262"/>
                    <a:pt x="43741" y="16524"/>
                    <a:pt x="43802" y="16791"/>
                  </a:cubicBezTo>
                  <a:cubicBezTo>
                    <a:pt x="43833" y="16924"/>
                    <a:pt x="43853" y="17061"/>
                    <a:pt x="43861" y="17196"/>
                  </a:cubicBezTo>
                  <a:cubicBezTo>
                    <a:pt x="43863" y="17234"/>
                    <a:pt x="43863" y="17258"/>
                    <a:pt x="43864" y="17297"/>
                  </a:cubicBezTo>
                  <a:cubicBezTo>
                    <a:pt x="43865" y="17438"/>
                    <a:pt x="43865" y="17438"/>
                    <a:pt x="43865" y="17438"/>
                  </a:cubicBezTo>
                  <a:cubicBezTo>
                    <a:pt x="43866" y="17532"/>
                    <a:pt x="43867" y="17626"/>
                    <a:pt x="43869" y="17719"/>
                  </a:cubicBezTo>
                  <a:cubicBezTo>
                    <a:pt x="43876" y="18468"/>
                    <a:pt x="43883" y="19192"/>
                    <a:pt x="43890" y="19897"/>
                  </a:cubicBezTo>
                  <a:cubicBezTo>
                    <a:pt x="43894" y="20247"/>
                    <a:pt x="43898" y="20593"/>
                    <a:pt x="43901" y="20934"/>
                  </a:cubicBezTo>
                  <a:cubicBezTo>
                    <a:pt x="43905" y="21104"/>
                    <a:pt x="43907" y="21271"/>
                    <a:pt x="43908" y="21437"/>
                  </a:cubicBezTo>
                  <a:cubicBezTo>
                    <a:pt x="43910" y="21574"/>
                    <a:pt x="43910" y="21574"/>
                    <a:pt x="43910" y="21574"/>
                  </a:cubicBezTo>
                  <a:cubicBezTo>
                    <a:pt x="43910" y="21630"/>
                    <a:pt x="43913" y="21686"/>
                    <a:pt x="43917" y="21744"/>
                  </a:cubicBezTo>
                  <a:cubicBezTo>
                    <a:pt x="43926" y="21855"/>
                    <a:pt x="43939" y="21967"/>
                    <a:pt x="43958" y="22075"/>
                  </a:cubicBezTo>
                  <a:cubicBezTo>
                    <a:pt x="44033" y="22514"/>
                    <a:pt x="44192" y="22912"/>
                    <a:pt x="44390" y="23260"/>
                  </a:cubicBezTo>
                  <a:cubicBezTo>
                    <a:pt x="44588" y="23608"/>
                    <a:pt x="44824" y="23907"/>
                    <a:pt x="45077" y="24167"/>
                  </a:cubicBezTo>
                  <a:cubicBezTo>
                    <a:pt x="45584" y="24686"/>
                    <a:pt x="46146" y="25056"/>
                    <a:pt x="46712" y="25326"/>
                  </a:cubicBezTo>
                  <a:cubicBezTo>
                    <a:pt x="47278" y="25595"/>
                    <a:pt x="47852" y="25763"/>
                    <a:pt x="48413" y="25839"/>
                  </a:cubicBezTo>
                  <a:cubicBezTo>
                    <a:pt x="48562" y="25858"/>
                    <a:pt x="48710" y="25871"/>
                    <a:pt x="48858" y="25878"/>
                  </a:cubicBezTo>
                  <a:cubicBezTo>
                    <a:pt x="48933" y="25880"/>
                    <a:pt x="49007" y="25882"/>
                    <a:pt x="49081" y="25882"/>
                  </a:cubicBezTo>
                  <a:cubicBezTo>
                    <a:pt x="49145" y="25880"/>
                    <a:pt x="49208" y="25880"/>
                    <a:pt x="49272" y="25878"/>
                  </a:cubicBezTo>
                  <a:cubicBezTo>
                    <a:pt x="49518" y="25873"/>
                    <a:pt x="49758" y="25864"/>
                    <a:pt x="49996" y="25851"/>
                  </a:cubicBezTo>
                  <a:cubicBezTo>
                    <a:pt x="50116" y="25846"/>
                    <a:pt x="50234" y="25837"/>
                    <a:pt x="50353" y="25828"/>
                  </a:cubicBezTo>
                  <a:cubicBezTo>
                    <a:pt x="50540" y="25815"/>
                    <a:pt x="50733" y="25797"/>
                    <a:pt x="50914" y="25770"/>
                  </a:cubicBezTo>
                  <a:cubicBezTo>
                    <a:pt x="51096" y="25741"/>
                    <a:pt x="51270" y="25700"/>
                    <a:pt x="51422" y="25631"/>
                  </a:cubicBezTo>
                  <a:cubicBezTo>
                    <a:pt x="51498" y="25597"/>
                    <a:pt x="51568" y="25557"/>
                    <a:pt x="51635" y="25510"/>
                  </a:cubicBezTo>
                  <a:cubicBezTo>
                    <a:pt x="51702" y="25460"/>
                    <a:pt x="51764" y="25402"/>
                    <a:pt x="51819" y="25339"/>
                  </a:cubicBezTo>
                  <a:cubicBezTo>
                    <a:pt x="51929" y="25209"/>
                    <a:pt x="52001" y="25060"/>
                    <a:pt x="52046" y="24904"/>
                  </a:cubicBezTo>
                  <a:cubicBezTo>
                    <a:pt x="52067" y="24827"/>
                    <a:pt x="52084" y="24746"/>
                    <a:pt x="52094" y="24663"/>
                  </a:cubicBezTo>
                  <a:cubicBezTo>
                    <a:pt x="52107" y="24580"/>
                    <a:pt x="52102" y="24488"/>
                    <a:pt x="52103" y="24401"/>
                  </a:cubicBezTo>
                  <a:cubicBezTo>
                    <a:pt x="52105" y="24234"/>
                    <a:pt x="52117" y="4327"/>
                    <a:pt x="52107" y="4115"/>
                  </a:cubicBezTo>
                  <a:close/>
                  <a:moveTo>
                    <a:pt x="50669" y="23321"/>
                  </a:moveTo>
                  <a:cubicBezTo>
                    <a:pt x="50668" y="23480"/>
                    <a:pt x="50666" y="23637"/>
                    <a:pt x="50665" y="23797"/>
                  </a:cubicBezTo>
                  <a:cubicBezTo>
                    <a:pt x="50663" y="23970"/>
                    <a:pt x="50663" y="23970"/>
                    <a:pt x="50663" y="23970"/>
                  </a:cubicBezTo>
                  <a:cubicBezTo>
                    <a:pt x="50661" y="24059"/>
                    <a:pt x="50661" y="24059"/>
                    <a:pt x="50661" y="24059"/>
                  </a:cubicBezTo>
                  <a:cubicBezTo>
                    <a:pt x="50659" y="24118"/>
                    <a:pt x="50661" y="24180"/>
                    <a:pt x="50634" y="24234"/>
                  </a:cubicBezTo>
                  <a:cubicBezTo>
                    <a:pt x="50620" y="24259"/>
                    <a:pt x="50598" y="24281"/>
                    <a:pt x="50571" y="24293"/>
                  </a:cubicBezTo>
                  <a:cubicBezTo>
                    <a:pt x="50544" y="24306"/>
                    <a:pt x="50513" y="24311"/>
                    <a:pt x="50484" y="24315"/>
                  </a:cubicBezTo>
                  <a:cubicBezTo>
                    <a:pt x="50425" y="24324"/>
                    <a:pt x="50365" y="24327"/>
                    <a:pt x="50306" y="24329"/>
                  </a:cubicBezTo>
                  <a:cubicBezTo>
                    <a:pt x="50132" y="24338"/>
                    <a:pt x="50132" y="24338"/>
                    <a:pt x="50132" y="24338"/>
                  </a:cubicBezTo>
                  <a:cubicBezTo>
                    <a:pt x="49896" y="24346"/>
                    <a:pt x="49896" y="24346"/>
                    <a:pt x="49896" y="24346"/>
                  </a:cubicBezTo>
                  <a:cubicBezTo>
                    <a:pt x="49737" y="24349"/>
                    <a:pt x="49577" y="24351"/>
                    <a:pt x="49415" y="24351"/>
                  </a:cubicBezTo>
                  <a:cubicBezTo>
                    <a:pt x="49173" y="24351"/>
                    <a:pt x="49173" y="24351"/>
                    <a:pt x="49173" y="24351"/>
                  </a:cubicBezTo>
                  <a:cubicBezTo>
                    <a:pt x="49062" y="24349"/>
                    <a:pt x="49062" y="24349"/>
                    <a:pt x="49062" y="24349"/>
                  </a:cubicBezTo>
                  <a:cubicBezTo>
                    <a:pt x="49029" y="24349"/>
                    <a:pt x="48995" y="24346"/>
                    <a:pt x="48961" y="24344"/>
                  </a:cubicBezTo>
                  <a:cubicBezTo>
                    <a:pt x="48419" y="24311"/>
                    <a:pt x="47848" y="24138"/>
                    <a:pt x="47329" y="23862"/>
                  </a:cubicBezTo>
                  <a:cubicBezTo>
                    <a:pt x="46810" y="23588"/>
                    <a:pt x="46335" y="23206"/>
                    <a:pt x="46009" y="22755"/>
                  </a:cubicBezTo>
                  <a:cubicBezTo>
                    <a:pt x="45845" y="22532"/>
                    <a:pt x="45721" y="22290"/>
                    <a:pt x="45648" y="22048"/>
                  </a:cubicBezTo>
                  <a:cubicBezTo>
                    <a:pt x="45613" y="21926"/>
                    <a:pt x="45591" y="21803"/>
                    <a:pt x="45582" y="21681"/>
                  </a:cubicBezTo>
                  <a:cubicBezTo>
                    <a:pt x="45578" y="21650"/>
                    <a:pt x="45578" y="21619"/>
                    <a:pt x="45576" y="21589"/>
                  </a:cubicBezTo>
                  <a:cubicBezTo>
                    <a:pt x="45576" y="21480"/>
                    <a:pt x="45576" y="21480"/>
                    <a:pt x="45576" y="21480"/>
                  </a:cubicBezTo>
                  <a:cubicBezTo>
                    <a:pt x="45578" y="21214"/>
                    <a:pt x="45578" y="21214"/>
                    <a:pt x="45578" y="21214"/>
                  </a:cubicBezTo>
                  <a:cubicBezTo>
                    <a:pt x="45582" y="20498"/>
                    <a:pt x="45587" y="19773"/>
                    <a:pt x="45593" y="19043"/>
                  </a:cubicBezTo>
                  <a:cubicBezTo>
                    <a:pt x="45594" y="18678"/>
                    <a:pt x="45597" y="18311"/>
                    <a:pt x="45600" y="17941"/>
                  </a:cubicBezTo>
                  <a:cubicBezTo>
                    <a:pt x="45601" y="17757"/>
                    <a:pt x="45602" y="17571"/>
                    <a:pt x="45603" y="17386"/>
                  </a:cubicBezTo>
                  <a:cubicBezTo>
                    <a:pt x="45603" y="17236"/>
                    <a:pt x="45603" y="17236"/>
                    <a:pt x="45603" y="17236"/>
                  </a:cubicBezTo>
                  <a:cubicBezTo>
                    <a:pt x="45603" y="17177"/>
                    <a:pt x="45600" y="17119"/>
                    <a:pt x="45598" y="17061"/>
                  </a:cubicBezTo>
                  <a:cubicBezTo>
                    <a:pt x="45592" y="16946"/>
                    <a:pt x="45580" y="16832"/>
                    <a:pt x="45565" y="16719"/>
                  </a:cubicBezTo>
                  <a:cubicBezTo>
                    <a:pt x="45441" y="15801"/>
                    <a:pt x="44998" y="14926"/>
                    <a:pt x="44320" y="14275"/>
                  </a:cubicBezTo>
                  <a:cubicBezTo>
                    <a:pt x="44006" y="13971"/>
                    <a:pt x="43627" y="13700"/>
                    <a:pt x="43192" y="13496"/>
                  </a:cubicBezTo>
                  <a:cubicBezTo>
                    <a:pt x="42756" y="13293"/>
                    <a:pt x="42264" y="13156"/>
                    <a:pt x="41746" y="13121"/>
                  </a:cubicBezTo>
                  <a:cubicBezTo>
                    <a:pt x="41476" y="13105"/>
                    <a:pt x="41250" y="13112"/>
                    <a:pt x="41005" y="13127"/>
                  </a:cubicBezTo>
                  <a:cubicBezTo>
                    <a:pt x="40762" y="13143"/>
                    <a:pt x="40518" y="13172"/>
                    <a:pt x="40273" y="13217"/>
                  </a:cubicBezTo>
                  <a:cubicBezTo>
                    <a:pt x="39783" y="13302"/>
                    <a:pt x="39294" y="13446"/>
                    <a:pt x="38820" y="13635"/>
                  </a:cubicBezTo>
                  <a:cubicBezTo>
                    <a:pt x="37870" y="14016"/>
                    <a:pt x="36994" y="14578"/>
                    <a:pt x="36186" y="15204"/>
                  </a:cubicBezTo>
                  <a:cubicBezTo>
                    <a:pt x="35377" y="15833"/>
                    <a:pt x="34631" y="16529"/>
                    <a:pt x="33901" y="17207"/>
                  </a:cubicBezTo>
                  <a:cubicBezTo>
                    <a:pt x="33719" y="17373"/>
                    <a:pt x="33537" y="17541"/>
                    <a:pt x="33355" y="17708"/>
                  </a:cubicBezTo>
                  <a:cubicBezTo>
                    <a:pt x="33083" y="17952"/>
                    <a:pt x="33083" y="17952"/>
                    <a:pt x="33083" y="17952"/>
                  </a:cubicBezTo>
                  <a:cubicBezTo>
                    <a:pt x="32806" y="18195"/>
                    <a:pt x="32806" y="18195"/>
                    <a:pt x="32806" y="18195"/>
                  </a:cubicBezTo>
                  <a:cubicBezTo>
                    <a:pt x="32425" y="18531"/>
                    <a:pt x="32051" y="18868"/>
                    <a:pt x="31681" y="19200"/>
                  </a:cubicBezTo>
                  <a:cubicBezTo>
                    <a:pt x="30943" y="19861"/>
                    <a:pt x="30223" y="20509"/>
                    <a:pt x="29505" y="21060"/>
                  </a:cubicBezTo>
                  <a:cubicBezTo>
                    <a:pt x="28788" y="21610"/>
                    <a:pt x="28065" y="22057"/>
                    <a:pt x="27369" y="22286"/>
                  </a:cubicBezTo>
                  <a:cubicBezTo>
                    <a:pt x="26674" y="22519"/>
                    <a:pt x="26011" y="22524"/>
                    <a:pt x="25398" y="22368"/>
                  </a:cubicBezTo>
                  <a:cubicBezTo>
                    <a:pt x="24487" y="22137"/>
                    <a:pt x="23581" y="21531"/>
                    <a:pt x="22709" y="20821"/>
                  </a:cubicBezTo>
                  <a:cubicBezTo>
                    <a:pt x="21834" y="20107"/>
                    <a:pt x="20977" y="19286"/>
                    <a:pt x="20080" y="18475"/>
                  </a:cubicBezTo>
                  <a:cubicBezTo>
                    <a:pt x="19858" y="18275"/>
                    <a:pt x="19635" y="18073"/>
                    <a:pt x="19412" y="17873"/>
                  </a:cubicBezTo>
                  <a:cubicBezTo>
                    <a:pt x="19197" y="17678"/>
                    <a:pt x="18983" y="17476"/>
                    <a:pt x="18766" y="17272"/>
                  </a:cubicBezTo>
                  <a:cubicBezTo>
                    <a:pt x="18332" y="16861"/>
                    <a:pt x="17891" y="16439"/>
                    <a:pt x="17428" y="16023"/>
                  </a:cubicBezTo>
                  <a:cubicBezTo>
                    <a:pt x="16965" y="15604"/>
                    <a:pt x="16481" y="15191"/>
                    <a:pt x="15959" y="14804"/>
                  </a:cubicBezTo>
                  <a:cubicBezTo>
                    <a:pt x="15438" y="14416"/>
                    <a:pt x="14878" y="14052"/>
                    <a:pt x="14267" y="13745"/>
                  </a:cubicBezTo>
                  <a:cubicBezTo>
                    <a:pt x="13657" y="13441"/>
                    <a:pt x="12993" y="13195"/>
                    <a:pt x="12295" y="13055"/>
                  </a:cubicBezTo>
                  <a:cubicBezTo>
                    <a:pt x="11946" y="12984"/>
                    <a:pt x="11589" y="12941"/>
                    <a:pt x="11231" y="12925"/>
                  </a:cubicBezTo>
                  <a:cubicBezTo>
                    <a:pt x="11142" y="12921"/>
                    <a:pt x="11052" y="12919"/>
                    <a:pt x="10963" y="12919"/>
                  </a:cubicBezTo>
                  <a:cubicBezTo>
                    <a:pt x="10865" y="12919"/>
                    <a:pt x="10763" y="12921"/>
                    <a:pt x="10663" y="12928"/>
                  </a:cubicBezTo>
                  <a:cubicBezTo>
                    <a:pt x="10462" y="12941"/>
                    <a:pt x="10262" y="12968"/>
                    <a:pt x="10065" y="13010"/>
                  </a:cubicBezTo>
                  <a:cubicBezTo>
                    <a:pt x="9275" y="13174"/>
                    <a:pt x="8542" y="13569"/>
                    <a:pt x="7966" y="14119"/>
                  </a:cubicBezTo>
                  <a:cubicBezTo>
                    <a:pt x="7387" y="14667"/>
                    <a:pt x="6959" y="15375"/>
                    <a:pt x="6746" y="16152"/>
                  </a:cubicBezTo>
                  <a:cubicBezTo>
                    <a:pt x="6692" y="16345"/>
                    <a:pt x="6652" y="16544"/>
                    <a:pt x="6626" y="16744"/>
                  </a:cubicBezTo>
                  <a:cubicBezTo>
                    <a:pt x="6614" y="16843"/>
                    <a:pt x="6603" y="16942"/>
                    <a:pt x="6597" y="17043"/>
                  </a:cubicBezTo>
                  <a:cubicBezTo>
                    <a:pt x="6593" y="17094"/>
                    <a:pt x="6593" y="17144"/>
                    <a:pt x="6591" y="17195"/>
                  </a:cubicBezTo>
                  <a:cubicBezTo>
                    <a:pt x="6589" y="17335"/>
                    <a:pt x="6589" y="17335"/>
                    <a:pt x="6589" y="17335"/>
                  </a:cubicBezTo>
                  <a:cubicBezTo>
                    <a:pt x="6586" y="18257"/>
                    <a:pt x="6586" y="18257"/>
                    <a:pt x="6586" y="18257"/>
                  </a:cubicBezTo>
                  <a:cubicBezTo>
                    <a:pt x="6584" y="18871"/>
                    <a:pt x="6582" y="19486"/>
                    <a:pt x="6579" y="20101"/>
                  </a:cubicBezTo>
                  <a:cubicBezTo>
                    <a:pt x="6576" y="21331"/>
                    <a:pt x="6572" y="22562"/>
                    <a:pt x="6569" y="23796"/>
                  </a:cubicBezTo>
                  <a:cubicBezTo>
                    <a:pt x="6568" y="23909"/>
                    <a:pt x="6568" y="23909"/>
                    <a:pt x="6568" y="23909"/>
                  </a:cubicBezTo>
                  <a:cubicBezTo>
                    <a:pt x="6568" y="23938"/>
                    <a:pt x="6568" y="23938"/>
                    <a:pt x="6568" y="23938"/>
                  </a:cubicBezTo>
                  <a:cubicBezTo>
                    <a:pt x="6568" y="23940"/>
                    <a:pt x="6568" y="23940"/>
                    <a:pt x="6568" y="23940"/>
                  </a:cubicBezTo>
                  <a:cubicBezTo>
                    <a:pt x="6567" y="23951"/>
                    <a:pt x="6567" y="23951"/>
                    <a:pt x="6567" y="23951"/>
                  </a:cubicBezTo>
                  <a:cubicBezTo>
                    <a:pt x="6567" y="23956"/>
                    <a:pt x="6567" y="23963"/>
                    <a:pt x="6564" y="23970"/>
                  </a:cubicBezTo>
                  <a:cubicBezTo>
                    <a:pt x="6557" y="23983"/>
                    <a:pt x="6540" y="23980"/>
                    <a:pt x="6529" y="23981"/>
                  </a:cubicBezTo>
                  <a:cubicBezTo>
                    <a:pt x="6524" y="23981"/>
                    <a:pt x="6524" y="23981"/>
                    <a:pt x="6524" y="23981"/>
                  </a:cubicBezTo>
                  <a:cubicBezTo>
                    <a:pt x="6518" y="23981"/>
                    <a:pt x="6536" y="23980"/>
                    <a:pt x="6487" y="23983"/>
                  </a:cubicBezTo>
                  <a:cubicBezTo>
                    <a:pt x="6275" y="23992"/>
                    <a:pt x="6275" y="23992"/>
                    <a:pt x="6275" y="23992"/>
                  </a:cubicBezTo>
                  <a:cubicBezTo>
                    <a:pt x="6131" y="23996"/>
                    <a:pt x="5985" y="23999"/>
                    <a:pt x="5838" y="23999"/>
                  </a:cubicBezTo>
                  <a:cubicBezTo>
                    <a:pt x="5390" y="24001"/>
                    <a:pt x="5390" y="24001"/>
                    <a:pt x="5390" y="24001"/>
                  </a:cubicBezTo>
                  <a:cubicBezTo>
                    <a:pt x="5282" y="23999"/>
                    <a:pt x="5282" y="23999"/>
                    <a:pt x="5282" y="23999"/>
                  </a:cubicBezTo>
                  <a:cubicBezTo>
                    <a:pt x="5255" y="23999"/>
                    <a:pt x="5228" y="23999"/>
                    <a:pt x="5200" y="23998"/>
                  </a:cubicBezTo>
                  <a:cubicBezTo>
                    <a:pt x="5145" y="23996"/>
                    <a:pt x="5089" y="23990"/>
                    <a:pt x="5033" y="23985"/>
                  </a:cubicBezTo>
                  <a:cubicBezTo>
                    <a:pt x="4130" y="23895"/>
                    <a:pt x="3150" y="23366"/>
                    <a:pt x="2606" y="22670"/>
                  </a:cubicBezTo>
                  <a:cubicBezTo>
                    <a:pt x="2332" y="22323"/>
                    <a:pt x="2181" y="21951"/>
                    <a:pt x="2167" y="21605"/>
                  </a:cubicBezTo>
                  <a:cubicBezTo>
                    <a:pt x="2167" y="21008"/>
                    <a:pt x="2167" y="20413"/>
                    <a:pt x="2168" y="19818"/>
                  </a:cubicBezTo>
                  <a:cubicBezTo>
                    <a:pt x="2170" y="18592"/>
                    <a:pt x="2172" y="17368"/>
                    <a:pt x="2175" y="16149"/>
                  </a:cubicBezTo>
                  <a:cubicBezTo>
                    <a:pt x="2179" y="11420"/>
                    <a:pt x="2188" y="2224"/>
                    <a:pt x="2188" y="2163"/>
                  </a:cubicBezTo>
                  <a:cubicBezTo>
                    <a:pt x="2188" y="2102"/>
                    <a:pt x="2227" y="2106"/>
                    <a:pt x="2247" y="2106"/>
                  </a:cubicBezTo>
                  <a:cubicBezTo>
                    <a:pt x="2268" y="2106"/>
                    <a:pt x="4395" y="2105"/>
                    <a:pt x="5458" y="2105"/>
                  </a:cubicBezTo>
                  <a:cubicBezTo>
                    <a:pt x="5646" y="2106"/>
                    <a:pt x="5838" y="2106"/>
                    <a:pt x="6032" y="2106"/>
                  </a:cubicBezTo>
                  <a:cubicBezTo>
                    <a:pt x="6244" y="2106"/>
                    <a:pt x="6377" y="2107"/>
                    <a:pt x="6551" y="2122"/>
                  </a:cubicBezTo>
                  <a:cubicBezTo>
                    <a:pt x="6882" y="2148"/>
                    <a:pt x="7220" y="2206"/>
                    <a:pt x="7556" y="2300"/>
                  </a:cubicBezTo>
                  <a:cubicBezTo>
                    <a:pt x="8228" y="2488"/>
                    <a:pt x="8896" y="2825"/>
                    <a:pt x="9478" y="3304"/>
                  </a:cubicBezTo>
                  <a:cubicBezTo>
                    <a:pt x="9551" y="3363"/>
                    <a:pt x="9623" y="3426"/>
                    <a:pt x="9691" y="3488"/>
                  </a:cubicBezTo>
                  <a:cubicBezTo>
                    <a:pt x="9772" y="3564"/>
                    <a:pt x="9854" y="3640"/>
                    <a:pt x="9935" y="3717"/>
                  </a:cubicBezTo>
                  <a:cubicBezTo>
                    <a:pt x="10104" y="3873"/>
                    <a:pt x="10273" y="4033"/>
                    <a:pt x="10443" y="4193"/>
                  </a:cubicBezTo>
                  <a:cubicBezTo>
                    <a:pt x="10784" y="4511"/>
                    <a:pt x="11128" y="4832"/>
                    <a:pt x="11473" y="5155"/>
                  </a:cubicBezTo>
                  <a:cubicBezTo>
                    <a:pt x="12165" y="5801"/>
                    <a:pt x="12864" y="6453"/>
                    <a:pt x="13560" y="7102"/>
                  </a:cubicBezTo>
                  <a:cubicBezTo>
                    <a:pt x="13908" y="7426"/>
                    <a:pt x="14255" y="7750"/>
                    <a:pt x="14600" y="8071"/>
                  </a:cubicBezTo>
                  <a:cubicBezTo>
                    <a:pt x="14772" y="8231"/>
                    <a:pt x="14944" y="8391"/>
                    <a:pt x="15116" y="8551"/>
                  </a:cubicBezTo>
                  <a:cubicBezTo>
                    <a:pt x="15244" y="8670"/>
                    <a:pt x="15244" y="8670"/>
                    <a:pt x="15244" y="8670"/>
                  </a:cubicBezTo>
                  <a:cubicBezTo>
                    <a:pt x="15301" y="8723"/>
                    <a:pt x="15301" y="8723"/>
                    <a:pt x="15301" y="8723"/>
                  </a:cubicBezTo>
                  <a:cubicBezTo>
                    <a:pt x="15318" y="8739"/>
                    <a:pt x="15318" y="8739"/>
                    <a:pt x="15318" y="8739"/>
                  </a:cubicBezTo>
                  <a:cubicBezTo>
                    <a:pt x="15351" y="8772"/>
                    <a:pt x="15351" y="8772"/>
                    <a:pt x="15351" y="8772"/>
                  </a:cubicBezTo>
                  <a:cubicBezTo>
                    <a:pt x="15442" y="8861"/>
                    <a:pt x="15532" y="8946"/>
                    <a:pt x="15624" y="9032"/>
                  </a:cubicBezTo>
                  <a:cubicBezTo>
                    <a:pt x="16357" y="9713"/>
                    <a:pt x="17145" y="10301"/>
                    <a:pt x="17946" y="10792"/>
                  </a:cubicBezTo>
                  <a:cubicBezTo>
                    <a:pt x="19552" y="11776"/>
                    <a:pt x="21206" y="12352"/>
                    <a:pt x="22616" y="12654"/>
                  </a:cubicBezTo>
                  <a:cubicBezTo>
                    <a:pt x="22620" y="12654"/>
                    <a:pt x="22660" y="12663"/>
                    <a:pt x="22735" y="12680"/>
                  </a:cubicBezTo>
                  <a:cubicBezTo>
                    <a:pt x="22809" y="12694"/>
                    <a:pt x="22916" y="12718"/>
                    <a:pt x="23055" y="12743"/>
                  </a:cubicBezTo>
                  <a:cubicBezTo>
                    <a:pt x="23331" y="12795"/>
                    <a:pt x="23730" y="12862"/>
                    <a:pt x="24225" y="12916"/>
                  </a:cubicBezTo>
                  <a:cubicBezTo>
                    <a:pt x="25215" y="13026"/>
                    <a:pt x="26592" y="13075"/>
                    <a:pt x="28112" y="12878"/>
                  </a:cubicBezTo>
                  <a:cubicBezTo>
                    <a:pt x="28869" y="12781"/>
                    <a:pt x="29661" y="12622"/>
                    <a:pt x="30447" y="12395"/>
                  </a:cubicBezTo>
                  <a:cubicBezTo>
                    <a:pt x="31233" y="12169"/>
                    <a:pt x="32011" y="11874"/>
                    <a:pt x="32746" y="11522"/>
                  </a:cubicBezTo>
                  <a:cubicBezTo>
                    <a:pt x="33479" y="11172"/>
                    <a:pt x="34170" y="10765"/>
                    <a:pt x="34787" y="10330"/>
                  </a:cubicBezTo>
                  <a:cubicBezTo>
                    <a:pt x="35405" y="9898"/>
                    <a:pt x="35952" y="9439"/>
                    <a:pt x="36413" y="8996"/>
                  </a:cubicBezTo>
                  <a:cubicBezTo>
                    <a:pt x="37120" y="8298"/>
                    <a:pt x="37819" y="7609"/>
                    <a:pt x="38498" y="6938"/>
                  </a:cubicBezTo>
                  <a:cubicBezTo>
                    <a:pt x="39184" y="6265"/>
                    <a:pt x="39853" y="5610"/>
                    <a:pt x="40493" y="4982"/>
                  </a:cubicBezTo>
                  <a:cubicBezTo>
                    <a:pt x="41761" y="3748"/>
                    <a:pt x="43790" y="1776"/>
                    <a:pt x="43890" y="1677"/>
                  </a:cubicBezTo>
                  <a:cubicBezTo>
                    <a:pt x="43989" y="1579"/>
                    <a:pt x="44113" y="1557"/>
                    <a:pt x="44185" y="1556"/>
                  </a:cubicBezTo>
                  <a:cubicBezTo>
                    <a:pt x="44258" y="1555"/>
                    <a:pt x="47396" y="1513"/>
                    <a:pt x="47465" y="1512"/>
                  </a:cubicBezTo>
                  <a:cubicBezTo>
                    <a:pt x="48234" y="1495"/>
                    <a:pt x="48888" y="1761"/>
                    <a:pt x="49367" y="2115"/>
                  </a:cubicBezTo>
                  <a:cubicBezTo>
                    <a:pt x="49846" y="2471"/>
                    <a:pt x="50150" y="2903"/>
                    <a:pt x="50331" y="3278"/>
                  </a:cubicBezTo>
                  <a:cubicBezTo>
                    <a:pt x="50515" y="3656"/>
                    <a:pt x="50584" y="3979"/>
                    <a:pt x="50623" y="4197"/>
                  </a:cubicBezTo>
                  <a:cubicBezTo>
                    <a:pt x="50660" y="4416"/>
                    <a:pt x="50654" y="4668"/>
                    <a:pt x="50640" y="4917"/>
                  </a:cubicBezTo>
                  <a:cubicBezTo>
                    <a:pt x="50624" y="5164"/>
                    <a:pt x="50715" y="18267"/>
                    <a:pt x="50669" y="2332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36">
              <a:extLst>
                <a:ext uri="{FF2B5EF4-FFF2-40B4-BE49-F238E27FC236}">
                  <a16:creationId xmlns:a16="http://schemas.microsoft.com/office/drawing/2014/main" id="{FB37C6FA-ABEE-4EA4-BE5F-BF0314CEB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2346 w 51688"/>
                <a:gd name="T43" fmla="*/ 1839 h 25918"/>
                <a:gd name="T44" fmla="*/ 6307 w 51688"/>
                <a:gd name="T45" fmla="*/ 1843 h 25918"/>
                <a:gd name="T46" fmla="*/ 9640 w 51688"/>
                <a:gd name="T47" fmla="*/ 3220 h 25918"/>
                <a:gd name="T48" fmla="*/ 15297 w 51688"/>
                <a:gd name="T49" fmla="*/ 8489 h 25918"/>
                <a:gd name="T50" fmla="*/ 15909 w 51688"/>
                <a:gd name="T51" fmla="*/ 9055 h 25918"/>
                <a:gd name="T52" fmla="*/ 24130 w 51688"/>
                <a:gd name="T53" fmla="*/ 12613 h 25918"/>
                <a:gd name="T54" fmla="*/ 35966 w 51688"/>
                <a:gd name="T55" fmla="*/ 8944 h 25918"/>
                <a:gd name="T56" fmla="*/ 43246 w 51688"/>
                <a:gd name="T57" fmla="*/ 1655 h 25918"/>
                <a:gd name="T58" fmla="*/ 43511 w 51688"/>
                <a:gd name="T59" fmla="*/ 1366 h 25918"/>
                <a:gd name="T60" fmla="*/ 44343 w 51688"/>
                <a:gd name="T61" fmla="*/ 896 h 25918"/>
                <a:gd name="T62" fmla="*/ 43670 w 51688"/>
                <a:gd name="T63" fmla="*/ 727 h 25918"/>
                <a:gd name="T64" fmla="*/ 41873 w 51688"/>
                <a:gd name="T65" fmla="*/ 2007 h 25918"/>
                <a:gd name="T66" fmla="*/ 34512 w 51688"/>
                <a:gd name="T67" fmla="*/ 8591 h 25918"/>
                <a:gd name="T68" fmla="*/ 18064 w 51688"/>
                <a:gd name="T69" fmla="*/ 8699 h 25918"/>
                <a:gd name="T70" fmla="*/ 16455 w 51688"/>
                <a:gd name="T71" fmla="*/ 7314 h 25918"/>
                <a:gd name="T72" fmla="*/ 11277 w 51688"/>
                <a:gd name="T73" fmla="*/ 2358 h 25918"/>
                <a:gd name="T74" fmla="*/ 9968 w 51688"/>
                <a:gd name="T75" fmla="*/ 1251 h 25918"/>
                <a:gd name="T76" fmla="*/ 6274 w 51688"/>
                <a:gd name="T77" fmla="*/ 41 h 25918"/>
                <a:gd name="T78" fmla="*/ 1317 w 51688"/>
                <a:gd name="T79" fmla="*/ 0 h 25918"/>
                <a:gd name="T80" fmla="*/ 93 w 51688"/>
                <a:gd name="T81" fmla="*/ 1809 h 25918"/>
                <a:gd name="T82" fmla="*/ 4 w 51688"/>
                <a:gd name="T83" fmla="*/ 20044 h 25918"/>
                <a:gd name="T84" fmla="*/ 1 w 51688"/>
                <a:gd name="T85" fmla="*/ 21517 h 25918"/>
                <a:gd name="T86" fmla="*/ 2071 w 51688"/>
                <a:gd name="T87" fmla="*/ 24909 h 25918"/>
                <a:gd name="T88" fmla="*/ 5413 w 51688"/>
                <a:gd name="T89" fmla="*/ 25918 h 25918"/>
                <a:gd name="T90" fmla="*/ 6643 w 51688"/>
                <a:gd name="T91" fmla="*/ 25888 h 25918"/>
                <a:gd name="T92" fmla="*/ 8425 w 51688"/>
                <a:gd name="T93" fmla="*/ 24824 h 25918"/>
                <a:gd name="T94" fmla="*/ 8503 w 51688"/>
                <a:gd name="T95" fmla="*/ 22556 h 25918"/>
                <a:gd name="T96" fmla="*/ 8881 w 51688"/>
                <a:gd name="T97" fmla="*/ 15895 h 25918"/>
                <a:gd name="T98" fmla="*/ 11106 w 51688"/>
                <a:gd name="T99" fmla="*/ 14804 h 25918"/>
                <a:gd name="T100" fmla="*/ 17572 w 51688"/>
                <a:gd name="T101" fmla="*/ 18816 h 25918"/>
                <a:gd name="T102" fmla="*/ 23192 w 51688"/>
                <a:gd name="T103" fmla="*/ 23423 h 25918"/>
                <a:gd name="T104" fmla="*/ 28379 w 51688"/>
                <a:gd name="T105" fmla="*/ 23720 h 25918"/>
                <a:gd name="T106" fmla="*/ 34070 w 51688"/>
                <a:gd name="T107" fmla="*/ 19236 h 25918"/>
                <a:gd name="T108" fmla="*/ 39540 w 51688"/>
                <a:gd name="T109" fmla="*/ 14993 h 25918"/>
                <a:gd name="T110" fmla="*/ 42326 w 51688"/>
                <a:gd name="T111" fmla="*/ 14813 h 25918"/>
                <a:gd name="T112" fmla="*/ 43945 w 51688"/>
                <a:gd name="T113" fmla="*/ 17822 h 25918"/>
                <a:gd name="T114" fmla="*/ 44003 w 51688"/>
                <a:gd name="T115" fmla="*/ 21414 h 25918"/>
                <a:gd name="T116" fmla="*/ 46894 w 51688"/>
                <a:gd name="T117" fmla="*/ 25058 h 25918"/>
                <a:gd name="T118" fmla="*/ 50155 w 51688"/>
                <a:gd name="T119" fmla="*/ 25408 h 25918"/>
                <a:gd name="T120" fmla="*/ 51516 w 51688"/>
                <a:gd name="T121" fmla="*/ 2493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931"/>
                    <a:pt x="1951" y="1894"/>
                    <a:pt x="1977" y="1870"/>
                  </a:cubicBezTo>
                  <a:cubicBezTo>
                    <a:pt x="1998" y="1850"/>
                    <a:pt x="2031" y="1839"/>
                    <a:pt x="2079" y="1839"/>
                  </a:cubicBezTo>
                  <a:cubicBezTo>
                    <a:pt x="2106" y="1839"/>
                    <a:pt x="2204" y="1839"/>
                    <a:pt x="2346" y="1839"/>
                  </a:cubicBezTo>
                  <a:cubicBezTo>
                    <a:pt x="2783" y="1839"/>
                    <a:pt x="364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578" y="1286"/>
                    <a:pt x="43599" y="1259"/>
                  </a:cubicBezTo>
                  <a:cubicBezTo>
                    <a:pt x="43675" y="1223"/>
                    <a:pt x="43738" y="1193"/>
                    <a:pt x="43792" y="1166"/>
                  </a:cubicBezTo>
                  <a:cubicBezTo>
                    <a:pt x="43855" y="1133"/>
                    <a:pt x="43909" y="1105"/>
                    <a:pt x="43958" y="1079"/>
                  </a:cubicBezTo>
                  <a:cubicBezTo>
                    <a:pt x="43981" y="1066"/>
                    <a:pt x="44282" y="928"/>
                    <a:pt x="44343" y="896"/>
                  </a:cubicBezTo>
                  <a:cubicBezTo>
                    <a:pt x="44493" y="812"/>
                    <a:pt x="44494" y="738"/>
                    <a:pt x="43958" y="663"/>
                  </a:cubicBezTo>
                  <a:cubicBezTo>
                    <a:pt x="43955" y="662"/>
                    <a:pt x="43955" y="662"/>
                    <a:pt x="43955" y="662"/>
                  </a:cubicBezTo>
                  <a:cubicBezTo>
                    <a:pt x="43884" y="677"/>
                    <a:pt x="43884" y="677"/>
                    <a:pt x="43884" y="677"/>
                  </a:cubicBezTo>
                  <a:cubicBezTo>
                    <a:pt x="43824" y="689"/>
                    <a:pt x="43754" y="706"/>
                    <a:pt x="43670" y="727"/>
                  </a:cubicBezTo>
                  <a:cubicBezTo>
                    <a:pt x="43621" y="740"/>
                    <a:pt x="43570" y="755"/>
                    <a:pt x="43518" y="768"/>
                  </a:cubicBezTo>
                  <a:cubicBezTo>
                    <a:pt x="43456" y="785"/>
                    <a:pt x="43392" y="804"/>
                    <a:pt x="43327" y="822"/>
                  </a:cubicBezTo>
                  <a:cubicBezTo>
                    <a:pt x="43141" y="971"/>
                    <a:pt x="42934" y="1137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261" y="0"/>
                    <a:pt x="1219" y="11"/>
                    <a:pt x="1167" y="15"/>
                  </a:cubicBezTo>
                  <a:cubicBezTo>
                    <a:pt x="1140" y="17"/>
                    <a:pt x="1114" y="19"/>
                    <a:pt x="1086" y="23"/>
                  </a:cubicBezTo>
                  <a:cubicBezTo>
                    <a:pt x="155" y="136"/>
                    <a:pt x="96" y="899"/>
                    <a:pt x="96" y="1210"/>
                  </a:cubicBezTo>
                  <a:cubicBezTo>
                    <a:pt x="96" y="1401"/>
                    <a:pt x="94" y="1611"/>
                    <a:pt x="93" y="1809"/>
                  </a:cubicBezTo>
                  <a:cubicBezTo>
                    <a:pt x="89" y="2555"/>
                    <a:pt x="80" y="3778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rgbClr val="5032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37">
              <a:extLst>
                <a:ext uri="{FF2B5EF4-FFF2-40B4-BE49-F238E27FC236}">
                  <a16:creationId xmlns:a16="http://schemas.microsoft.com/office/drawing/2014/main" id="{D76CE8BF-3577-426E-B16D-F34B5F7F35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726 w 20899"/>
                <a:gd name="T1" fmla="*/ 18165 h 24816"/>
                <a:gd name="T2" fmla="*/ 16704 w 20899"/>
                <a:gd name="T3" fmla="*/ 16252 h 24816"/>
                <a:gd name="T4" fmla="*/ 12823 w 20899"/>
                <a:gd name="T5" fmla="*/ 13479 h 24816"/>
                <a:gd name="T6" fmla="*/ 9723 w 20899"/>
                <a:gd name="T7" fmla="*/ 12968 h 24816"/>
                <a:gd name="T8" fmla="*/ 7957 w 20899"/>
                <a:gd name="T9" fmla="*/ 13747 h 24816"/>
                <a:gd name="T10" fmla="*/ 6544 w 20899"/>
                <a:gd name="T11" fmla="*/ 16529 h 24816"/>
                <a:gd name="T12" fmla="*/ 6538 w 20899"/>
                <a:gd name="T13" fmla="*/ 16843 h 24816"/>
                <a:gd name="T14" fmla="*/ 6526 w 20899"/>
                <a:gd name="T15" fmla="*/ 18358 h 24816"/>
                <a:gd name="T16" fmla="*/ 6495 w 20899"/>
                <a:gd name="T17" fmla="*/ 23550 h 24816"/>
                <a:gd name="T18" fmla="*/ 6349 w 20899"/>
                <a:gd name="T19" fmla="*/ 23873 h 24816"/>
                <a:gd name="T20" fmla="*/ 5979 w 20899"/>
                <a:gd name="T21" fmla="*/ 23933 h 24816"/>
                <a:gd name="T22" fmla="*/ 5730 w 20899"/>
                <a:gd name="T23" fmla="*/ 23945 h 24816"/>
                <a:gd name="T24" fmla="*/ 4774 w 20899"/>
                <a:gd name="T25" fmla="*/ 23960 h 24816"/>
                <a:gd name="T26" fmla="*/ 4472 w 20899"/>
                <a:gd name="T27" fmla="*/ 23956 h 24816"/>
                <a:gd name="T28" fmla="*/ 2799 w 20899"/>
                <a:gd name="T29" fmla="*/ 23486 h 24816"/>
                <a:gd name="T30" fmla="*/ 869 w 20899"/>
                <a:gd name="T31" fmla="*/ 20931 h 24816"/>
                <a:gd name="T32" fmla="*/ 810 w 20899"/>
                <a:gd name="T33" fmla="*/ 10472 h 24816"/>
                <a:gd name="T34" fmla="*/ 893 w 20899"/>
                <a:gd name="T35" fmla="*/ 826 h 24816"/>
                <a:gd name="T36" fmla="*/ 4833 w 20899"/>
                <a:gd name="T37" fmla="*/ 721 h 24816"/>
                <a:gd name="T38" fmla="*/ 5743 w 20899"/>
                <a:gd name="T39" fmla="*/ 723 h 24816"/>
                <a:gd name="T40" fmla="*/ 8228 w 20899"/>
                <a:gd name="T41" fmla="*/ 1382 h 24816"/>
                <a:gd name="T42" fmla="*/ 10925 w 20899"/>
                <a:gd name="T43" fmla="*/ 3587 h 24816"/>
                <a:gd name="T44" fmla="*/ 14516 w 20899"/>
                <a:gd name="T45" fmla="*/ 6926 h 24816"/>
                <a:gd name="T46" fmla="*/ 15118 w 20899"/>
                <a:gd name="T47" fmla="*/ 7482 h 24816"/>
                <a:gd name="T48" fmla="*/ 15228 w 20899"/>
                <a:gd name="T49" fmla="*/ 7584 h 24816"/>
                <a:gd name="T50" fmla="*/ 17201 w 20899"/>
                <a:gd name="T51" fmla="*/ 9156 h 24816"/>
                <a:gd name="T52" fmla="*/ 19276 w 20899"/>
                <a:gd name="T53" fmla="*/ 10228 h 24816"/>
                <a:gd name="T54" fmla="*/ 20704 w 20899"/>
                <a:gd name="T55" fmla="*/ 10652 h 24816"/>
                <a:gd name="T56" fmla="*/ 19526 w 20899"/>
                <a:gd name="T57" fmla="*/ 10044 h 24816"/>
                <a:gd name="T58" fmla="*/ 15710 w 20899"/>
                <a:gd name="T59" fmla="*/ 7341 h 24816"/>
                <a:gd name="T60" fmla="*/ 15321 w 20899"/>
                <a:gd name="T61" fmla="*/ 6958 h 24816"/>
                <a:gd name="T62" fmla="*/ 14062 w 20899"/>
                <a:gd name="T63" fmla="*/ 5741 h 24816"/>
                <a:gd name="T64" fmla="*/ 9540 w 20899"/>
                <a:gd name="T65" fmla="*/ 1447 h 24816"/>
                <a:gd name="T66" fmla="*/ 7379 w 20899"/>
                <a:gd name="T67" fmla="*/ 317 h 24816"/>
                <a:gd name="T68" fmla="*/ 5592 w 20899"/>
                <a:gd name="T69" fmla="*/ 28 h 24816"/>
                <a:gd name="T70" fmla="*/ 5281 w 20899"/>
                <a:gd name="T71" fmla="*/ 25 h 24816"/>
                <a:gd name="T72" fmla="*/ 4025 w 20899"/>
                <a:gd name="T73" fmla="*/ 17 h 24816"/>
                <a:gd name="T74" fmla="*/ 47 w 20899"/>
                <a:gd name="T75" fmla="*/ 915 h 24816"/>
                <a:gd name="T76" fmla="*/ 2 w 20899"/>
                <a:gd name="T77" fmla="*/ 17555 h 24816"/>
                <a:gd name="T78" fmla="*/ 5 w 20899"/>
                <a:gd name="T79" fmla="*/ 20341 h 24816"/>
                <a:gd name="T80" fmla="*/ 6 w 20899"/>
                <a:gd name="T81" fmla="*/ 20923 h 24816"/>
                <a:gd name="T82" fmla="*/ 38 w 20899"/>
                <a:gd name="T83" fmla="*/ 21322 h 24816"/>
                <a:gd name="T84" fmla="*/ 944 w 20899"/>
                <a:gd name="T85" fmla="*/ 23148 h 24816"/>
                <a:gd name="T86" fmla="*/ 4388 w 20899"/>
                <a:gd name="T87" fmla="*/ 24811 h 24816"/>
                <a:gd name="T88" fmla="*/ 4856 w 20899"/>
                <a:gd name="T89" fmla="*/ 24816 h 24816"/>
                <a:gd name="T90" fmla="*/ 5756 w 20899"/>
                <a:gd name="T91" fmla="*/ 24796 h 24816"/>
                <a:gd name="T92" fmla="*/ 6291 w 20899"/>
                <a:gd name="T93" fmla="*/ 24757 h 24816"/>
                <a:gd name="T94" fmla="*/ 7234 w 20899"/>
                <a:gd name="T95" fmla="*/ 24266 h 24816"/>
                <a:gd name="T96" fmla="*/ 7330 w 20899"/>
                <a:gd name="T97" fmla="*/ 23437 h 24816"/>
                <a:gd name="T98" fmla="*/ 7330 w 20899"/>
                <a:gd name="T99" fmla="*/ 23186 h 24816"/>
                <a:gd name="T100" fmla="*/ 7299 w 20899"/>
                <a:gd name="T101" fmla="*/ 18175 h 24816"/>
                <a:gd name="T102" fmla="*/ 7621 w 20899"/>
                <a:gd name="T103" fmla="*/ 15253 h 24816"/>
                <a:gd name="T104" fmla="*/ 9653 w 20899"/>
                <a:gd name="T105" fmla="*/ 13652 h 24816"/>
                <a:gd name="T106" fmla="*/ 10936 w 20899"/>
                <a:gd name="T107" fmla="*/ 13607 h 24816"/>
                <a:gd name="T108" fmla="*/ 14288 w 20899"/>
                <a:gd name="T109" fmla="*/ 14941 h 24816"/>
                <a:gd name="T110" fmla="*/ 17357 w 20899"/>
                <a:gd name="T111" fmla="*/ 17469 h 24816"/>
                <a:gd name="T112" fmla="*/ 19639 w 20899"/>
                <a:gd name="T113" fmla="*/ 19376 h 24816"/>
                <a:gd name="T114" fmla="*/ 19270 w 20899"/>
                <a:gd name="T115" fmla="*/ 1867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899" h="24816">
                  <a:moveTo>
                    <a:pt x="19270" y="18677"/>
                  </a:moveTo>
                  <a:cubicBezTo>
                    <a:pt x="19104" y="18520"/>
                    <a:pt x="18922" y="18349"/>
                    <a:pt x="18726" y="18165"/>
                  </a:cubicBezTo>
                  <a:cubicBezTo>
                    <a:pt x="18527" y="17981"/>
                    <a:pt x="18315" y="17790"/>
                    <a:pt x="18099" y="17586"/>
                  </a:cubicBezTo>
                  <a:cubicBezTo>
                    <a:pt x="17662" y="17168"/>
                    <a:pt x="17188" y="16713"/>
                    <a:pt x="16704" y="16252"/>
                  </a:cubicBezTo>
                  <a:cubicBezTo>
                    <a:pt x="16133" y="15720"/>
                    <a:pt x="15543" y="15193"/>
                    <a:pt x="14905" y="14714"/>
                  </a:cubicBezTo>
                  <a:cubicBezTo>
                    <a:pt x="14267" y="14236"/>
                    <a:pt x="13579" y="13801"/>
                    <a:pt x="12823" y="13479"/>
                  </a:cubicBezTo>
                  <a:cubicBezTo>
                    <a:pt x="12070" y="13154"/>
                    <a:pt x="11228" y="12950"/>
                    <a:pt x="10381" y="12932"/>
                  </a:cubicBezTo>
                  <a:cubicBezTo>
                    <a:pt x="10169" y="12927"/>
                    <a:pt x="9940" y="12936"/>
                    <a:pt x="9723" y="12968"/>
                  </a:cubicBezTo>
                  <a:cubicBezTo>
                    <a:pt x="9505" y="13002"/>
                    <a:pt x="9290" y="13055"/>
                    <a:pt x="9083" y="13125"/>
                  </a:cubicBezTo>
                  <a:cubicBezTo>
                    <a:pt x="8669" y="13266"/>
                    <a:pt x="8286" y="13480"/>
                    <a:pt x="7957" y="13747"/>
                  </a:cubicBezTo>
                  <a:cubicBezTo>
                    <a:pt x="7315" y="14259"/>
                    <a:pt x="6820" y="15011"/>
                    <a:pt x="6630" y="15873"/>
                  </a:cubicBezTo>
                  <a:cubicBezTo>
                    <a:pt x="6582" y="16088"/>
                    <a:pt x="6553" y="16308"/>
                    <a:pt x="6544" y="16529"/>
                  </a:cubicBezTo>
                  <a:cubicBezTo>
                    <a:pt x="6540" y="16583"/>
                    <a:pt x="6539" y="16645"/>
                    <a:pt x="6539" y="16693"/>
                  </a:cubicBezTo>
                  <a:cubicBezTo>
                    <a:pt x="6538" y="16843"/>
                    <a:pt x="6538" y="16843"/>
                    <a:pt x="6538" y="16843"/>
                  </a:cubicBezTo>
                  <a:cubicBezTo>
                    <a:pt x="6537" y="16942"/>
                    <a:pt x="6536" y="17041"/>
                    <a:pt x="6535" y="17142"/>
                  </a:cubicBezTo>
                  <a:cubicBezTo>
                    <a:pt x="6532" y="17543"/>
                    <a:pt x="6529" y="17948"/>
                    <a:pt x="6526" y="18358"/>
                  </a:cubicBezTo>
                  <a:cubicBezTo>
                    <a:pt x="6516" y="19980"/>
                    <a:pt x="6506" y="21661"/>
                    <a:pt x="6496" y="23363"/>
                  </a:cubicBezTo>
                  <a:cubicBezTo>
                    <a:pt x="6495" y="23550"/>
                    <a:pt x="6495" y="23550"/>
                    <a:pt x="6495" y="23550"/>
                  </a:cubicBezTo>
                  <a:cubicBezTo>
                    <a:pt x="6494" y="23614"/>
                    <a:pt x="6492" y="23677"/>
                    <a:pt x="6471" y="23736"/>
                  </a:cubicBezTo>
                  <a:cubicBezTo>
                    <a:pt x="6452" y="23796"/>
                    <a:pt x="6407" y="23846"/>
                    <a:pt x="6349" y="23873"/>
                  </a:cubicBezTo>
                  <a:cubicBezTo>
                    <a:pt x="6292" y="23897"/>
                    <a:pt x="6228" y="23906"/>
                    <a:pt x="6166" y="23915"/>
                  </a:cubicBezTo>
                  <a:cubicBezTo>
                    <a:pt x="6104" y="23924"/>
                    <a:pt x="6041" y="23927"/>
                    <a:pt x="5979" y="23933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730" y="23945"/>
                    <a:pt x="5730" y="23945"/>
                    <a:pt x="5730" y="23945"/>
                  </a:cubicBezTo>
                  <a:cubicBezTo>
                    <a:pt x="5521" y="23954"/>
                    <a:pt x="5309" y="23958"/>
                    <a:pt x="5096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4615" y="23960"/>
                    <a:pt x="4615" y="23960"/>
                    <a:pt x="4615" y="23960"/>
                  </a:cubicBezTo>
                  <a:cubicBezTo>
                    <a:pt x="4567" y="23960"/>
                    <a:pt x="4520" y="23958"/>
                    <a:pt x="4472" y="23956"/>
                  </a:cubicBezTo>
                  <a:cubicBezTo>
                    <a:pt x="4282" y="23945"/>
                    <a:pt x="4091" y="23920"/>
                    <a:pt x="3901" y="23879"/>
                  </a:cubicBezTo>
                  <a:cubicBezTo>
                    <a:pt x="3522" y="23799"/>
                    <a:pt x="3148" y="23664"/>
                    <a:pt x="2799" y="23486"/>
                  </a:cubicBezTo>
                  <a:cubicBezTo>
                    <a:pt x="2104" y="23129"/>
                    <a:pt x="1490" y="22589"/>
                    <a:pt x="1146" y="21942"/>
                  </a:cubicBezTo>
                  <a:cubicBezTo>
                    <a:pt x="975" y="21621"/>
                    <a:pt x="876" y="21277"/>
                    <a:pt x="869" y="20931"/>
                  </a:cubicBezTo>
                  <a:cubicBezTo>
                    <a:pt x="865" y="20510"/>
                    <a:pt x="862" y="20094"/>
                    <a:pt x="859" y="19679"/>
                  </a:cubicBezTo>
                  <a:cubicBezTo>
                    <a:pt x="843" y="16677"/>
                    <a:pt x="827" y="13590"/>
                    <a:pt x="810" y="10472"/>
                  </a:cubicBezTo>
                  <a:cubicBezTo>
                    <a:pt x="801" y="7400"/>
                    <a:pt x="784" y="1744"/>
                    <a:pt x="784" y="1219"/>
                  </a:cubicBezTo>
                  <a:cubicBezTo>
                    <a:pt x="784" y="1042"/>
                    <a:pt x="826" y="889"/>
                    <a:pt x="893" y="826"/>
                  </a:cubicBezTo>
                  <a:cubicBezTo>
                    <a:pt x="963" y="760"/>
                    <a:pt x="1171" y="729"/>
                    <a:pt x="1271" y="729"/>
                  </a:cubicBezTo>
                  <a:cubicBezTo>
                    <a:pt x="1424" y="729"/>
                    <a:pt x="3653" y="724"/>
                    <a:pt x="4833" y="721"/>
                  </a:cubicBezTo>
                  <a:cubicBezTo>
                    <a:pt x="5295" y="720"/>
                    <a:pt x="5295" y="720"/>
                    <a:pt x="5295" y="720"/>
                  </a:cubicBezTo>
                  <a:cubicBezTo>
                    <a:pt x="5448" y="720"/>
                    <a:pt x="5605" y="716"/>
                    <a:pt x="5743" y="723"/>
                  </a:cubicBezTo>
                  <a:cubicBezTo>
                    <a:pt x="6032" y="736"/>
                    <a:pt x="6320" y="770"/>
                    <a:pt x="6604" y="823"/>
                  </a:cubicBezTo>
                  <a:cubicBezTo>
                    <a:pt x="7171" y="930"/>
                    <a:pt x="7719" y="1119"/>
                    <a:pt x="8228" y="1382"/>
                  </a:cubicBezTo>
                  <a:cubicBezTo>
                    <a:pt x="8737" y="1644"/>
                    <a:pt x="9203" y="1975"/>
                    <a:pt x="9619" y="2367"/>
                  </a:cubicBezTo>
                  <a:cubicBezTo>
                    <a:pt x="10057" y="2776"/>
                    <a:pt x="10493" y="3183"/>
                    <a:pt x="10925" y="3587"/>
                  </a:cubicBezTo>
                  <a:cubicBezTo>
                    <a:pt x="11791" y="4393"/>
                    <a:pt x="12646" y="5189"/>
                    <a:pt x="13487" y="5972"/>
                  </a:cubicBezTo>
                  <a:cubicBezTo>
                    <a:pt x="13843" y="6302"/>
                    <a:pt x="14186" y="6620"/>
                    <a:pt x="14516" y="6926"/>
                  </a:cubicBezTo>
                  <a:cubicBezTo>
                    <a:pt x="14681" y="7078"/>
                    <a:pt x="14843" y="7227"/>
                    <a:pt x="15000" y="7373"/>
                  </a:cubicBezTo>
                  <a:cubicBezTo>
                    <a:pt x="15040" y="7409"/>
                    <a:pt x="15079" y="7445"/>
                    <a:pt x="15118" y="7482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228" y="7584"/>
                    <a:pt x="15228" y="7584"/>
                    <a:pt x="15228" y="7584"/>
                  </a:cubicBezTo>
                  <a:cubicBezTo>
                    <a:pt x="15305" y="7659"/>
                    <a:pt x="15381" y="7731"/>
                    <a:pt x="15458" y="7802"/>
                  </a:cubicBezTo>
                  <a:cubicBezTo>
                    <a:pt x="16071" y="8367"/>
                    <a:pt x="16670" y="8810"/>
                    <a:pt x="17201" y="9156"/>
                  </a:cubicBezTo>
                  <a:cubicBezTo>
                    <a:pt x="17732" y="9501"/>
                    <a:pt x="18195" y="9748"/>
                    <a:pt x="18552" y="9919"/>
                  </a:cubicBezTo>
                  <a:cubicBezTo>
                    <a:pt x="18909" y="10091"/>
                    <a:pt x="19159" y="10190"/>
                    <a:pt x="19276" y="10228"/>
                  </a:cubicBezTo>
                  <a:cubicBezTo>
                    <a:pt x="19727" y="10410"/>
                    <a:pt x="20068" y="10518"/>
                    <a:pt x="20309" y="10584"/>
                  </a:cubicBezTo>
                  <a:cubicBezTo>
                    <a:pt x="20549" y="10648"/>
                    <a:pt x="20681" y="10667"/>
                    <a:pt x="20704" y="10652"/>
                  </a:cubicBezTo>
                  <a:cubicBezTo>
                    <a:pt x="20728" y="10635"/>
                    <a:pt x="20641" y="10584"/>
                    <a:pt x="20445" y="10489"/>
                  </a:cubicBezTo>
                  <a:cubicBezTo>
                    <a:pt x="20247" y="10392"/>
                    <a:pt x="19988" y="10273"/>
                    <a:pt x="19526" y="10044"/>
                  </a:cubicBezTo>
                  <a:cubicBezTo>
                    <a:pt x="18945" y="9752"/>
                    <a:pt x="18115" y="9307"/>
                    <a:pt x="17174" y="8604"/>
                  </a:cubicBezTo>
                  <a:cubicBezTo>
                    <a:pt x="16703" y="8251"/>
                    <a:pt x="16207" y="7835"/>
                    <a:pt x="15710" y="7341"/>
                  </a:cubicBezTo>
                  <a:cubicBezTo>
                    <a:pt x="15647" y="7278"/>
                    <a:pt x="15583" y="7214"/>
                    <a:pt x="15519" y="7149"/>
                  </a:cubicBezTo>
                  <a:cubicBezTo>
                    <a:pt x="15453" y="7086"/>
                    <a:pt x="15388" y="7022"/>
                    <a:pt x="15321" y="6958"/>
                  </a:cubicBezTo>
                  <a:cubicBezTo>
                    <a:pt x="15188" y="6829"/>
                    <a:pt x="15053" y="6698"/>
                    <a:pt x="14916" y="6565"/>
                  </a:cubicBezTo>
                  <a:cubicBezTo>
                    <a:pt x="14640" y="6299"/>
                    <a:pt x="14355" y="6024"/>
                    <a:pt x="14062" y="5741"/>
                  </a:cubicBezTo>
                  <a:cubicBezTo>
                    <a:pt x="12879" y="4606"/>
                    <a:pt x="11557" y="3337"/>
                    <a:pt x="10126" y="1964"/>
                  </a:cubicBezTo>
                  <a:cubicBezTo>
                    <a:pt x="9948" y="1791"/>
                    <a:pt x="9748" y="1609"/>
                    <a:pt x="9540" y="1447"/>
                  </a:cubicBezTo>
                  <a:cubicBezTo>
                    <a:pt x="9332" y="1283"/>
                    <a:pt x="9112" y="1130"/>
                    <a:pt x="8881" y="990"/>
                  </a:cubicBezTo>
                  <a:cubicBezTo>
                    <a:pt x="8419" y="709"/>
                    <a:pt x="7914" y="480"/>
                    <a:pt x="7379" y="317"/>
                  </a:cubicBezTo>
                  <a:cubicBezTo>
                    <a:pt x="6844" y="152"/>
                    <a:pt x="6278" y="55"/>
                    <a:pt x="5702" y="30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281" y="25"/>
                    <a:pt x="5281" y="25"/>
                    <a:pt x="5281" y="25"/>
                  </a:cubicBezTo>
                  <a:cubicBezTo>
                    <a:pt x="5143" y="24"/>
                    <a:pt x="5004" y="23"/>
                    <a:pt x="4865" y="22"/>
                  </a:cubicBezTo>
                  <a:cubicBezTo>
                    <a:pt x="4587" y="20"/>
                    <a:pt x="4306" y="19"/>
                    <a:pt x="4025" y="17"/>
                  </a:cubicBezTo>
                  <a:cubicBezTo>
                    <a:pt x="3027" y="11"/>
                    <a:pt x="1835" y="0"/>
                    <a:pt x="969" y="0"/>
                  </a:cubicBezTo>
                  <a:cubicBezTo>
                    <a:pt x="474" y="0"/>
                    <a:pt x="47" y="259"/>
                    <a:pt x="47" y="915"/>
                  </a:cubicBezTo>
                  <a:cubicBezTo>
                    <a:pt x="47" y="1282"/>
                    <a:pt x="42" y="2101"/>
                    <a:pt x="39" y="2693"/>
                  </a:cubicBezTo>
                  <a:cubicBezTo>
                    <a:pt x="12" y="7527"/>
                    <a:pt x="0" y="12582"/>
                    <a:pt x="2" y="17555"/>
                  </a:cubicBezTo>
                  <a:cubicBezTo>
                    <a:pt x="3" y="18177"/>
                    <a:pt x="3" y="18796"/>
                    <a:pt x="4" y="19416"/>
                  </a:cubicBezTo>
                  <a:cubicBezTo>
                    <a:pt x="5" y="19724"/>
                    <a:pt x="5" y="20033"/>
                    <a:pt x="5" y="20341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6" y="20923"/>
                    <a:pt x="6" y="20923"/>
                    <a:pt x="6" y="20923"/>
                  </a:cubicBezTo>
                  <a:cubicBezTo>
                    <a:pt x="7" y="20967"/>
                    <a:pt x="8" y="21012"/>
                    <a:pt x="12" y="21057"/>
                  </a:cubicBezTo>
                  <a:cubicBezTo>
                    <a:pt x="16" y="21145"/>
                    <a:pt x="26" y="21233"/>
                    <a:pt x="38" y="21322"/>
                  </a:cubicBezTo>
                  <a:cubicBezTo>
                    <a:pt x="91" y="21673"/>
                    <a:pt x="206" y="22009"/>
                    <a:pt x="364" y="22315"/>
                  </a:cubicBezTo>
                  <a:cubicBezTo>
                    <a:pt x="521" y="22622"/>
                    <a:pt x="721" y="22900"/>
                    <a:pt x="944" y="23148"/>
                  </a:cubicBezTo>
                  <a:cubicBezTo>
                    <a:pt x="1393" y="23644"/>
                    <a:pt x="1935" y="24028"/>
                    <a:pt x="2519" y="24311"/>
                  </a:cubicBezTo>
                  <a:cubicBezTo>
                    <a:pt x="3103" y="24591"/>
                    <a:pt x="3734" y="24773"/>
                    <a:pt x="4388" y="24811"/>
                  </a:cubicBezTo>
                  <a:cubicBezTo>
                    <a:pt x="4469" y="24816"/>
                    <a:pt x="4551" y="24816"/>
                    <a:pt x="4633" y="24816"/>
                  </a:cubicBezTo>
                  <a:cubicBezTo>
                    <a:pt x="4856" y="24816"/>
                    <a:pt x="4856" y="24816"/>
                    <a:pt x="4856" y="24816"/>
                  </a:cubicBezTo>
                  <a:cubicBezTo>
                    <a:pt x="5006" y="24814"/>
                    <a:pt x="5156" y="24813"/>
                    <a:pt x="5305" y="24811"/>
                  </a:cubicBezTo>
                  <a:cubicBezTo>
                    <a:pt x="5455" y="24807"/>
                    <a:pt x="5605" y="24804"/>
                    <a:pt x="5756" y="24796"/>
                  </a:cubicBezTo>
                  <a:cubicBezTo>
                    <a:pt x="5998" y="24782"/>
                    <a:pt x="5998" y="24782"/>
                    <a:pt x="5998" y="24782"/>
                  </a:cubicBezTo>
                  <a:cubicBezTo>
                    <a:pt x="6096" y="24777"/>
                    <a:pt x="6194" y="24768"/>
                    <a:pt x="6291" y="24757"/>
                  </a:cubicBezTo>
                  <a:cubicBezTo>
                    <a:pt x="6485" y="24735"/>
                    <a:pt x="6675" y="24703"/>
                    <a:pt x="6843" y="24634"/>
                  </a:cubicBezTo>
                  <a:cubicBezTo>
                    <a:pt x="7012" y="24575"/>
                    <a:pt x="7164" y="24436"/>
                    <a:pt x="7234" y="24266"/>
                  </a:cubicBezTo>
                  <a:cubicBezTo>
                    <a:pt x="7306" y="24099"/>
                    <a:pt x="7327" y="23918"/>
                    <a:pt x="7327" y="23725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186"/>
                    <a:pt x="7330" y="23186"/>
                    <a:pt x="7330" y="23186"/>
                  </a:cubicBezTo>
                  <a:cubicBezTo>
                    <a:pt x="7327" y="22611"/>
                    <a:pt x="7324" y="22041"/>
                    <a:pt x="7321" y="21479"/>
                  </a:cubicBezTo>
                  <a:cubicBezTo>
                    <a:pt x="7313" y="20354"/>
                    <a:pt x="7306" y="19250"/>
                    <a:pt x="7299" y="18175"/>
                  </a:cubicBezTo>
                  <a:cubicBezTo>
                    <a:pt x="7295" y="17642"/>
                    <a:pt x="7291" y="17114"/>
                    <a:pt x="7287" y="16594"/>
                  </a:cubicBezTo>
                  <a:cubicBezTo>
                    <a:pt x="7293" y="16122"/>
                    <a:pt x="7411" y="15660"/>
                    <a:pt x="7621" y="15253"/>
                  </a:cubicBezTo>
                  <a:cubicBezTo>
                    <a:pt x="7829" y="14842"/>
                    <a:pt x="8128" y="14486"/>
                    <a:pt x="8479" y="14214"/>
                  </a:cubicBezTo>
                  <a:cubicBezTo>
                    <a:pt x="8830" y="13938"/>
                    <a:pt x="9235" y="13747"/>
                    <a:pt x="9653" y="13652"/>
                  </a:cubicBezTo>
                  <a:cubicBezTo>
                    <a:pt x="9862" y="13603"/>
                    <a:pt x="10074" y="13579"/>
                    <a:pt x="10285" y="13576"/>
                  </a:cubicBezTo>
                  <a:cubicBezTo>
                    <a:pt x="10504" y="13574"/>
                    <a:pt x="10722" y="13585"/>
                    <a:pt x="10936" y="13607"/>
                  </a:cubicBezTo>
                  <a:cubicBezTo>
                    <a:pt x="11364" y="13652"/>
                    <a:pt x="11777" y="13744"/>
                    <a:pt x="12171" y="13872"/>
                  </a:cubicBezTo>
                  <a:cubicBezTo>
                    <a:pt x="12959" y="14129"/>
                    <a:pt x="13662" y="14521"/>
                    <a:pt x="14288" y="14941"/>
                  </a:cubicBezTo>
                  <a:cubicBezTo>
                    <a:pt x="14916" y="15365"/>
                    <a:pt x="15471" y="15817"/>
                    <a:pt x="15976" y="16248"/>
                  </a:cubicBezTo>
                  <a:cubicBezTo>
                    <a:pt x="16481" y="16683"/>
                    <a:pt x="16937" y="17097"/>
                    <a:pt x="17357" y="17469"/>
                  </a:cubicBezTo>
                  <a:cubicBezTo>
                    <a:pt x="17774" y="17842"/>
                    <a:pt x="18164" y="18167"/>
                    <a:pt x="18503" y="18446"/>
                  </a:cubicBezTo>
                  <a:cubicBezTo>
                    <a:pt x="19023" y="18881"/>
                    <a:pt x="19326" y="19126"/>
                    <a:pt x="19639" y="19376"/>
                  </a:cubicBezTo>
                  <a:cubicBezTo>
                    <a:pt x="20570" y="20123"/>
                    <a:pt x="20899" y="20301"/>
                    <a:pt x="20529" y="19887"/>
                  </a:cubicBezTo>
                  <a:cubicBezTo>
                    <a:pt x="20142" y="19515"/>
                    <a:pt x="19773" y="19160"/>
                    <a:pt x="19270" y="18677"/>
                  </a:cubicBezTo>
                  <a:close/>
                </a:path>
              </a:pathLst>
            </a:custGeom>
            <a:solidFill>
              <a:srgbClr val="FFC8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38">
              <a:extLst>
                <a:ext uri="{FF2B5EF4-FFF2-40B4-BE49-F238E27FC236}">
                  <a16:creationId xmlns:a16="http://schemas.microsoft.com/office/drawing/2014/main" id="{6022F155-2497-43A0-980E-DA26671E71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872512" y="18689638"/>
              <a:ext cx="193840100" cy="97202625"/>
            </a:xfrm>
            <a:custGeom>
              <a:avLst/>
              <a:gdLst>
                <a:gd name="T0" fmla="*/ 51193 w 51688"/>
                <a:gd name="T1" fmla="*/ 12114 h 25918"/>
                <a:gd name="T2" fmla="*/ 50914 w 51688"/>
                <a:gd name="T3" fmla="*/ 20947 h 25918"/>
                <a:gd name="T4" fmla="*/ 50844 w 51688"/>
                <a:gd name="T5" fmla="*/ 23850 h 25918"/>
                <a:gd name="T6" fmla="*/ 50505 w 51688"/>
                <a:gd name="T7" fmla="*/ 24445 h 25918"/>
                <a:gd name="T8" fmla="*/ 48987 w 51688"/>
                <a:gd name="T9" fmla="*/ 24463 h 25918"/>
                <a:gd name="T10" fmla="*/ 45339 w 51688"/>
                <a:gd name="T11" fmla="*/ 21852 h 25918"/>
                <a:gd name="T12" fmla="*/ 45301 w 51688"/>
                <a:gd name="T13" fmla="*/ 21010 h 25918"/>
                <a:gd name="T14" fmla="*/ 45363 w 51688"/>
                <a:gd name="T15" fmla="*/ 17166 h 25918"/>
                <a:gd name="T16" fmla="*/ 43529 w 51688"/>
                <a:gd name="T17" fmla="*/ 13729 h 25918"/>
                <a:gd name="T18" fmla="*/ 37130 w 51688"/>
                <a:gd name="T19" fmla="*/ 14411 h 25918"/>
                <a:gd name="T20" fmla="*/ 30094 w 51688"/>
                <a:gd name="T21" fmla="*/ 20457 h 25918"/>
                <a:gd name="T22" fmla="*/ 23874 w 51688"/>
                <a:gd name="T23" fmla="*/ 21719 h 25918"/>
                <a:gd name="T24" fmla="*/ 17941 w 51688"/>
                <a:gd name="T25" fmla="*/ 16609 h 25918"/>
                <a:gd name="T26" fmla="*/ 10865 w 51688"/>
                <a:gd name="T27" fmla="*/ 12900 h 25918"/>
                <a:gd name="T28" fmla="*/ 6612 w 51688"/>
                <a:gd name="T29" fmla="*/ 16813 h 25918"/>
                <a:gd name="T30" fmla="*/ 6590 w 51688"/>
                <a:gd name="T31" fmla="*/ 20356 h 25918"/>
                <a:gd name="T32" fmla="*/ 6581 w 51688"/>
                <a:gd name="T33" fmla="*/ 23906 h 25918"/>
                <a:gd name="T34" fmla="*/ 6161 w 51688"/>
                <a:gd name="T35" fmla="*/ 23989 h 25918"/>
                <a:gd name="T36" fmla="*/ 4007 w 51688"/>
                <a:gd name="T37" fmla="*/ 23765 h 25918"/>
                <a:gd name="T38" fmla="*/ 1918 w 51688"/>
                <a:gd name="T39" fmla="*/ 21416 h 25918"/>
                <a:gd name="T40" fmla="*/ 1924 w 51688"/>
                <a:gd name="T41" fmla="*/ 17736 h 25918"/>
                <a:gd name="T42" fmla="*/ 5415 w 51688"/>
                <a:gd name="T43" fmla="*/ 1838 h 25918"/>
                <a:gd name="T44" fmla="*/ 8570 w 51688"/>
                <a:gd name="T45" fmla="*/ 2470 h 25918"/>
                <a:gd name="T46" fmla="*/ 10305 w 51688"/>
                <a:gd name="T47" fmla="*/ 3841 h 25918"/>
                <a:gd name="T48" fmla="*/ 15418 w 51688"/>
                <a:gd name="T49" fmla="*/ 8605 h 25918"/>
                <a:gd name="T50" fmla="*/ 18027 w 51688"/>
                <a:gd name="T51" fmla="*/ 10592 h 25918"/>
                <a:gd name="T52" fmla="*/ 31601 w 51688"/>
                <a:gd name="T53" fmla="*/ 11637 h 25918"/>
                <a:gd name="T54" fmla="*/ 37074 w 51688"/>
                <a:gd name="T55" fmla="*/ 7875 h 25918"/>
                <a:gd name="T56" fmla="*/ 43442 w 51688"/>
                <a:gd name="T57" fmla="*/ 1444 h 25918"/>
                <a:gd name="T58" fmla="*/ 44433 w 51688"/>
                <a:gd name="T59" fmla="*/ 867 h 25918"/>
                <a:gd name="T60" fmla="*/ 41873 w 51688"/>
                <a:gd name="T61" fmla="*/ 2007 h 25918"/>
                <a:gd name="T62" fmla="*/ 34512 w 51688"/>
                <a:gd name="T63" fmla="*/ 8591 h 25918"/>
                <a:gd name="T64" fmla="*/ 18064 w 51688"/>
                <a:gd name="T65" fmla="*/ 8699 h 25918"/>
                <a:gd name="T66" fmla="*/ 16455 w 51688"/>
                <a:gd name="T67" fmla="*/ 7314 h 25918"/>
                <a:gd name="T68" fmla="*/ 11277 w 51688"/>
                <a:gd name="T69" fmla="*/ 2358 h 25918"/>
                <a:gd name="T70" fmla="*/ 9968 w 51688"/>
                <a:gd name="T71" fmla="*/ 1251 h 25918"/>
                <a:gd name="T72" fmla="*/ 6274 w 51688"/>
                <a:gd name="T73" fmla="*/ 41 h 25918"/>
                <a:gd name="T74" fmla="*/ 1317 w 51688"/>
                <a:gd name="T75" fmla="*/ 0 h 25918"/>
                <a:gd name="T76" fmla="*/ 11 w 51688"/>
                <a:gd name="T77" fmla="*/ 17772 h 25918"/>
                <a:gd name="T78" fmla="*/ 0 w 51688"/>
                <a:gd name="T79" fmla="*/ 21416 h 25918"/>
                <a:gd name="T80" fmla="*/ 1005 w 51688"/>
                <a:gd name="T81" fmla="*/ 23958 h 25918"/>
                <a:gd name="T82" fmla="*/ 5092 w 51688"/>
                <a:gd name="T83" fmla="*/ 25916 h 25918"/>
                <a:gd name="T84" fmla="*/ 6511 w 51688"/>
                <a:gd name="T85" fmla="*/ 25895 h 25918"/>
                <a:gd name="T86" fmla="*/ 8198 w 51688"/>
                <a:gd name="T87" fmla="*/ 25276 h 25918"/>
                <a:gd name="T88" fmla="*/ 8502 w 51688"/>
                <a:gd name="T89" fmla="*/ 23762 h 25918"/>
                <a:gd name="T90" fmla="*/ 8557 w 51688"/>
                <a:gd name="T91" fmla="*/ 16688 h 25918"/>
                <a:gd name="T92" fmla="*/ 10853 w 51688"/>
                <a:gd name="T93" fmla="*/ 14797 h 25918"/>
                <a:gd name="T94" fmla="*/ 15826 w 51688"/>
                <a:gd name="T95" fmla="*/ 17211 h 25918"/>
                <a:gd name="T96" fmla="*/ 21145 w 51688"/>
                <a:gd name="T97" fmla="*/ 21991 h 25918"/>
                <a:gd name="T98" fmla="*/ 27122 w 51688"/>
                <a:gd name="T99" fmla="*/ 24126 h 25918"/>
                <a:gd name="T100" fmla="*/ 33687 w 51688"/>
                <a:gd name="T101" fmla="*/ 19580 h 25918"/>
                <a:gd name="T102" fmla="*/ 36635 w 51688"/>
                <a:gd name="T103" fmla="*/ 16860 h 25918"/>
                <a:gd name="T104" fmla="*/ 41719 w 51688"/>
                <a:gd name="T105" fmla="*/ 14653 h 25918"/>
                <a:gd name="T106" fmla="*/ 43934 w 51688"/>
                <a:gd name="T107" fmla="*/ 17121 h 25918"/>
                <a:gd name="T108" fmla="*/ 43997 w 51688"/>
                <a:gd name="T109" fmla="*/ 21110 h 25918"/>
                <a:gd name="T110" fmla="*/ 45236 w 51688"/>
                <a:gd name="T111" fmla="*/ 23985 h 25918"/>
                <a:gd name="T112" fmla="*/ 49854 w 51688"/>
                <a:gd name="T113" fmla="*/ 25433 h 25918"/>
                <a:gd name="T114" fmla="*/ 51257 w 51688"/>
                <a:gd name="T115" fmla="*/ 25177 h 25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688" h="25918">
                  <a:moveTo>
                    <a:pt x="51664" y="23906"/>
                  </a:moveTo>
                  <a:cubicBezTo>
                    <a:pt x="51635" y="23199"/>
                    <a:pt x="51608" y="22500"/>
                    <a:pt x="51578" y="21732"/>
                  </a:cubicBezTo>
                  <a:cubicBezTo>
                    <a:pt x="51484" y="19205"/>
                    <a:pt x="51403" y="14714"/>
                    <a:pt x="51323" y="12763"/>
                  </a:cubicBezTo>
                  <a:cubicBezTo>
                    <a:pt x="51279" y="11681"/>
                    <a:pt x="51235" y="11093"/>
                    <a:pt x="51193" y="12114"/>
                  </a:cubicBezTo>
                  <a:cubicBezTo>
                    <a:pt x="51175" y="12485"/>
                    <a:pt x="51163" y="12745"/>
                    <a:pt x="51144" y="13143"/>
                  </a:cubicBezTo>
                  <a:cubicBezTo>
                    <a:pt x="51083" y="14231"/>
                    <a:pt x="51046" y="17121"/>
                    <a:pt x="50983" y="18591"/>
                  </a:cubicBezTo>
                  <a:cubicBezTo>
                    <a:pt x="50979" y="18666"/>
                    <a:pt x="50977" y="18737"/>
                    <a:pt x="50975" y="18805"/>
                  </a:cubicBezTo>
                  <a:cubicBezTo>
                    <a:pt x="50955" y="19498"/>
                    <a:pt x="50936" y="20186"/>
                    <a:pt x="50914" y="20947"/>
                  </a:cubicBezTo>
                  <a:cubicBezTo>
                    <a:pt x="50910" y="21081"/>
                    <a:pt x="50907" y="21227"/>
                    <a:pt x="50903" y="21371"/>
                  </a:cubicBezTo>
                  <a:cubicBezTo>
                    <a:pt x="50891" y="21858"/>
                    <a:pt x="50880" y="22361"/>
                    <a:pt x="50867" y="22880"/>
                  </a:cubicBezTo>
                  <a:cubicBezTo>
                    <a:pt x="50860" y="23141"/>
                    <a:pt x="50854" y="23407"/>
                    <a:pt x="50847" y="23677"/>
                  </a:cubicBezTo>
                  <a:cubicBezTo>
                    <a:pt x="50846" y="23735"/>
                    <a:pt x="50845" y="23792"/>
                    <a:pt x="50844" y="23850"/>
                  </a:cubicBezTo>
                  <a:cubicBezTo>
                    <a:pt x="50842" y="23893"/>
                    <a:pt x="50840" y="23937"/>
                    <a:pt x="50838" y="23980"/>
                  </a:cubicBezTo>
                  <a:cubicBezTo>
                    <a:pt x="50835" y="24067"/>
                    <a:pt x="50836" y="24153"/>
                    <a:pt x="50817" y="24236"/>
                  </a:cubicBezTo>
                  <a:cubicBezTo>
                    <a:pt x="50800" y="24301"/>
                    <a:pt x="50763" y="24360"/>
                    <a:pt x="50703" y="24396"/>
                  </a:cubicBezTo>
                  <a:cubicBezTo>
                    <a:pt x="50644" y="24433"/>
                    <a:pt x="50571" y="24436"/>
                    <a:pt x="50505" y="24445"/>
                  </a:cubicBezTo>
                  <a:cubicBezTo>
                    <a:pt x="50435" y="24452"/>
                    <a:pt x="50366" y="24456"/>
                    <a:pt x="50297" y="24460"/>
                  </a:cubicBezTo>
                  <a:cubicBezTo>
                    <a:pt x="50213" y="24463"/>
                    <a:pt x="50126" y="24465"/>
                    <a:pt x="50040" y="24467"/>
                  </a:cubicBezTo>
                  <a:cubicBezTo>
                    <a:pt x="49814" y="24472"/>
                    <a:pt x="49582" y="24472"/>
                    <a:pt x="49345" y="24470"/>
                  </a:cubicBezTo>
                  <a:cubicBezTo>
                    <a:pt x="49226" y="24469"/>
                    <a:pt x="49107" y="24465"/>
                    <a:pt x="48987" y="24463"/>
                  </a:cubicBezTo>
                  <a:cubicBezTo>
                    <a:pt x="48880" y="24460"/>
                    <a:pt x="48772" y="24451"/>
                    <a:pt x="48662" y="24438"/>
                  </a:cubicBezTo>
                  <a:cubicBezTo>
                    <a:pt x="48222" y="24382"/>
                    <a:pt x="47767" y="24243"/>
                    <a:pt x="47328" y="24030"/>
                  </a:cubicBezTo>
                  <a:cubicBezTo>
                    <a:pt x="46890" y="23818"/>
                    <a:pt x="46466" y="23529"/>
                    <a:pt x="46109" y="23169"/>
                  </a:cubicBezTo>
                  <a:cubicBezTo>
                    <a:pt x="45741" y="22799"/>
                    <a:pt x="45445" y="22341"/>
                    <a:pt x="45339" y="21852"/>
                  </a:cubicBezTo>
                  <a:cubicBezTo>
                    <a:pt x="45312" y="21730"/>
                    <a:pt x="45297" y="21605"/>
                    <a:pt x="45295" y="21481"/>
                  </a:cubicBezTo>
                  <a:cubicBezTo>
                    <a:pt x="45294" y="21448"/>
                    <a:pt x="45295" y="21423"/>
                    <a:pt x="45295" y="21385"/>
                  </a:cubicBezTo>
                  <a:cubicBezTo>
                    <a:pt x="45297" y="21261"/>
                    <a:pt x="45297" y="21261"/>
                    <a:pt x="45297" y="21261"/>
                  </a:cubicBezTo>
                  <a:cubicBezTo>
                    <a:pt x="45298" y="21178"/>
                    <a:pt x="45299" y="21095"/>
                    <a:pt x="45301" y="21010"/>
                  </a:cubicBezTo>
                  <a:cubicBezTo>
                    <a:pt x="45307" y="20677"/>
                    <a:pt x="45313" y="20336"/>
                    <a:pt x="45319" y="19992"/>
                  </a:cubicBezTo>
                  <a:cubicBezTo>
                    <a:pt x="45330" y="19301"/>
                    <a:pt x="45341" y="18589"/>
                    <a:pt x="45353" y="17859"/>
                  </a:cubicBezTo>
                  <a:cubicBezTo>
                    <a:pt x="45355" y="17675"/>
                    <a:pt x="45359" y="17491"/>
                    <a:pt x="45361" y="17305"/>
                  </a:cubicBezTo>
                  <a:cubicBezTo>
                    <a:pt x="45363" y="17166"/>
                    <a:pt x="45363" y="17166"/>
                    <a:pt x="45363" y="17166"/>
                  </a:cubicBezTo>
                  <a:cubicBezTo>
                    <a:pt x="45364" y="17114"/>
                    <a:pt x="45364" y="17051"/>
                    <a:pt x="45361" y="16997"/>
                  </a:cubicBezTo>
                  <a:cubicBezTo>
                    <a:pt x="45359" y="16885"/>
                    <a:pt x="45351" y="16773"/>
                    <a:pt x="45337" y="16659"/>
                  </a:cubicBezTo>
                  <a:cubicBezTo>
                    <a:pt x="45286" y="16210"/>
                    <a:pt x="45157" y="15763"/>
                    <a:pt x="44951" y="15347"/>
                  </a:cubicBezTo>
                  <a:cubicBezTo>
                    <a:pt x="44641" y="14710"/>
                    <a:pt x="44153" y="14142"/>
                    <a:pt x="43529" y="13729"/>
                  </a:cubicBezTo>
                  <a:cubicBezTo>
                    <a:pt x="43217" y="13524"/>
                    <a:pt x="42870" y="13356"/>
                    <a:pt x="42500" y="13244"/>
                  </a:cubicBezTo>
                  <a:cubicBezTo>
                    <a:pt x="42132" y="13129"/>
                    <a:pt x="41736" y="13070"/>
                    <a:pt x="41345" y="13070"/>
                  </a:cubicBezTo>
                  <a:cubicBezTo>
                    <a:pt x="40618" y="13064"/>
                    <a:pt x="39871" y="13185"/>
                    <a:pt x="39158" y="13423"/>
                  </a:cubicBezTo>
                  <a:cubicBezTo>
                    <a:pt x="38444" y="13659"/>
                    <a:pt x="37766" y="14004"/>
                    <a:pt x="37130" y="14411"/>
                  </a:cubicBezTo>
                  <a:cubicBezTo>
                    <a:pt x="35856" y="15224"/>
                    <a:pt x="34747" y="16279"/>
                    <a:pt x="33632" y="17309"/>
                  </a:cubicBezTo>
                  <a:cubicBezTo>
                    <a:pt x="33352" y="17568"/>
                    <a:pt x="33076" y="17819"/>
                    <a:pt x="32788" y="18071"/>
                  </a:cubicBezTo>
                  <a:cubicBezTo>
                    <a:pt x="32489" y="18331"/>
                    <a:pt x="32193" y="18598"/>
                    <a:pt x="31896" y="18865"/>
                  </a:cubicBezTo>
                  <a:cubicBezTo>
                    <a:pt x="31302" y="19398"/>
                    <a:pt x="30707" y="19941"/>
                    <a:pt x="30094" y="20457"/>
                  </a:cubicBezTo>
                  <a:cubicBezTo>
                    <a:pt x="29605" y="20868"/>
                    <a:pt x="29109" y="21256"/>
                    <a:pt x="28599" y="21580"/>
                  </a:cubicBezTo>
                  <a:cubicBezTo>
                    <a:pt x="28089" y="21905"/>
                    <a:pt x="27564" y="22164"/>
                    <a:pt x="27036" y="22305"/>
                  </a:cubicBezTo>
                  <a:cubicBezTo>
                    <a:pt x="26508" y="22447"/>
                    <a:pt x="25974" y="22467"/>
                    <a:pt x="25446" y="22361"/>
                  </a:cubicBezTo>
                  <a:cubicBezTo>
                    <a:pt x="24916" y="22256"/>
                    <a:pt x="24388" y="22025"/>
                    <a:pt x="23874" y="21719"/>
                  </a:cubicBezTo>
                  <a:cubicBezTo>
                    <a:pt x="23359" y="21411"/>
                    <a:pt x="22857" y="21030"/>
                    <a:pt x="22363" y="20619"/>
                  </a:cubicBezTo>
                  <a:cubicBezTo>
                    <a:pt x="21869" y="20210"/>
                    <a:pt x="21381" y="19768"/>
                    <a:pt x="20890" y="19319"/>
                  </a:cubicBezTo>
                  <a:cubicBezTo>
                    <a:pt x="20399" y="18872"/>
                    <a:pt x="19902" y="18412"/>
                    <a:pt x="19394" y="17963"/>
                  </a:cubicBezTo>
                  <a:cubicBezTo>
                    <a:pt x="18914" y="17534"/>
                    <a:pt x="18435" y="17072"/>
                    <a:pt x="17941" y="16609"/>
                  </a:cubicBezTo>
                  <a:cubicBezTo>
                    <a:pt x="16954" y="15686"/>
                    <a:pt x="15906" y="14737"/>
                    <a:pt x="14638" y="13998"/>
                  </a:cubicBezTo>
                  <a:cubicBezTo>
                    <a:pt x="14005" y="13632"/>
                    <a:pt x="13313" y="13322"/>
                    <a:pt x="12574" y="13129"/>
                  </a:cubicBezTo>
                  <a:cubicBezTo>
                    <a:pt x="12205" y="13032"/>
                    <a:pt x="11825" y="12963"/>
                    <a:pt x="11442" y="12929"/>
                  </a:cubicBezTo>
                  <a:cubicBezTo>
                    <a:pt x="11250" y="12911"/>
                    <a:pt x="11058" y="12900"/>
                    <a:pt x="10865" y="12900"/>
                  </a:cubicBezTo>
                  <a:cubicBezTo>
                    <a:pt x="10658" y="12898"/>
                    <a:pt x="10440" y="12913"/>
                    <a:pt x="10229" y="12943"/>
                  </a:cubicBezTo>
                  <a:cubicBezTo>
                    <a:pt x="9381" y="13066"/>
                    <a:pt x="8585" y="13459"/>
                    <a:pt x="7970" y="14036"/>
                  </a:cubicBezTo>
                  <a:cubicBezTo>
                    <a:pt x="7353" y="14608"/>
                    <a:pt x="6907" y="15365"/>
                    <a:pt x="6712" y="16189"/>
                  </a:cubicBezTo>
                  <a:cubicBezTo>
                    <a:pt x="6663" y="16394"/>
                    <a:pt x="6630" y="16604"/>
                    <a:pt x="6612" y="16813"/>
                  </a:cubicBezTo>
                  <a:cubicBezTo>
                    <a:pt x="6603" y="16919"/>
                    <a:pt x="6597" y="17024"/>
                    <a:pt x="6597" y="17130"/>
                  </a:cubicBezTo>
                  <a:cubicBezTo>
                    <a:pt x="6596" y="17386"/>
                    <a:pt x="6596" y="17386"/>
                    <a:pt x="6596" y="17386"/>
                  </a:cubicBezTo>
                  <a:cubicBezTo>
                    <a:pt x="6594" y="17718"/>
                    <a:pt x="6594" y="18048"/>
                    <a:pt x="6594" y="18378"/>
                  </a:cubicBezTo>
                  <a:cubicBezTo>
                    <a:pt x="6592" y="19038"/>
                    <a:pt x="6591" y="19698"/>
                    <a:pt x="6590" y="20356"/>
                  </a:cubicBezTo>
                  <a:cubicBezTo>
                    <a:pt x="6587" y="22400"/>
                    <a:pt x="6587" y="22400"/>
                    <a:pt x="6587" y="22400"/>
                  </a:cubicBezTo>
                  <a:cubicBezTo>
                    <a:pt x="6585" y="23423"/>
                    <a:pt x="6585" y="23423"/>
                    <a:pt x="6585" y="23423"/>
                  </a:cubicBezTo>
                  <a:cubicBezTo>
                    <a:pt x="6584" y="23823"/>
                    <a:pt x="6584" y="23823"/>
                    <a:pt x="6584" y="23823"/>
                  </a:cubicBezTo>
                  <a:cubicBezTo>
                    <a:pt x="6583" y="23852"/>
                    <a:pt x="6585" y="23879"/>
                    <a:pt x="6581" y="23906"/>
                  </a:cubicBezTo>
                  <a:cubicBezTo>
                    <a:pt x="6578" y="23933"/>
                    <a:pt x="6560" y="23958"/>
                    <a:pt x="6533" y="23966"/>
                  </a:cubicBezTo>
                  <a:cubicBezTo>
                    <a:pt x="6507" y="23971"/>
                    <a:pt x="6479" y="23975"/>
                    <a:pt x="6452" y="23976"/>
                  </a:cubicBezTo>
                  <a:cubicBezTo>
                    <a:pt x="6398" y="23980"/>
                    <a:pt x="6398" y="23980"/>
                    <a:pt x="6398" y="23980"/>
                  </a:cubicBezTo>
                  <a:cubicBezTo>
                    <a:pt x="6161" y="23989"/>
                    <a:pt x="6161" y="23989"/>
                    <a:pt x="6161" y="23989"/>
                  </a:cubicBezTo>
                  <a:cubicBezTo>
                    <a:pt x="6002" y="23994"/>
                    <a:pt x="5839" y="23998"/>
                    <a:pt x="5674" y="23998"/>
                  </a:cubicBezTo>
                  <a:cubicBezTo>
                    <a:pt x="5178" y="23998"/>
                    <a:pt x="5178" y="23998"/>
                    <a:pt x="5178" y="23998"/>
                  </a:cubicBezTo>
                  <a:cubicBezTo>
                    <a:pt x="5051" y="23998"/>
                    <a:pt x="4922" y="23987"/>
                    <a:pt x="4791" y="23969"/>
                  </a:cubicBezTo>
                  <a:cubicBezTo>
                    <a:pt x="4530" y="23933"/>
                    <a:pt x="4264" y="23863"/>
                    <a:pt x="4007" y="23765"/>
                  </a:cubicBezTo>
                  <a:cubicBezTo>
                    <a:pt x="3492" y="23572"/>
                    <a:pt x="3005" y="23268"/>
                    <a:pt x="2631" y="22893"/>
                  </a:cubicBezTo>
                  <a:cubicBezTo>
                    <a:pt x="2256" y="22519"/>
                    <a:pt x="2002" y="22078"/>
                    <a:pt x="1938" y="21654"/>
                  </a:cubicBezTo>
                  <a:cubicBezTo>
                    <a:pt x="1929" y="21602"/>
                    <a:pt x="1923" y="21548"/>
                    <a:pt x="1920" y="21495"/>
                  </a:cubicBezTo>
                  <a:cubicBezTo>
                    <a:pt x="1919" y="21468"/>
                    <a:pt x="1918" y="21441"/>
                    <a:pt x="1918" y="21416"/>
                  </a:cubicBezTo>
                  <a:cubicBezTo>
                    <a:pt x="1917" y="21299"/>
                    <a:pt x="1917" y="21299"/>
                    <a:pt x="1917" y="21299"/>
                  </a:cubicBezTo>
                  <a:cubicBezTo>
                    <a:pt x="1919" y="20789"/>
                    <a:pt x="1919" y="20789"/>
                    <a:pt x="1919" y="20789"/>
                  </a:cubicBezTo>
                  <a:cubicBezTo>
                    <a:pt x="1920" y="19772"/>
                    <a:pt x="1920" y="19772"/>
                    <a:pt x="1920" y="19772"/>
                  </a:cubicBezTo>
                  <a:cubicBezTo>
                    <a:pt x="1922" y="19092"/>
                    <a:pt x="1923" y="18412"/>
                    <a:pt x="1924" y="17736"/>
                  </a:cubicBezTo>
                  <a:cubicBezTo>
                    <a:pt x="1930" y="12447"/>
                    <a:pt x="1943" y="2086"/>
                    <a:pt x="1943" y="1975"/>
                  </a:cubicBezTo>
                  <a:cubicBezTo>
                    <a:pt x="1943" y="1864"/>
                    <a:pt x="2000" y="1839"/>
                    <a:pt x="2090" y="1839"/>
                  </a:cubicBezTo>
                  <a:cubicBezTo>
                    <a:pt x="2180" y="1839"/>
                    <a:pt x="3474" y="1839"/>
                    <a:pt x="4171" y="1838"/>
                  </a:cubicBezTo>
                  <a:cubicBezTo>
                    <a:pt x="4586" y="1838"/>
                    <a:pt x="5001" y="1838"/>
                    <a:pt x="5415" y="1838"/>
                  </a:cubicBezTo>
                  <a:cubicBezTo>
                    <a:pt x="6036" y="1837"/>
                    <a:pt x="6036" y="1837"/>
                    <a:pt x="6036" y="1837"/>
                  </a:cubicBezTo>
                  <a:cubicBezTo>
                    <a:pt x="6152" y="1836"/>
                    <a:pt x="6213" y="1838"/>
                    <a:pt x="6307" y="1843"/>
                  </a:cubicBezTo>
                  <a:cubicBezTo>
                    <a:pt x="6395" y="1847"/>
                    <a:pt x="6483" y="1854"/>
                    <a:pt x="6571" y="1863"/>
                  </a:cubicBezTo>
                  <a:cubicBezTo>
                    <a:pt x="7271" y="1932"/>
                    <a:pt x="7952" y="2139"/>
                    <a:pt x="8570" y="2470"/>
                  </a:cubicBezTo>
                  <a:cubicBezTo>
                    <a:pt x="8879" y="2635"/>
                    <a:pt x="9171" y="2831"/>
                    <a:pt x="9442" y="3052"/>
                  </a:cubicBezTo>
                  <a:cubicBezTo>
                    <a:pt x="9510" y="3106"/>
                    <a:pt x="9579" y="3165"/>
                    <a:pt x="9640" y="3220"/>
                  </a:cubicBezTo>
                  <a:cubicBezTo>
                    <a:pt x="9854" y="3419"/>
                    <a:pt x="9854" y="3419"/>
                    <a:pt x="9854" y="3419"/>
                  </a:cubicBezTo>
                  <a:cubicBezTo>
                    <a:pt x="10305" y="3841"/>
                    <a:pt x="10305" y="3841"/>
                    <a:pt x="10305" y="3841"/>
                  </a:cubicBezTo>
                  <a:cubicBezTo>
                    <a:pt x="11970" y="5399"/>
                    <a:pt x="13645" y="6958"/>
                    <a:pt x="15279" y="8472"/>
                  </a:cubicBezTo>
                  <a:cubicBezTo>
                    <a:pt x="15297" y="8489"/>
                    <a:pt x="15297" y="8489"/>
                    <a:pt x="15297" y="8489"/>
                  </a:cubicBezTo>
                  <a:cubicBezTo>
                    <a:pt x="15338" y="8528"/>
                    <a:pt x="15338" y="8528"/>
                    <a:pt x="15338" y="8528"/>
                  </a:cubicBezTo>
                  <a:cubicBezTo>
                    <a:pt x="15418" y="8605"/>
                    <a:pt x="15418" y="8605"/>
                    <a:pt x="15418" y="8605"/>
                  </a:cubicBezTo>
                  <a:cubicBezTo>
                    <a:pt x="15580" y="8758"/>
                    <a:pt x="15580" y="8758"/>
                    <a:pt x="15580" y="8758"/>
                  </a:cubicBezTo>
                  <a:cubicBezTo>
                    <a:pt x="15688" y="8859"/>
                    <a:pt x="15797" y="8959"/>
                    <a:pt x="15909" y="9055"/>
                  </a:cubicBezTo>
                  <a:cubicBezTo>
                    <a:pt x="16131" y="9250"/>
                    <a:pt x="16359" y="9436"/>
                    <a:pt x="16590" y="9615"/>
                  </a:cubicBezTo>
                  <a:cubicBezTo>
                    <a:pt x="17053" y="9974"/>
                    <a:pt x="17535" y="10299"/>
                    <a:pt x="18027" y="10592"/>
                  </a:cubicBezTo>
                  <a:cubicBezTo>
                    <a:pt x="19012" y="11180"/>
                    <a:pt x="20042" y="11634"/>
                    <a:pt x="21073" y="11966"/>
                  </a:cubicBezTo>
                  <a:cubicBezTo>
                    <a:pt x="22104" y="12297"/>
                    <a:pt x="23135" y="12505"/>
                    <a:pt x="24130" y="12613"/>
                  </a:cubicBezTo>
                  <a:cubicBezTo>
                    <a:pt x="25126" y="12720"/>
                    <a:pt x="26085" y="12731"/>
                    <a:pt x="26986" y="12667"/>
                  </a:cubicBezTo>
                  <a:cubicBezTo>
                    <a:pt x="28794" y="12547"/>
                    <a:pt x="30366" y="12128"/>
                    <a:pt x="31601" y="11637"/>
                  </a:cubicBezTo>
                  <a:cubicBezTo>
                    <a:pt x="32764" y="11180"/>
                    <a:pt x="33788" y="10609"/>
                    <a:pt x="34694" y="9965"/>
                  </a:cubicBezTo>
                  <a:cubicBezTo>
                    <a:pt x="35147" y="9644"/>
                    <a:pt x="35570" y="9301"/>
                    <a:pt x="35966" y="8944"/>
                  </a:cubicBezTo>
                  <a:cubicBezTo>
                    <a:pt x="36164" y="8767"/>
                    <a:pt x="36361" y="8576"/>
                    <a:pt x="36536" y="8402"/>
                  </a:cubicBezTo>
                  <a:cubicBezTo>
                    <a:pt x="36717" y="8227"/>
                    <a:pt x="36895" y="8051"/>
                    <a:pt x="37074" y="7875"/>
                  </a:cubicBezTo>
                  <a:cubicBezTo>
                    <a:pt x="39465" y="5534"/>
                    <a:pt x="41336" y="3664"/>
                    <a:pt x="42185" y="2767"/>
                  </a:cubicBezTo>
                  <a:cubicBezTo>
                    <a:pt x="42609" y="2330"/>
                    <a:pt x="42961" y="1961"/>
                    <a:pt x="43246" y="1655"/>
                  </a:cubicBezTo>
                  <a:cubicBezTo>
                    <a:pt x="43282" y="1615"/>
                    <a:pt x="43319" y="1576"/>
                    <a:pt x="43355" y="1537"/>
                  </a:cubicBezTo>
                  <a:cubicBezTo>
                    <a:pt x="43384" y="1506"/>
                    <a:pt x="43413" y="1474"/>
                    <a:pt x="43442" y="1444"/>
                  </a:cubicBezTo>
                  <a:cubicBezTo>
                    <a:pt x="43455" y="1429"/>
                    <a:pt x="43468" y="1415"/>
                    <a:pt x="43482" y="1400"/>
                  </a:cubicBezTo>
                  <a:cubicBezTo>
                    <a:pt x="43492" y="1388"/>
                    <a:pt x="43502" y="1377"/>
                    <a:pt x="43511" y="1366"/>
                  </a:cubicBezTo>
                  <a:cubicBezTo>
                    <a:pt x="43547" y="1323"/>
                    <a:pt x="43909" y="1105"/>
                    <a:pt x="43958" y="1079"/>
                  </a:cubicBezTo>
                  <a:cubicBezTo>
                    <a:pt x="43981" y="1066"/>
                    <a:pt x="44373" y="898"/>
                    <a:pt x="44433" y="867"/>
                  </a:cubicBezTo>
                  <a:cubicBezTo>
                    <a:pt x="44584" y="783"/>
                    <a:pt x="44236" y="653"/>
                    <a:pt x="43958" y="663"/>
                  </a:cubicBezTo>
                  <a:cubicBezTo>
                    <a:pt x="43680" y="672"/>
                    <a:pt x="43386" y="771"/>
                    <a:pt x="43286" y="836"/>
                  </a:cubicBezTo>
                  <a:cubicBezTo>
                    <a:pt x="43096" y="959"/>
                    <a:pt x="42853" y="1201"/>
                    <a:pt x="42699" y="1324"/>
                  </a:cubicBezTo>
                  <a:cubicBezTo>
                    <a:pt x="42464" y="1515"/>
                    <a:pt x="42189" y="1742"/>
                    <a:pt x="41873" y="2007"/>
                  </a:cubicBezTo>
                  <a:cubicBezTo>
                    <a:pt x="41042" y="2692"/>
                    <a:pt x="38675" y="4850"/>
                    <a:pt x="35671" y="7622"/>
                  </a:cubicBezTo>
                  <a:cubicBezTo>
                    <a:pt x="35575" y="7710"/>
                    <a:pt x="35487" y="7792"/>
                    <a:pt x="35393" y="7874"/>
                  </a:cubicBezTo>
                  <a:cubicBezTo>
                    <a:pt x="35301" y="7956"/>
                    <a:pt x="35207" y="8038"/>
                    <a:pt x="35110" y="8118"/>
                  </a:cubicBezTo>
                  <a:cubicBezTo>
                    <a:pt x="34918" y="8281"/>
                    <a:pt x="34719" y="8437"/>
                    <a:pt x="34512" y="8591"/>
                  </a:cubicBezTo>
                  <a:cubicBezTo>
                    <a:pt x="34100" y="8897"/>
                    <a:pt x="33661" y="9186"/>
                    <a:pt x="33199" y="9450"/>
                  </a:cubicBezTo>
                  <a:cubicBezTo>
                    <a:pt x="32274" y="9980"/>
                    <a:pt x="31253" y="10412"/>
                    <a:pt x="30179" y="10717"/>
                  </a:cubicBezTo>
                  <a:cubicBezTo>
                    <a:pt x="28032" y="11330"/>
                    <a:pt x="25667" y="11418"/>
                    <a:pt x="23498" y="11014"/>
                  </a:cubicBezTo>
                  <a:cubicBezTo>
                    <a:pt x="21528" y="10648"/>
                    <a:pt x="19660" y="9859"/>
                    <a:pt x="18064" y="8699"/>
                  </a:cubicBezTo>
                  <a:cubicBezTo>
                    <a:pt x="17665" y="8409"/>
                    <a:pt x="17283" y="8097"/>
                    <a:pt x="16920" y="7763"/>
                  </a:cubicBezTo>
                  <a:cubicBezTo>
                    <a:pt x="16830" y="7680"/>
                    <a:pt x="16740" y="7595"/>
                    <a:pt x="16652" y="7510"/>
                  </a:cubicBezTo>
                  <a:cubicBezTo>
                    <a:pt x="16521" y="7380"/>
                    <a:pt x="16521" y="7380"/>
                    <a:pt x="16521" y="7380"/>
                  </a:cubicBezTo>
                  <a:cubicBezTo>
                    <a:pt x="16455" y="7314"/>
                    <a:pt x="16455" y="7314"/>
                    <a:pt x="16455" y="7314"/>
                  </a:cubicBezTo>
                  <a:cubicBezTo>
                    <a:pt x="16370" y="7232"/>
                    <a:pt x="16370" y="7232"/>
                    <a:pt x="16370" y="7232"/>
                  </a:cubicBezTo>
                  <a:cubicBezTo>
                    <a:pt x="15807" y="6693"/>
                    <a:pt x="15807" y="6693"/>
                    <a:pt x="15807" y="6693"/>
                  </a:cubicBezTo>
                  <a:cubicBezTo>
                    <a:pt x="15055" y="5974"/>
                    <a:pt x="14303" y="5254"/>
                    <a:pt x="13548" y="4532"/>
                  </a:cubicBezTo>
                  <a:cubicBezTo>
                    <a:pt x="12794" y="3811"/>
                    <a:pt x="12037" y="3086"/>
                    <a:pt x="11277" y="2358"/>
                  </a:cubicBezTo>
                  <a:cubicBezTo>
                    <a:pt x="10992" y="2085"/>
                    <a:pt x="10992" y="2085"/>
                    <a:pt x="10992" y="2085"/>
                  </a:cubicBezTo>
                  <a:cubicBezTo>
                    <a:pt x="10842" y="1945"/>
                    <a:pt x="10842" y="1945"/>
                    <a:pt x="10842" y="1945"/>
                  </a:cubicBezTo>
                  <a:cubicBezTo>
                    <a:pt x="10784" y="1890"/>
                    <a:pt x="10730" y="1842"/>
                    <a:pt x="10674" y="1792"/>
                  </a:cubicBezTo>
                  <a:cubicBezTo>
                    <a:pt x="10451" y="1598"/>
                    <a:pt x="10215" y="1417"/>
                    <a:pt x="9968" y="1251"/>
                  </a:cubicBezTo>
                  <a:cubicBezTo>
                    <a:pt x="9475" y="920"/>
                    <a:pt x="8938" y="648"/>
                    <a:pt x="8374" y="447"/>
                  </a:cubicBezTo>
                  <a:cubicBezTo>
                    <a:pt x="7808" y="246"/>
                    <a:pt x="7215" y="116"/>
                    <a:pt x="6613" y="63"/>
                  </a:cubicBezTo>
                  <a:cubicBezTo>
                    <a:pt x="6539" y="57"/>
                    <a:pt x="6463" y="50"/>
                    <a:pt x="6388" y="46"/>
                  </a:cubicBezTo>
                  <a:cubicBezTo>
                    <a:pt x="6274" y="41"/>
                    <a:pt x="6274" y="41"/>
                    <a:pt x="6274" y="41"/>
                  </a:cubicBezTo>
                  <a:cubicBezTo>
                    <a:pt x="6155" y="37"/>
                    <a:pt x="6155" y="37"/>
                    <a:pt x="6155" y="37"/>
                  </a:cubicBezTo>
                  <a:cubicBezTo>
                    <a:pt x="5751" y="33"/>
                    <a:pt x="5751" y="33"/>
                    <a:pt x="5751" y="33"/>
                  </a:cubicBezTo>
                  <a:cubicBezTo>
                    <a:pt x="5482" y="31"/>
                    <a:pt x="5212" y="29"/>
                    <a:pt x="4942" y="27"/>
                  </a:cubicBezTo>
                  <a:cubicBezTo>
                    <a:pt x="3743" y="18"/>
                    <a:pt x="2484" y="0"/>
                    <a:pt x="1317" y="0"/>
                  </a:cubicBezTo>
                  <a:cubicBezTo>
                    <a:pt x="151" y="0"/>
                    <a:pt x="96" y="874"/>
                    <a:pt x="96" y="1210"/>
                  </a:cubicBezTo>
                  <a:cubicBezTo>
                    <a:pt x="96" y="1545"/>
                    <a:pt x="82" y="3462"/>
                    <a:pt x="75" y="4603"/>
                  </a:cubicBezTo>
                  <a:cubicBezTo>
                    <a:pt x="60" y="7453"/>
                    <a:pt x="44" y="10331"/>
                    <a:pt x="28" y="13349"/>
                  </a:cubicBezTo>
                  <a:cubicBezTo>
                    <a:pt x="23" y="14793"/>
                    <a:pt x="17" y="16270"/>
                    <a:pt x="11" y="17772"/>
                  </a:cubicBezTo>
                  <a:cubicBezTo>
                    <a:pt x="9" y="18522"/>
                    <a:pt x="6" y="19281"/>
                    <a:pt x="4" y="20044"/>
                  </a:cubicBezTo>
                  <a:cubicBezTo>
                    <a:pt x="2" y="20426"/>
                    <a:pt x="1" y="20810"/>
                    <a:pt x="0" y="21196"/>
                  </a:cubicBezTo>
                  <a:cubicBezTo>
                    <a:pt x="0" y="21340"/>
                    <a:pt x="0" y="21340"/>
                    <a:pt x="0" y="21340"/>
                  </a:cubicBezTo>
                  <a:cubicBezTo>
                    <a:pt x="0" y="21416"/>
                    <a:pt x="0" y="21416"/>
                    <a:pt x="0" y="21416"/>
                  </a:cubicBezTo>
                  <a:cubicBezTo>
                    <a:pt x="1" y="21517"/>
                    <a:pt x="1" y="21517"/>
                    <a:pt x="1" y="21517"/>
                  </a:cubicBezTo>
                  <a:cubicBezTo>
                    <a:pt x="6" y="21650"/>
                    <a:pt x="19" y="21782"/>
                    <a:pt x="37" y="21914"/>
                  </a:cubicBezTo>
                  <a:cubicBezTo>
                    <a:pt x="76" y="22177"/>
                    <a:pt x="143" y="22433"/>
                    <a:pt x="235" y="22675"/>
                  </a:cubicBezTo>
                  <a:cubicBezTo>
                    <a:pt x="417" y="23161"/>
                    <a:pt x="689" y="23591"/>
                    <a:pt x="1005" y="23958"/>
                  </a:cubicBezTo>
                  <a:cubicBezTo>
                    <a:pt x="1321" y="24328"/>
                    <a:pt x="1682" y="24642"/>
                    <a:pt x="2071" y="24909"/>
                  </a:cubicBezTo>
                  <a:cubicBezTo>
                    <a:pt x="2460" y="25172"/>
                    <a:pt x="2878" y="25390"/>
                    <a:pt x="3320" y="25559"/>
                  </a:cubicBezTo>
                  <a:cubicBezTo>
                    <a:pt x="3761" y="25725"/>
                    <a:pt x="4229" y="25844"/>
                    <a:pt x="4719" y="25893"/>
                  </a:cubicBezTo>
                  <a:cubicBezTo>
                    <a:pt x="4843" y="25906"/>
                    <a:pt x="4967" y="25915"/>
                    <a:pt x="5092" y="25916"/>
                  </a:cubicBezTo>
                  <a:cubicBezTo>
                    <a:pt x="5413" y="25918"/>
                    <a:pt x="5413" y="25918"/>
                    <a:pt x="5413" y="25918"/>
                  </a:cubicBezTo>
                  <a:cubicBezTo>
                    <a:pt x="5616" y="25918"/>
                    <a:pt x="5822" y="25918"/>
                    <a:pt x="6032" y="25913"/>
                  </a:cubicBezTo>
                  <a:cubicBezTo>
                    <a:pt x="6349" y="25902"/>
                    <a:pt x="6349" y="25902"/>
                    <a:pt x="6349" y="25902"/>
                  </a:cubicBezTo>
                  <a:cubicBezTo>
                    <a:pt x="6511" y="25895"/>
                    <a:pt x="6511" y="25895"/>
                    <a:pt x="6511" y="25895"/>
                  </a:cubicBezTo>
                  <a:cubicBezTo>
                    <a:pt x="6643" y="25888"/>
                    <a:pt x="6643" y="25888"/>
                    <a:pt x="6643" y="25888"/>
                  </a:cubicBezTo>
                  <a:cubicBezTo>
                    <a:pt x="6783" y="25877"/>
                    <a:pt x="6783" y="25877"/>
                    <a:pt x="6783" y="25877"/>
                  </a:cubicBezTo>
                  <a:cubicBezTo>
                    <a:pt x="7156" y="25844"/>
                    <a:pt x="7534" y="25788"/>
                    <a:pt x="7817" y="25615"/>
                  </a:cubicBezTo>
                  <a:cubicBezTo>
                    <a:pt x="7959" y="25532"/>
                    <a:pt x="8094" y="25415"/>
                    <a:pt x="8198" y="25276"/>
                  </a:cubicBezTo>
                  <a:cubicBezTo>
                    <a:pt x="8303" y="25137"/>
                    <a:pt x="8375" y="24986"/>
                    <a:pt x="8425" y="24824"/>
                  </a:cubicBezTo>
                  <a:cubicBezTo>
                    <a:pt x="8449" y="24743"/>
                    <a:pt x="8467" y="24656"/>
                    <a:pt x="8480" y="24568"/>
                  </a:cubicBezTo>
                  <a:cubicBezTo>
                    <a:pt x="8491" y="24478"/>
                    <a:pt x="8487" y="24382"/>
                    <a:pt x="8491" y="24288"/>
                  </a:cubicBezTo>
                  <a:cubicBezTo>
                    <a:pt x="8502" y="23762"/>
                    <a:pt x="8502" y="23762"/>
                    <a:pt x="8502" y="23762"/>
                  </a:cubicBezTo>
                  <a:cubicBezTo>
                    <a:pt x="8502" y="23360"/>
                    <a:pt x="8503" y="22958"/>
                    <a:pt x="8503" y="22556"/>
                  </a:cubicBezTo>
                  <a:cubicBezTo>
                    <a:pt x="8505" y="20944"/>
                    <a:pt x="8506" y="19323"/>
                    <a:pt x="8507" y="17700"/>
                  </a:cubicBezTo>
                  <a:cubicBezTo>
                    <a:pt x="8508" y="17114"/>
                    <a:pt x="8508" y="17114"/>
                    <a:pt x="8508" y="17114"/>
                  </a:cubicBezTo>
                  <a:cubicBezTo>
                    <a:pt x="8511" y="16971"/>
                    <a:pt x="8527" y="16829"/>
                    <a:pt x="8557" y="16688"/>
                  </a:cubicBezTo>
                  <a:cubicBezTo>
                    <a:pt x="8615" y="16409"/>
                    <a:pt x="8725" y="16138"/>
                    <a:pt x="8881" y="15895"/>
                  </a:cubicBezTo>
                  <a:cubicBezTo>
                    <a:pt x="9190" y="15408"/>
                    <a:pt x="9681" y="15035"/>
                    <a:pt x="10225" y="14883"/>
                  </a:cubicBezTo>
                  <a:cubicBezTo>
                    <a:pt x="10360" y="14844"/>
                    <a:pt x="10499" y="14819"/>
                    <a:pt x="10639" y="14806"/>
                  </a:cubicBezTo>
                  <a:cubicBezTo>
                    <a:pt x="10710" y="14799"/>
                    <a:pt x="10777" y="14797"/>
                    <a:pt x="10853" y="14797"/>
                  </a:cubicBezTo>
                  <a:cubicBezTo>
                    <a:pt x="10937" y="14797"/>
                    <a:pt x="11022" y="14799"/>
                    <a:pt x="11106" y="14804"/>
                  </a:cubicBezTo>
                  <a:cubicBezTo>
                    <a:pt x="11443" y="14822"/>
                    <a:pt x="11778" y="14874"/>
                    <a:pt x="12109" y="14963"/>
                  </a:cubicBezTo>
                  <a:cubicBezTo>
                    <a:pt x="12771" y="15136"/>
                    <a:pt x="13415" y="15442"/>
                    <a:pt x="14033" y="15836"/>
                  </a:cubicBezTo>
                  <a:cubicBezTo>
                    <a:pt x="14652" y="16228"/>
                    <a:pt x="15245" y="16701"/>
                    <a:pt x="15826" y="17211"/>
                  </a:cubicBezTo>
                  <a:cubicBezTo>
                    <a:pt x="16408" y="17720"/>
                    <a:pt x="16977" y="18268"/>
                    <a:pt x="17572" y="18816"/>
                  </a:cubicBezTo>
                  <a:cubicBezTo>
                    <a:pt x="17865" y="19090"/>
                    <a:pt x="18186" y="19371"/>
                    <a:pt x="18471" y="19624"/>
                  </a:cubicBezTo>
                  <a:cubicBezTo>
                    <a:pt x="18763" y="19887"/>
                    <a:pt x="19055" y="20148"/>
                    <a:pt x="19346" y="20412"/>
                  </a:cubicBezTo>
                  <a:cubicBezTo>
                    <a:pt x="19931" y="20940"/>
                    <a:pt x="20520" y="21474"/>
                    <a:pt x="21145" y="21991"/>
                  </a:cubicBezTo>
                  <a:cubicBezTo>
                    <a:pt x="21771" y="22505"/>
                    <a:pt x="22434" y="23006"/>
                    <a:pt x="23192" y="23423"/>
                  </a:cubicBezTo>
                  <a:cubicBezTo>
                    <a:pt x="23571" y="23630"/>
                    <a:pt x="23975" y="23814"/>
                    <a:pt x="24404" y="23955"/>
                  </a:cubicBezTo>
                  <a:cubicBezTo>
                    <a:pt x="24833" y="24094"/>
                    <a:pt x="25289" y="24189"/>
                    <a:pt x="25751" y="24218"/>
                  </a:cubicBezTo>
                  <a:cubicBezTo>
                    <a:pt x="26212" y="24249"/>
                    <a:pt x="26677" y="24214"/>
                    <a:pt x="27122" y="24126"/>
                  </a:cubicBezTo>
                  <a:cubicBezTo>
                    <a:pt x="27565" y="24036"/>
                    <a:pt x="27988" y="23893"/>
                    <a:pt x="28379" y="23720"/>
                  </a:cubicBezTo>
                  <a:cubicBezTo>
                    <a:pt x="29164" y="23372"/>
                    <a:pt x="29831" y="22916"/>
                    <a:pt x="30440" y="22446"/>
                  </a:cubicBezTo>
                  <a:cubicBezTo>
                    <a:pt x="31050" y="21975"/>
                    <a:pt x="31603" y="21484"/>
                    <a:pt x="32136" y="21001"/>
                  </a:cubicBezTo>
                  <a:cubicBezTo>
                    <a:pt x="32660" y="20522"/>
                    <a:pt x="33177" y="20047"/>
                    <a:pt x="33687" y="19580"/>
                  </a:cubicBezTo>
                  <a:cubicBezTo>
                    <a:pt x="33815" y="19465"/>
                    <a:pt x="33943" y="19352"/>
                    <a:pt x="34070" y="19236"/>
                  </a:cubicBezTo>
                  <a:cubicBezTo>
                    <a:pt x="34200" y="19117"/>
                    <a:pt x="34329" y="18998"/>
                    <a:pt x="34459" y="18879"/>
                  </a:cubicBezTo>
                  <a:cubicBezTo>
                    <a:pt x="34710" y="18643"/>
                    <a:pt x="34957" y="18407"/>
                    <a:pt x="35204" y="18174"/>
                  </a:cubicBezTo>
                  <a:cubicBezTo>
                    <a:pt x="35690" y="17712"/>
                    <a:pt x="36160" y="17269"/>
                    <a:pt x="36635" y="16860"/>
                  </a:cubicBezTo>
                  <a:cubicBezTo>
                    <a:pt x="37578" y="16043"/>
                    <a:pt x="38544" y="15368"/>
                    <a:pt x="39540" y="14993"/>
                  </a:cubicBezTo>
                  <a:cubicBezTo>
                    <a:pt x="40038" y="14804"/>
                    <a:pt x="40538" y="14689"/>
                    <a:pt x="41035" y="14649"/>
                  </a:cubicBezTo>
                  <a:cubicBezTo>
                    <a:pt x="41158" y="14640"/>
                    <a:pt x="41287" y="14633"/>
                    <a:pt x="41402" y="14633"/>
                  </a:cubicBezTo>
                  <a:cubicBezTo>
                    <a:pt x="41509" y="14633"/>
                    <a:pt x="41616" y="14640"/>
                    <a:pt x="41719" y="14653"/>
                  </a:cubicBezTo>
                  <a:cubicBezTo>
                    <a:pt x="41929" y="14680"/>
                    <a:pt x="42132" y="14736"/>
                    <a:pt x="42326" y="14813"/>
                  </a:cubicBezTo>
                  <a:cubicBezTo>
                    <a:pt x="42712" y="14970"/>
                    <a:pt x="43051" y="15224"/>
                    <a:pt x="43312" y="15531"/>
                  </a:cubicBezTo>
                  <a:cubicBezTo>
                    <a:pt x="43575" y="15839"/>
                    <a:pt x="43757" y="16198"/>
                    <a:pt x="43853" y="16566"/>
                  </a:cubicBezTo>
                  <a:cubicBezTo>
                    <a:pt x="43900" y="16750"/>
                    <a:pt x="43927" y="16939"/>
                    <a:pt x="43934" y="17121"/>
                  </a:cubicBezTo>
                  <a:cubicBezTo>
                    <a:pt x="43938" y="17357"/>
                    <a:pt x="43941" y="17592"/>
                    <a:pt x="43945" y="17822"/>
                  </a:cubicBezTo>
                  <a:cubicBezTo>
                    <a:pt x="43951" y="18291"/>
                    <a:pt x="43959" y="18749"/>
                    <a:pt x="43965" y="19195"/>
                  </a:cubicBezTo>
                  <a:cubicBezTo>
                    <a:pt x="43972" y="19640"/>
                    <a:pt x="43979" y="20073"/>
                    <a:pt x="43987" y="20491"/>
                  </a:cubicBezTo>
                  <a:cubicBezTo>
                    <a:pt x="43990" y="20700"/>
                    <a:pt x="43994" y="20908"/>
                    <a:pt x="43997" y="21110"/>
                  </a:cubicBezTo>
                  <a:cubicBezTo>
                    <a:pt x="43999" y="21212"/>
                    <a:pt x="44001" y="21313"/>
                    <a:pt x="44003" y="21414"/>
                  </a:cubicBezTo>
                  <a:cubicBezTo>
                    <a:pt x="44005" y="21542"/>
                    <a:pt x="44016" y="21667"/>
                    <a:pt x="44033" y="21791"/>
                  </a:cubicBezTo>
                  <a:cubicBezTo>
                    <a:pt x="44102" y="22278"/>
                    <a:pt x="44279" y="22709"/>
                    <a:pt x="44495" y="23069"/>
                  </a:cubicBezTo>
                  <a:cubicBezTo>
                    <a:pt x="44711" y="23432"/>
                    <a:pt x="44969" y="23733"/>
                    <a:pt x="45236" y="23985"/>
                  </a:cubicBezTo>
                  <a:cubicBezTo>
                    <a:pt x="45772" y="24492"/>
                    <a:pt x="46343" y="24824"/>
                    <a:pt x="46894" y="25058"/>
                  </a:cubicBezTo>
                  <a:cubicBezTo>
                    <a:pt x="47447" y="25289"/>
                    <a:pt x="47986" y="25417"/>
                    <a:pt x="48500" y="25462"/>
                  </a:cubicBezTo>
                  <a:cubicBezTo>
                    <a:pt x="48756" y="25486"/>
                    <a:pt x="49022" y="25478"/>
                    <a:pt x="49226" y="25468"/>
                  </a:cubicBezTo>
                  <a:cubicBezTo>
                    <a:pt x="49441" y="25458"/>
                    <a:pt x="49650" y="25448"/>
                    <a:pt x="49854" y="25433"/>
                  </a:cubicBezTo>
                  <a:cubicBezTo>
                    <a:pt x="49956" y="25424"/>
                    <a:pt x="50056" y="25417"/>
                    <a:pt x="50155" y="25408"/>
                  </a:cubicBezTo>
                  <a:cubicBezTo>
                    <a:pt x="50216" y="25403"/>
                    <a:pt x="50276" y="25397"/>
                    <a:pt x="50335" y="25392"/>
                  </a:cubicBezTo>
                  <a:cubicBezTo>
                    <a:pt x="50402" y="25385"/>
                    <a:pt x="50470" y="25377"/>
                    <a:pt x="50537" y="25370"/>
                  </a:cubicBezTo>
                  <a:cubicBezTo>
                    <a:pt x="50803" y="25338"/>
                    <a:pt x="51055" y="25289"/>
                    <a:pt x="51257" y="25177"/>
                  </a:cubicBezTo>
                  <a:cubicBezTo>
                    <a:pt x="51359" y="25121"/>
                    <a:pt x="51451" y="25037"/>
                    <a:pt x="51516" y="24937"/>
                  </a:cubicBezTo>
                  <a:cubicBezTo>
                    <a:pt x="51581" y="24838"/>
                    <a:pt x="51618" y="24728"/>
                    <a:pt x="51641" y="24616"/>
                  </a:cubicBezTo>
                  <a:cubicBezTo>
                    <a:pt x="51688" y="24393"/>
                    <a:pt x="51664" y="24142"/>
                    <a:pt x="51664" y="2390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39">
              <a:extLst>
                <a:ext uri="{FF2B5EF4-FFF2-40B4-BE49-F238E27FC236}">
                  <a16:creationId xmlns:a16="http://schemas.microsoft.com/office/drawing/2014/main" id="{6704FC6F-AF20-403B-9501-C202E1FB0E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4412137" y="19151600"/>
              <a:ext cx="192400238" cy="96275525"/>
            </a:xfrm>
            <a:custGeom>
              <a:avLst/>
              <a:gdLst>
                <a:gd name="T0" fmla="*/ 51227 w 51304"/>
                <a:gd name="T1" fmla="*/ 21984 h 25671"/>
                <a:gd name="T2" fmla="*/ 50896 w 51304"/>
                <a:gd name="T3" fmla="*/ 22934 h 25671"/>
                <a:gd name="T4" fmla="*/ 50845 w 51304"/>
                <a:gd name="T5" fmla="*/ 23767 h 25671"/>
                <a:gd name="T6" fmla="*/ 50418 w 51304"/>
                <a:gd name="T7" fmla="*/ 24434 h 25671"/>
                <a:gd name="T8" fmla="*/ 48957 w 51304"/>
                <a:gd name="T9" fmla="*/ 24450 h 25671"/>
                <a:gd name="T10" fmla="*/ 47352 w 51304"/>
                <a:gd name="T11" fmla="*/ 24093 h 25671"/>
                <a:gd name="T12" fmla="*/ 45066 w 51304"/>
                <a:gd name="T13" fmla="*/ 20519 h 25671"/>
                <a:gd name="T14" fmla="*/ 45007 w 51304"/>
                <a:gd name="T15" fmla="*/ 16059 h 25671"/>
                <a:gd name="T16" fmla="*/ 41247 w 51304"/>
                <a:gd name="T17" fmla="*/ 13062 h 25671"/>
                <a:gd name="T18" fmla="*/ 32977 w 51304"/>
                <a:gd name="T19" fmla="*/ 17784 h 25671"/>
                <a:gd name="T20" fmla="*/ 28720 w 51304"/>
                <a:gd name="T21" fmla="*/ 21371 h 25671"/>
                <a:gd name="T22" fmla="*/ 23145 w 51304"/>
                <a:gd name="T23" fmla="*/ 21262 h 25671"/>
                <a:gd name="T24" fmla="*/ 18779 w 51304"/>
                <a:gd name="T25" fmla="*/ 17460 h 25671"/>
                <a:gd name="T26" fmla="*/ 12183 w 51304"/>
                <a:gd name="T27" fmla="*/ 12999 h 25671"/>
                <a:gd name="T28" fmla="*/ 8276 w 51304"/>
                <a:gd name="T29" fmla="*/ 13641 h 25671"/>
                <a:gd name="T30" fmla="*/ 6547 w 51304"/>
                <a:gd name="T31" fmla="*/ 17003 h 25671"/>
                <a:gd name="T32" fmla="*/ 6558 w 51304"/>
                <a:gd name="T33" fmla="*/ 23790 h 25671"/>
                <a:gd name="T34" fmla="*/ 6182 w 51304"/>
                <a:gd name="T35" fmla="*/ 23963 h 25671"/>
                <a:gd name="T36" fmla="*/ 4939 w 51304"/>
                <a:gd name="T37" fmla="*/ 23978 h 25671"/>
                <a:gd name="T38" fmla="*/ 1686 w 51304"/>
                <a:gd name="T39" fmla="*/ 21486 h 25671"/>
                <a:gd name="T40" fmla="*/ 1670 w 51304"/>
                <a:gd name="T41" fmla="*/ 18403 h 25671"/>
                <a:gd name="T42" fmla="*/ 5462 w 51304"/>
                <a:gd name="T43" fmla="*/ 1545 h 25671"/>
                <a:gd name="T44" fmla="*/ 6853 w 51304"/>
                <a:gd name="T45" fmla="*/ 1621 h 25671"/>
                <a:gd name="T46" fmla="*/ 10321 w 51304"/>
                <a:gd name="T47" fmla="*/ 3594 h 25671"/>
                <a:gd name="T48" fmla="*/ 15079 w 51304"/>
                <a:gd name="T49" fmla="*/ 8001 h 25671"/>
                <a:gd name="T50" fmla="*/ 22415 w 51304"/>
                <a:gd name="T51" fmla="*/ 12022 h 25671"/>
                <a:gd name="T52" fmla="*/ 35193 w 51304"/>
                <a:gd name="T53" fmla="*/ 9144 h 25671"/>
                <a:gd name="T54" fmla="*/ 38644 w 51304"/>
                <a:gd name="T55" fmla="*/ 5676 h 25671"/>
                <a:gd name="T56" fmla="*/ 38608 w 51304"/>
                <a:gd name="T57" fmla="*/ 5316 h 25671"/>
                <a:gd name="T58" fmla="*/ 35007 w 51304"/>
                <a:gd name="T59" fmla="*/ 8337 h 25671"/>
                <a:gd name="T60" fmla="*/ 19876 w 51304"/>
                <a:gd name="T61" fmla="*/ 9816 h 25671"/>
                <a:gd name="T62" fmla="*/ 10700 w 51304"/>
                <a:gd name="T63" fmla="*/ 1961 h 25671"/>
                <a:gd name="T64" fmla="*/ 1246 w 51304"/>
                <a:gd name="T65" fmla="*/ 0 h 25671"/>
                <a:gd name="T66" fmla="*/ 1 w 51304"/>
                <a:gd name="T67" fmla="*/ 20794 h 25671"/>
                <a:gd name="T68" fmla="*/ 2175 w 51304"/>
                <a:gd name="T69" fmla="*/ 24786 h 25671"/>
                <a:gd name="T70" fmla="*/ 5478 w 51304"/>
                <a:gd name="T71" fmla="*/ 25671 h 25671"/>
                <a:gd name="T72" fmla="*/ 6619 w 51304"/>
                <a:gd name="T73" fmla="*/ 25631 h 25671"/>
                <a:gd name="T74" fmla="*/ 8202 w 51304"/>
                <a:gd name="T75" fmla="*/ 24575 h 25671"/>
                <a:gd name="T76" fmla="*/ 8252 w 51304"/>
                <a:gd name="T77" fmla="*/ 23446 h 25671"/>
                <a:gd name="T78" fmla="*/ 8253 w 51304"/>
                <a:gd name="T79" fmla="*/ 17036 h 25671"/>
                <a:gd name="T80" fmla="*/ 9588 w 51304"/>
                <a:gd name="T81" fmla="*/ 14825 h 25671"/>
                <a:gd name="T82" fmla="*/ 11057 w 51304"/>
                <a:gd name="T83" fmla="*/ 14549 h 25671"/>
                <a:gd name="T84" fmla="*/ 17864 w 51304"/>
                <a:gd name="T85" fmla="*/ 18877 h 25671"/>
                <a:gd name="T86" fmla="*/ 24961 w 51304"/>
                <a:gd name="T87" fmla="*/ 23846 h 25671"/>
                <a:gd name="T88" fmla="*/ 31626 w 51304"/>
                <a:gd name="T89" fmla="*/ 20994 h 25671"/>
                <a:gd name="T90" fmla="*/ 36096 w 51304"/>
                <a:gd name="T91" fmla="*/ 16843 h 25671"/>
                <a:gd name="T92" fmla="*/ 41234 w 51304"/>
                <a:gd name="T93" fmla="*/ 14288 h 25671"/>
                <a:gd name="T94" fmla="*/ 43955 w 51304"/>
                <a:gd name="T95" fmla="*/ 16317 h 25671"/>
                <a:gd name="T96" fmla="*/ 44179 w 51304"/>
                <a:gd name="T97" fmla="*/ 21228 h 25671"/>
                <a:gd name="T98" fmla="*/ 44984 w 51304"/>
                <a:gd name="T99" fmla="*/ 23266 h 25671"/>
                <a:gd name="T100" fmla="*/ 49556 w 51304"/>
                <a:gd name="T101" fmla="*/ 25025 h 25671"/>
                <a:gd name="T102" fmla="*/ 50989 w 51304"/>
                <a:gd name="T103" fmla="*/ 24822 h 25671"/>
                <a:gd name="T104" fmla="*/ 51278 w 51304"/>
                <a:gd name="T105" fmla="*/ 23556 h 25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304" h="25671">
                  <a:moveTo>
                    <a:pt x="51278" y="23556"/>
                  </a:moveTo>
                  <a:cubicBezTo>
                    <a:pt x="51276" y="23471"/>
                    <a:pt x="51273" y="23386"/>
                    <a:pt x="51271" y="23303"/>
                  </a:cubicBezTo>
                  <a:cubicBezTo>
                    <a:pt x="51266" y="23139"/>
                    <a:pt x="51261" y="22979"/>
                    <a:pt x="51256" y="22826"/>
                  </a:cubicBezTo>
                  <a:cubicBezTo>
                    <a:pt x="51246" y="22523"/>
                    <a:pt x="51236" y="22240"/>
                    <a:pt x="51227" y="21984"/>
                  </a:cubicBezTo>
                  <a:cubicBezTo>
                    <a:pt x="51186" y="20902"/>
                    <a:pt x="51143" y="20417"/>
                    <a:pt x="51103" y="20693"/>
                  </a:cubicBezTo>
                  <a:cubicBezTo>
                    <a:pt x="51083" y="20839"/>
                    <a:pt x="51061" y="20754"/>
                    <a:pt x="51042" y="20886"/>
                  </a:cubicBezTo>
                  <a:cubicBezTo>
                    <a:pt x="51006" y="21032"/>
                    <a:pt x="50975" y="21493"/>
                    <a:pt x="50943" y="22050"/>
                  </a:cubicBezTo>
                  <a:cubicBezTo>
                    <a:pt x="50928" y="22335"/>
                    <a:pt x="50912" y="22634"/>
                    <a:pt x="50896" y="22934"/>
                  </a:cubicBezTo>
                  <a:cubicBezTo>
                    <a:pt x="50887" y="23083"/>
                    <a:pt x="50879" y="23231"/>
                    <a:pt x="50870" y="23379"/>
                  </a:cubicBezTo>
                  <a:cubicBezTo>
                    <a:pt x="50867" y="23449"/>
                    <a:pt x="50862" y="23522"/>
                    <a:pt x="50858" y="23592"/>
                  </a:cubicBezTo>
                  <a:cubicBezTo>
                    <a:pt x="50856" y="23624"/>
                    <a:pt x="50854" y="23659"/>
                    <a:pt x="50851" y="23691"/>
                  </a:cubicBezTo>
                  <a:cubicBezTo>
                    <a:pt x="50850" y="23716"/>
                    <a:pt x="50847" y="23742"/>
                    <a:pt x="50845" y="23767"/>
                  </a:cubicBezTo>
                  <a:cubicBezTo>
                    <a:pt x="50841" y="23826"/>
                    <a:pt x="50840" y="23882"/>
                    <a:pt x="50836" y="23938"/>
                  </a:cubicBezTo>
                  <a:cubicBezTo>
                    <a:pt x="50830" y="24063"/>
                    <a:pt x="50832" y="24192"/>
                    <a:pt x="50759" y="24297"/>
                  </a:cubicBezTo>
                  <a:cubicBezTo>
                    <a:pt x="50722" y="24347"/>
                    <a:pt x="50670" y="24387"/>
                    <a:pt x="50607" y="24403"/>
                  </a:cubicBezTo>
                  <a:cubicBezTo>
                    <a:pt x="50546" y="24420"/>
                    <a:pt x="50481" y="24427"/>
                    <a:pt x="50418" y="24434"/>
                  </a:cubicBezTo>
                  <a:cubicBezTo>
                    <a:pt x="50353" y="24439"/>
                    <a:pt x="50288" y="24443"/>
                    <a:pt x="50223" y="24445"/>
                  </a:cubicBezTo>
                  <a:cubicBezTo>
                    <a:pt x="50155" y="24448"/>
                    <a:pt x="50086" y="24450"/>
                    <a:pt x="50016" y="24450"/>
                  </a:cubicBezTo>
                  <a:cubicBezTo>
                    <a:pt x="49830" y="24456"/>
                    <a:pt x="49637" y="24457"/>
                    <a:pt x="49433" y="24456"/>
                  </a:cubicBezTo>
                  <a:cubicBezTo>
                    <a:pt x="49287" y="24454"/>
                    <a:pt x="49116" y="24450"/>
                    <a:pt x="48957" y="24450"/>
                  </a:cubicBezTo>
                  <a:cubicBezTo>
                    <a:pt x="48885" y="24448"/>
                    <a:pt x="48822" y="24447"/>
                    <a:pt x="48757" y="24441"/>
                  </a:cubicBezTo>
                  <a:cubicBezTo>
                    <a:pt x="48692" y="24438"/>
                    <a:pt x="48627" y="24432"/>
                    <a:pt x="48561" y="24425"/>
                  </a:cubicBezTo>
                  <a:cubicBezTo>
                    <a:pt x="48429" y="24410"/>
                    <a:pt x="48296" y="24385"/>
                    <a:pt x="48162" y="24356"/>
                  </a:cubicBezTo>
                  <a:cubicBezTo>
                    <a:pt x="47893" y="24297"/>
                    <a:pt x="47621" y="24209"/>
                    <a:pt x="47352" y="24093"/>
                  </a:cubicBezTo>
                  <a:cubicBezTo>
                    <a:pt x="46815" y="23861"/>
                    <a:pt x="46284" y="23520"/>
                    <a:pt x="45848" y="23064"/>
                  </a:cubicBezTo>
                  <a:cubicBezTo>
                    <a:pt x="45541" y="22743"/>
                    <a:pt x="45289" y="22362"/>
                    <a:pt x="45156" y="21951"/>
                  </a:cubicBezTo>
                  <a:cubicBezTo>
                    <a:pt x="45090" y="21746"/>
                    <a:pt x="45055" y="21533"/>
                    <a:pt x="45055" y="21318"/>
                  </a:cubicBezTo>
                  <a:cubicBezTo>
                    <a:pt x="45058" y="21055"/>
                    <a:pt x="45063" y="20790"/>
                    <a:pt x="45066" y="20519"/>
                  </a:cubicBezTo>
                  <a:cubicBezTo>
                    <a:pt x="45083" y="19430"/>
                    <a:pt x="45101" y="18293"/>
                    <a:pt x="45119" y="17110"/>
                  </a:cubicBezTo>
                  <a:cubicBezTo>
                    <a:pt x="45120" y="17041"/>
                    <a:pt x="45122" y="16942"/>
                    <a:pt x="45119" y="16856"/>
                  </a:cubicBezTo>
                  <a:cubicBezTo>
                    <a:pt x="45115" y="16767"/>
                    <a:pt x="45109" y="16679"/>
                    <a:pt x="45100" y="16591"/>
                  </a:cubicBezTo>
                  <a:cubicBezTo>
                    <a:pt x="45081" y="16412"/>
                    <a:pt x="45050" y="16235"/>
                    <a:pt x="45007" y="16059"/>
                  </a:cubicBezTo>
                  <a:cubicBezTo>
                    <a:pt x="44918" y="15707"/>
                    <a:pt x="44781" y="15363"/>
                    <a:pt x="44596" y="15042"/>
                  </a:cubicBezTo>
                  <a:cubicBezTo>
                    <a:pt x="44226" y="14398"/>
                    <a:pt x="43662" y="13843"/>
                    <a:pt x="42966" y="13487"/>
                  </a:cubicBezTo>
                  <a:cubicBezTo>
                    <a:pt x="42619" y="13309"/>
                    <a:pt x="42239" y="13181"/>
                    <a:pt x="41846" y="13114"/>
                  </a:cubicBezTo>
                  <a:cubicBezTo>
                    <a:pt x="41648" y="13082"/>
                    <a:pt x="41447" y="13064"/>
                    <a:pt x="41247" y="13062"/>
                  </a:cubicBezTo>
                  <a:cubicBezTo>
                    <a:pt x="41060" y="13060"/>
                    <a:pt x="40872" y="13066"/>
                    <a:pt x="40685" y="13080"/>
                  </a:cubicBezTo>
                  <a:cubicBezTo>
                    <a:pt x="39934" y="13134"/>
                    <a:pt x="39188" y="13327"/>
                    <a:pt x="38493" y="13619"/>
                  </a:cubicBezTo>
                  <a:cubicBezTo>
                    <a:pt x="37442" y="14059"/>
                    <a:pt x="36487" y="14717"/>
                    <a:pt x="35592" y="15451"/>
                  </a:cubicBezTo>
                  <a:cubicBezTo>
                    <a:pt x="34695" y="16183"/>
                    <a:pt x="33852" y="17005"/>
                    <a:pt x="32977" y="17784"/>
                  </a:cubicBezTo>
                  <a:cubicBezTo>
                    <a:pt x="32751" y="17981"/>
                    <a:pt x="32524" y="18181"/>
                    <a:pt x="32295" y="18381"/>
                  </a:cubicBezTo>
                  <a:cubicBezTo>
                    <a:pt x="32066" y="18585"/>
                    <a:pt x="31835" y="18790"/>
                    <a:pt x="31603" y="18998"/>
                  </a:cubicBezTo>
                  <a:cubicBezTo>
                    <a:pt x="31141" y="19411"/>
                    <a:pt x="30676" y="19827"/>
                    <a:pt x="30198" y="20233"/>
                  </a:cubicBezTo>
                  <a:cubicBezTo>
                    <a:pt x="29720" y="20637"/>
                    <a:pt x="29232" y="21028"/>
                    <a:pt x="28720" y="21371"/>
                  </a:cubicBezTo>
                  <a:cubicBezTo>
                    <a:pt x="28209" y="21713"/>
                    <a:pt x="27674" y="22005"/>
                    <a:pt x="27122" y="22182"/>
                  </a:cubicBezTo>
                  <a:cubicBezTo>
                    <a:pt x="26680" y="22321"/>
                    <a:pt x="26231" y="22382"/>
                    <a:pt x="25783" y="22355"/>
                  </a:cubicBezTo>
                  <a:cubicBezTo>
                    <a:pt x="25335" y="22326"/>
                    <a:pt x="24888" y="22207"/>
                    <a:pt x="24446" y="22016"/>
                  </a:cubicBezTo>
                  <a:cubicBezTo>
                    <a:pt x="24005" y="21823"/>
                    <a:pt x="23570" y="21562"/>
                    <a:pt x="23145" y="21262"/>
                  </a:cubicBezTo>
                  <a:cubicBezTo>
                    <a:pt x="22720" y="20961"/>
                    <a:pt x="22303" y="20622"/>
                    <a:pt x="21890" y="20269"/>
                  </a:cubicBezTo>
                  <a:cubicBezTo>
                    <a:pt x="21064" y="19557"/>
                    <a:pt x="20248" y="18779"/>
                    <a:pt x="19395" y="18019"/>
                  </a:cubicBezTo>
                  <a:cubicBezTo>
                    <a:pt x="19083" y="17739"/>
                    <a:pt x="19083" y="17739"/>
                    <a:pt x="19083" y="17739"/>
                  </a:cubicBezTo>
                  <a:cubicBezTo>
                    <a:pt x="18779" y="17460"/>
                    <a:pt x="18779" y="17460"/>
                    <a:pt x="18779" y="17460"/>
                  </a:cubicBezTo>
                  <a:cubicBezTo>
                    <a:pt x="18167" y="16886"/>
                    <a:pt x="18167" y="16886"/>
                    <a:pt x="18167" y="16886"/>
                  </a:cubicBezTo>
                  <a:cubicBezTo>
                    <a:pt x="17756" y="16499"/>
                    <a:pt x="17338" y="16104"/>
                    <a:pt x="16902" y="15718"/>
                  </a:cubicBezTo>
                  <a:cubicBezTo>
                    <a:pt x="16029" y="14950"/>
                    <a:pt x="15078" y="14200"/>
                    <a:pt x="13963" y="13641"/>
                  </a:cubicBezTo>
                  <a:cubicBezTo>
                    <a:pt x="13406" y="13363"/>
                    <a:pt x="12809" y="13138"/>
                    <a:pt x="12183" y="12999"/>
                  </a:cubicBezTo>
                  <a:cubicBezTo>
                    <a:pt x="11870" y="12930"/>
                    <a:pt x="11551" y="12882"/>
                    <a:pt x="11231" y="12858"/>
                  </a:cubicBezTo>
                  <a:cubicBezTo>
                    <a:pt x="11070" y="12846"/>
                    <a:pt x="10909" y="12838"/>
                    <a:pt x="10748" y="12837"/>
                  </a:cubicBezTo>
                  <a:cubicBezTo>
                    <a:pt x="10578" y="12835"/>
                    <a:pt x="10396" y="12846"/>
                    <a:pt x="10221" y="12867"/>
                  </a:cubicBezTo>
                  <a:cubicBezTo>
                    <a:pt x="9515" y="12950"/>
                    <a:pt x="8839" y="13226"/>
                    <a:pt x="8276" y="13641"/>
                  </a:cubicBezTo>
                  <a:cubicBezTo>
                    <a:pt x="7712" y="14055"/>
                    <a:pt x="7256" y="14607"/>
                    <a:pt x="6956" y="15236"/>
                  </a:cubicBezTo>
                  <a:cubicBezTo>
                    <a:pt x="6806" y="15550"/>
                    <a:pt x="6695" y="15884"/>
                    <a:pt x="6628" y="16226"/>
                  </a:cubicBezTo>
                  <a:cubicBezTo>
                    <a:pt x="6594" y="16398"/>
                    <a:pt x="6570" y="16569"/>
                    <a:pt x="6558" y="16744"/>
                  </a:cubicBezTo>
                  <a:cubicBezTo>
                    <a:pt x="6552" y="16829"/>
                    <a:pt x="6548" y="16917"/>
                    <a:pt x="6547" y="17003"/>
                  </a:cubicBezTo>
                  <a:cubicBezTo>
                    <a:pt x="6547" y="17220"/>
                    <a:pt x="6547" y="17220"/>
                    <a:pt x="6547" y="17220"/>
                  </a:cubicBezTo>
                  <a:cubicBezTo>
                    <a:pt x="6548" y="17773"/>
                    <a:pt x="6549" y="18325"/>
                    <a:pt x="6549" y="18875"/>
                  </a:cubicBezTo>
                  <a:cubicBezTo>
                    <a:pt x="6552" y="20269"/>
                    <a:pt x="6554" y="21668"/>
                    <a:pt x="6556" y="23069"/>
                  </a:cubicBezTo>
                  <a:cubicBezTo>
                    <a:pt x="6556" y="23311"/>
                    <a:pt x="6557" y="23549"/>
                    <a:pt x="6558" y="23790"/>
                  </a:cubicBezTo>
                  <a:cubicBezTo>
                    <a:pt x="6558" y="23832"/>
                    <a:pt x="6555" y="23880"/>
                    <a:pt x="6521" y="23911"/>
                  </a:cubicBezTo>
                  <a:cubicBezTo>
                    <a:pt x="6487" y="23940"/>
                    <a:pt x="6440" y="23942"/>
                    <a:pt x="6397" y="23949"/>
                  </a:cubicBezTo>
                  <a:cubicBezTo>
                    <a:pt x="6333" y="23954"/>
                    <a:pt x="6333" y="23954"/>
                    <a:pt x="6333" y="23954"/>
                  </a:cubicBezTo>
                  <a:cubicBezTo>
                    <a:pt x="6182" y="23963"/>
                    <a:pt x="6182" y="23963"/>
                    <a:pt x="6182" y="23963"/>
                  </a:cubicBezTo>
                  <a:cubicBezTo>
                    <a:pt x="6018" y="23971"/>
                    <a:pt x="5850" y="23976"/>
                    <a:pt x="5681" y="23978"/>
                  </a:cubicBezTo>
                  <a:cubicBezTo>
                    <a:pt x="5166" y="23981"/>
                    <a:pt x="5166" y="23981"/>
                    <a:pt x="5166" y="23981"/>
                  </a:cubicBezTo>
                  <a:cubicBezTo>
                    <a:pt x="5042" y="23981"/>
                    <a:pt x="5042" y="23981"/>
                    <a:pt x="5042" y="23981"/>
                  </a:cubicBezTo>
                  <a:cubicBezTo>
                    <a:pt x="5007" y="23981"/>
                    <a:pt x="4973" y="23980"/>
                    <a:pt x="4939" y="23978"/>
                  </a:cubicBezTo>
                  <a:cubicBezTo>
                    <a:pt x="4870" y="23974"/>
                    <a:pt x="4801" y="23971"/>
                    <a:pt x="4731" y="23962"/>
                  </a:cubicBezTo>
                  <a:cubicBezTo>
                    <a:pt x="4173" y="23900"/>
                    <a:pt x="3599" y="23689"/>
                    <a:pt x="3100" y="23379"/>
                  </a:cubicBezTo>
                  <a:cubicBezTo>
                    <a:pt x="2601" y="23071"/>
                    <a:pt x="2172" y="22654"/>
                    <a:pt x="1921" y="22193"/>
                  </a:cubicBezTo>
                  <a:cubicBezTo>
                    <a:pt x="1796" y="21962"/>
                    <a:pt x="1715" y="21724"/>
                    <a:pt x="1686" y="21486"/>
                  </a:cubicBezTo>
                  <a:cubicBezTo>
                    <a:pt x="1678" y="21426"/>
                    <a:pt x="1673" y="21367"/>
                    <a:pt x="1673" y="21307"/>
                  </a:cubicBezTo>
                  <a:cubicBezTo>
                    <a:pt x="1672" y="21057"/>
                    <a:pt x="1672" y="21057"/>
                    <a:pt x="1672" y="21057"/>
                  </a:cubicBezTo>
                  <a:cubicBezTo>
                    <a:pt x="1672" y="20527"/>
                    <a:pt x="1672" y="20527"/>
                    <a:pt x="1672" y="20527"/>
                  </a:cubicBezTo>
                  <a:cubicBezTo>
                    <a:pt x="1671" y="19818"/>
                    <a:pt x="1671" y="19111"/>
                    <a:pt x="1670" y="18403"/>
                  </a:cubicBezTo>
                  <a:cubicBezTo>
                    <a:pt x="1665" y="12851"/>
                    <a:pt x="1656" y="2017"/>
                    <a:pt x="1656" y="1785"/>
                  </a:cubicBezTo>
                  <a:cubicBezTo>
                    <a:pt x="1656" y="1552"/>
                    <a:pt x="1756" y="1551"/>
                    <a:pt x="1888" y="1551"/>
                  </a:cubicBezTo>
                  <a:cubicBezTo>
                    <a:pt x="2019" y="1551"/>
                    <a:pt x="3257" y="1549"/>
                    <a:pt x="3939" y="1548"/>
                  </a:cubicBezTo>
                  <a:cubicBezTo>
                    <a:pt x="4446" y="1547"/>
                    <a:pt x="4954" y="1546"/>
                    <a:pt x="5462" y="1545"/>
                  </a:cubicBezTo>
                  <a:cubicBezTo>
                    <a:pt x="5842" y="1544"/>
                    <a:pt x="5842" y="1544"/>
                    <a:pt x="5842" y="1544"/>
                  </a:cubicBezTo>
                  <a:cubicBezTo>
                    <a:pt x="6032" y="1544"/>
                    <a:pt x="6032" y="1544"/>
                    <a:pt x="6032" y="1544"/>
                  </a:cubicBezTo>
                  <a:cubicBezTo>
                    <a:pt x="6191" y="1549"/>
                    <a:pt x="6191" y="1549"/>
                    <a:pt x="6191" y="1549"/>
                  </a:cubicBezTo>
                  <a:cubicBezTo>
                    <a:pt x="6413" y="1559"/>
                    <a:pt x="6634" y="1584"/>
                    <a:pt x="6853" y="1621"/>
                  </a:cubicBezTo>
                  <a:cubicBezTo>
                    <a:pt x="7727" y="1767"/>
                    <a:pt x="8561" y="2128"/>
                    <a:pt x="9264" y="2656"/>
                  </a:cubicBezTo>
                  <a:cubicBezTo>
                    <a:pt x="9353" y="2721"/>
                    <a:pt x="9439" y="2790"/>
                    <a:pt x="9523" y="2861"/>
                  </a:cubicBezTo>
                  <a:cubicBezTo>
                    <a:pt x="9610" y="2934"/>
                    <a:pt x="9677" y="2994"/>
                    <a:pt x="9774" y="3086"/>
                  </a:cubicBezTo>
                  <a:cubicBezTo>
                    <a:pt x="9957" y="3255"/>
                    <a:pt x="10139" y="3425"/>
                    <a:pt x="10321" y="3594"/>
                  </a:cubicBezTo>
                  <a:cubicBezTo>
                    <a:pt x="10685" y="3931"/>
                    <a:pt x="11047" y="4267"/>
                    <a:pt x="11407" y="4602"/>
                  </a:cubicBezTo>
                  <a:cubicBezTo>
                    <a:pt x="12126" y="5268"/>
                    <a:pt x="12837" y="5926"/>
                    <a:pt x="13534" y="6573"/>
                  </a:cubicBezTo>
                  <a:cubicBezTo>
                    <a:pt x="13882" y="6895"/>
                    <a:pt x="14227" y="7215"/>
                    <a:pt x="14570" y="7531"/>
                  </a:cubicBezTo>
                  <a:cubicBezTo>
                    <a:pt x="14740" y="7689"/>
                    <a:pt x="14910" y="7846"/>
                    <a:pt x="15079" y="8001"/>
                  </a:cubicBezTo>
                  <a:cubicBezTo>
                    <a:pt x="15158" y="8075"/>
                    <a:pt x="15237" y="8148"/>
                    <a:pt x="15316" y="8221"/>
                  </a:cubicBezTo>
                  <a:cubicBezTo>
                    <a:pt x="15402" y="8304"/>
                    <a:pt x="15489" y="8387"/>
                    <a:pt x="15577" y="8470"/>
                  </a:cubicBezTo>
                  <a:cubicBezTo>
                    <a:pt x="16277" y="9122"/>
                    <a:pt x="17026" y="9687"/>
                    <a:pt x="17793" y="10161"/>
                  </a:cubicBezTo>
                  <a:cubicBezTo>
                    <a:pt x="19329" y="11113"/>
                    <a:pt x="20932" y="11699"/>
                    <a:pt x="22415" y="12022"/>
                  </a:cubicBezTo>
                  <a:cubicBezTo>
                    <a:pt x="23690" y="12299"/>
                    <a:pt x="24941" y="12404"/>
                    <a:pt x="26148" y="12379"/>
                  </a:cubicBezTo>
                  <a:cubicBezTo>
                    <a:pt x="27356" y="12352"/>
                    <a:pt x="28527" y="12195"/>
                    <a:pt x="29650" y="11913"/>
                  </a:cubicBezTo>
                  <a:cubicBezTo>
                    <a:pt x="30847" y="11614"/>
                    <a:pt x="31924" y="11185"/>
                    <a:pt x="32850" y="10698"/>
                  </a:cubicBezTo>
                  <a:cubicBezTo>
                    <a:pt x="33779" y="10211"/>
                    <a:pt x="34558" y="9669"/>
                    <a:pt x="35193" y="9144"/>
                  </a:cubicBezTo>
                  <a:cubicBezTo>
                    <a:pt x="35510" y="8882"/>
                    <a:pt x="35791" y="8626"/>
                    <a:pt x="36040" y="8381"/>
                  </a:cubicBezTo>
                  <a:cubicBezTo>
                    <a:pt x="36276" y="8145"/>
                    <a:pt x="36493" y="7927"/>
                    <a:pt x="36689" y="7728"/>
                  </a:cubicBezTo>
                  <a:cubicBezTo>
                    <a:pt x="37071" y="7341"/>
                    <a:pt x="37356" y="7044"/>
                    <a:pt x="37531" y="6852"/>
                  </a:cubicBezTo>
                  <a:cubicBezTo>
                    <a:pt x="38004" y="6364"/>
                    <a:pt x="38370" y="5976"/>
                    <a:pt x="38644" y="5676"/>
                  </a:cubicBezTo>
                  <a:cubicBezTo>
                    <a:pt x="38679" y="5636"/>
                    <a:pt x="38713" y="5598"/>
                    <a:pt x="38746" y="5561"/>
                  </a:cubicBezTo>
                  <a:cubicBezTo>
                    <a:pt x="38977" y="5305"/>
                    <a:pt x="39127" y="5124"/>
                    <a:pt x="39197" y="5020"/>
                  </a:cubicBezTo>
                  <a:cubicBezTo>
                    <a:pt x="39268" y="4915"/>
                    <a:pt x="39277" y="4867"/>
                    <a:pt x="39161" y="4935"/>
                  </a:cubicBezTo>
                  <a:cubicBezTo>
                    <a:pt x="39027" y="5015"/>
                    <a:pt x="38866" y="5119"/>
                    <a:pt x="38608" y="5316"/>
                  </a:cubicBezTo>
                  <a:cubicBezTo>
                    <a:pt x="38279" y="5567"/>
                    <a:pt x="37834" y="5929"/>
                    <a:pt x="37244" y="6429"/>
                  </a:cubicBezTo>
                  <a:cubicBezTo>
                    <a:pt x="36951" y="6679"/>
                    <a:pt x="36619" y="6963"/>
                    <a:pt x="36249" y="7286"/>
                  </a:cubicBezTo>
                  <a:cubicBezTo>
                    <a:pt x="36062" y="7448"/>
                    <a:pt x="35866" y="7619"/>
                    <a:pt x="35661" y="7797"/>
                  </a:cubicBezTo>
                  <a:cubicBezTo>
                    <a:pt x="35459" y="7975"/>
                    <a:pt x="35241" y="8155"/>
                    <a:pt x="35007" y="8337"/>
                  </a:cubicBezTo>
                  <a:cubicBezTo>
                    <a:pt x="34067" y="9063"/>
                    <a:pt x="32846" y="9823"/>
                    <a:pt x="31255" y="10402"/>
                  </a:cubicBezTo>
                  <a:cubicBezTo>
                    <a:pt x="29669" y="10978"/>
                    <a:pt x="27703" y="11362"/>
                    <a:pt x="25427" y="11242"/>
                  </a:cubicBezTo>
                  <a:cubicBezTo>
                    <a:pt x="25081" y="11207"/>
                    <a:pt x="24334" y="11158"/>
                    <a:pt x="23346" y="10965"/>
                  </a:cubicBezTo>
                  <a:cubicBezTo>
                    <a:pt x="22359" y="10774"/>
                    <a:pt x="21130" y="10426"/>
                    <a:pt x="19876" y="9816"/>
                  </a:cubicBezTo>
                  <a:cubicBezTo>
                    <a:pt x="19250" y="9514"/>
                    <a:pt x="18620" y="9147"/>
                    <a:pt x="18014" y="8720"/>
                  </a:cubicBezTo>
                  <a:cubicBezTo>
                    <a:pt x="17408" y="8294"/>
                    <a:pt x="16826" y="7807"/>
                    <a:pt x="16294" y="7273"/>
                  </a:cubicBezTo>
                  <a:cubicBezTo>
                    <a:pt x="15142" y="6181"/>
                    <a:pt x="13996" y="5093"/>
                    <a:pt x="12954" y="4106"/>
                  </a:cubicBezTo>
                  <a:cubicBezTo>
                    <a:pt x="12195" y="3383"/>
                    <a:pt x="11444" y="2669"/>
                    <a:pt x="10700" y="1961"/>
                  </a:cubicBezTo>
                  <a:cubicBezTo>
                    <a:pt x="9873" y="1181"/>
                    <a:pt x="8868" y="610"/>
                    <a:pt x="7785" y="303"/>
                  </a:cubicBezTo>
                  <a:cubicBezTo>
                    <a:pt x="7243" y="149"/>
                    <a:pt x="6687" y="61"/>
                    <a:pt x="6124" y="39"/>
                  </a:cubicBezTo>
                  <a:cubicBezTo>
                    <a:pt x="5614" y="35"/>
                    <a:pt x="5104" y="30"/>
                    <a:pt x="4593" y="25"/>
                  </a:cubicBezTo>
                  <a:cubicBezTo>
                    <a:pt x="3479" y="18"/>
                    <a:pt x="2118" y="0"/>
                    <a:pt x="1246" y="0"/>
                  </a:cubicBezTo>
                  <a:cubicBezTo>
                    <a:pt x="374" y="0"/>
                    <a:pt x="97" y="503"/>
                    <a:pt x="97" y="1138"/>
                  </a:cubicBezTo>
                  <a:cubicBezTo>
                    <a:pt x="97" y="1773"/>
                    <a:pt x="76" y="4185"/>
                    <a:pt x="67" y="5741"/>
                  </a:cubicBezTo>
                  <a:cubicBezTo>
                    <a:pt x="54" y="8177"/>
                    <a:pt x="41" y="10618"/>
                    <a:pt x="27" y="13148"/>
                  </a:cubicBezTo>
                  <a:cubicBezTo>
                    <a:pt x="19" y="15633"/>
                    <a:pt x="10" y="18190"/>
                    <a:pt x="1" y="20794"/>
                  </a:cubicBezTo>
                  <a:cubicBezTo>
                    <a:pt x="1" y="20958"/>
                    <a:pt x="1" y="21120"/>
                    <a:pt x="0" y="21286"/>
                  </a:cubicBezTo>
                  <a:cubicBezTo>
                    <a:pt x="1" y="21502"/>
                    <a:pt x="21" y="21720"/>
                    <a:pt x="64" y="21931"/>
                  </a:cubicBezTo>
                  <a:cubicBezTo>
                    <a:pt x="145" y="22357"/>
                    <a:pt x="307" y="22755"/>
                    <a:pt x="515" y="23110"/>
                  </a:cubicBezTo>
                  <a:cubicBezTo>
                    <a:pt x="936" y="23823"/>
                    <a:pt x="1524" y="24369"/>
                    <a:pt x="2175" y="24786"/>
                  </a:cubicBezTo>
                  <a:cubicBezTo>
                    <a:pt x="2830" y="25198"/>
                    <a:pt x="3559" y="25489"/>
                    <a:pt x="4348" y="25613"/>
                  </a:cubicBezTo>
                  <a:cubicBezTo>
                    <a:pt x="4545" y="25644"/>
                    <a:pt x="4746" y="25662"/>
                    <a:pt x="4951" y="25669"/>
                  </a:cubicBezTo>
                  <a:cubicBezTo>
                    <a:pt x="5223" y="25671"/>
                    <a:pt x="5223" y="25671"/>
                    <a:pt x="5223" y="25671"/>
                  </a:cubicBezTo>
                  <a:cubicBezTo>
                    <a:pt x="5478" y="25671"/>
                    <a:pt x="5478" y="25671"/>
                    <a:pt x="5478" y="25671"/>
                  </a:cubicBezTo>
                  <a:cubicBezTo>
                    <a:pt x="5650" y="25669"/>
                    <a:pt x="5823" y="25667"/>
                    <a:pt x="5997" y="25662"/>
                  </a:cubicBezTo>
                  <a:cubicBezTo>
                    <a:pt x="6262" y="25653"/>
                    <a:pt x="6262" y="25653"/>
                    <a:pt x="6262" y="25653"/>
                  </a:cubicBezTo>
                  <a:cubicBezTo>
                    <a:pt x="6398" y="25646"/>
                    <a:pt x="6398" y="25646"/>
                    <a:pt x="6398" y="25646"/>
                  </a:cubicBezTo>
                  <a:cubicBezTo>
                    <a:pt x="6471" y="25642"/>
                    <a:pt x="6546" y="25637"/>
                    <a:pt x="6619" y="25631"/>
                  </a:cubicBezTo>
                  <a:cubicBezTo>
                    <a:pt x="6912" y="25606"/>
                    <a:pt x="7209" y="25570"/>
                    <a:pt x="7459" y="25467"/>
                  </a:cubicBezTo>
                  <a:cubicBezTo>
                    <a:pt x="7583" y="25415"/>
                    <a:pt x="7696" y="25350"/>
                    <a:pt x="7800" y="25262"/>
                  </a:cubicBezTo>
                  <a:cubicBezTo>
                    <a:pt x="7904" y="25173"/>
                    <a:pt x="7994" y="25065"/>
                    <a:pt x="8059" y="24948"/>
                  </a:cubicBezTo>
                  <a:cubicBezTo>
                    <a:pt x="8125" y="24832"/>
                    <a:pt x="8170" y="24708"/>
                    <a:pt x="8202" y="24575"/>
                  </a:cubicBezTo>
                  <a:cubicBezTo>
                    <a:pt x="8217" y="24510"/>
                    <a:pt x="8229" y="24441"/>
                    <a:pt x="8237" y="24369"/>
                  </a:cubicBezTo>
                  <a:cubicBezTo>
                    <a:pt x="8240" y="24297"/>
                    <a:pt x="8241" y="24223"/>
                    <a:pt x="8242" y="24149"/>
                  </a:cubicBezTo>
                  <a:cubicBezTo>
                    <a:pt x="8252" y="23709"/>
                    <a:pt x="8252" y="23709"/>
                    <a:pt x="8252" y="23709"/>
                  </a:cubicBezTo>
                  <a:cubicBezTo>
                    <a:pt x="8252" y="23446"/>
                    <a:pt x="8252" y="23446"/>
                    <a:pt x="8252" y="23446"/>
                  </a:cubicBezTo>
                  <a:cubicBezTo>
                    <a:pt x="8253" y="22775"/>
                    <a:pt x="8253" y="22106"/>
                    <a:pt x="8254" y="21434"/>
                  </a:cubicBezTo>
                  <a:cubicBezTo>
                    <a:pt x="8254" y="20094"/>
                    <a:pt x="8253" y="18751"/>
                    <a:pt x="8253" y="17409"/>
                  </a:cubicBezTo>
                  <a:cubicBezTo>
                    <a:pt x="8253" y="17159"/>
                    <a:pt x="8253" y="17159"/>
                    <a:pt x="8253" y="17159"/>
                  </a:cubicBezTo>
                  <a:cubicBezTo>
                    <a:pt x="8253" y="17036"/>
                    <a:pt x="8253" y="17036"/>
                    <a:pt x="8253" y="17036"/>
                  </a:cubicBezTo>
                  <a:cubicBezTo>
                    <a:pt x="8254" y="17005"/>
                    <a:pt x="8254" y="16975"/>
                    <a:pt x="8255" y="16944"/>
                  </a:cubicBezTo>
                  <a:cubicBezTo>
                    <a:pt x="8261" y="16818"/>
                    <a:pt x="8275" y="16695"/>
                    <a:pt x="8298" y="16573"/>
                  </a:cubicBezTo>
                  <a:cubicBezTo>
                    <a:pt x="8346" y="16327"/>
                    <a:pt x="8430" y="16091"/>
                    <a:pt x="8547" y="15871"/>
                  </a:cubicBezTo>
                  <a:cubicBezTo>
                    <a:pt x="8781" y="15429"/>
                    <a:pt x="9152" y="15058"/>
                    <a:pt x="9588" y="14825"/>
                  </a:cubicBezTo>
                  <a:cubicBezTo>
                    <a:pt x="9806" y="14708"/>
                    <a:pt x="10040" y="14625"/>
                    <a:pt x="10280" y="14580"/>
                  </a:cubicBezTo>
                  <a:cubicBezTo>
                    <a:pt x="10399" y="14557"/>
                    <a:pt x="10521" y="14544"/>
                    <a:pt x="10643" y="14540"/>
                  </a:cubicBezTo>
                  <a:cubicBezTo>
                    <a:pt x="10700" y="14539"/>
                    <a:pt x="10774" y="14539"/>
                    <a:pt x="10845" y="14540"/>
                  </a:cubicBezTo>
                  <a:cubicBezTo>
                    <a:pt x="10915" y="14542"/>
                    <a:pt x="10986" y="14544"/>
                    <a:pt x="11057" y="14549"/>
                  </a:cubicBezTo>
                  <a:cubicBezTo>
                    <a:pt x="11622" y="14587"/>
                    <a:pt x="12181" y="14723"/>
                    <a:pt x="12720" y="14939"/>
                  </a:cubicBezTo>
                  <a:cubicBezTo>
                    <a:pt x="13804" y="15372"/>
                    <a:pt x="14799" y="16113"/>
                    <a:pt x="15742" y="16933"/>
                  </a:cubicBezTo>
                  <a:cubicBezTo>
                    <a:pt x="16215" y="17346"/>
                    <a:pt x="16679" y="17779"/>
                    <a:pt x="17149" y="18219"/>
                  </a:cubicBezTo>
                  <a:cubicBezTo>
                    <a:pt x="17384" y="18437"/>
                    <a:pt x="17622" y="18659"/>
                    <a:pt x="17864" y="18877"/>
                  </a:cubicBezTo>
                  <a:cubicBezTo>
                    <a:pt x="18104" y="19090"/>
                    <a:pt x="18342" y="19301"/>
                    <a:pt x="18580" y="19512"/>
                  </a:cubicBezTo>
                  <a:cubicBezTo>
                    <a:pt x="19519" y="20346"/>
                    <a:pt x="20434" y="21212"/>
                    <a:pt x="21439" y="22011"/>
                  </a:cubicBezTo>
                  <a:cubicBezTo>
                    <a:pt x="21944" y="22407"/>
                    <a:pt x="22473" y="22790"/>
                    <a:pt x="23055" y="23116"/>
                  </a:cubicBezTo>
                  <a:cubicBezTo>
                    <a:pt x="23634" y="23440"/>
                    <a:pt x="24275" y="23711"/>
                    <a:pt x="24961" y="23846"/>
                  </a:cubicBezTo>
                  <a:cubicBezTo>
                    <a:pt x="25645" y="23985"/>
                    <a:pt x="26367" y="23976"/>
                    <a:pt x="27032" y="23830"/>
                  </a:cubicBezTo>
                  <a:cubicBezTo>
                    <a:pt x="27702" y="23686"/>
                    <a:pt x="28308" y="23421"/>
                    <a:pt x="28852" y="23112"/>
                  </a:cubicBezTo>
                  <a:cubicBezTo>
                    <a:pt x="29396" y="22804"/>
                    <a:pt x="29883" y="22452"/>
                    <a:pt x="30339" y="22092"/>
                  </a:cubicBezTo>
                  <a:cubicBezTo>
                    <a:pt x="30793" y="21731"/>
                    <a:pt x="31217" y="21361"/>
                    <a:pt x="31626" y="20994"/>
                  </a:cubicBezTo>
                  <a:cubicBezTo>
                    <a:pt x="32034" y="20626"/>
                    <a:pt x="32426" y="20262"/>
                    <a:pt x="32811" y="19905"/>
                  </a:cubicBezTo>
                  <a:cubicBezTo>
                    <a:pt x="33002" y="19728"/>
                    <a:pt x="33193" y="19553"/>
                    <a:pt x="33382" y="19378"/>
                  </a:cubicBezTo>
                  <a:cubicBezTo>
                    <a:pt x="33574" y="19205"/>
                    <a:pt x="33765" y="19030"/>
                    <a:pt x="33954" y="18859"/>
                  </a:cubicBezTo>
                  <a:cubicBezTo>
                    <a:pt x="34720" y="18152"/>
                    <a:pt x="35408" y="17460"/>
                    <a:pt x="36096" y="16843"/>
                  </a:cubicBezTo>
                  <a:cubicBezTo>
                    <a:pt x="36740" y="16264"/>
                    <a:pt x="37383" y="15749"/>
                    <a:pt x="38041" y="15336"/>
                  </a:cubicBezTo>
                  <a:cubicBezTo>
                    <a:pt x="38697" y="14923"/>
                    <a:pt x="39367" y="14620"/>
                    <a:pt x="40031" y="14454"/>
                  </a:cubicBezTo>
                  <a:cubicBezTo>
                    <a:pt x="40358" y="14371"/>
                    <a:pt x="40681" y="14320"/>
                    <a:pt x="40998" y="14299"/>
                  </a:cubicBezTo>
                  <a:cubicBezTo>
                    <a:pt x="41077" y="14295"/>
                    <a:pt x="41155" y="14290"/>
                    <a:pt x="41234" y="14288"/>
                  </a:cubicBezTo>
                  <a:cubicBezTo>
                    <a:pt x="41309" y="14288"/>
                    <a:pt x="41376" y="14288"/>
                    <a:pt x="41447" y="14292"/>
                  </a:cubicBezTo>
                  <a:cubicBezTo>
                    <a:pt x="41586" y="14299"/>
                    <a:pt x="41724" y="14319"/>
                    <a:pt x="41859" y="14346"/>
                  </a:cubicBezTo>
                  <a:cubicBezTo>
                    <a:pt x="42394" y="14461"/>
                    <a:pt x="42865" y="14737"/>
                    <a:pt x="43221" y="15092"/>
                  </a:cubicBezTo>
                  <a:cubicBezTo>
                    <a:pt x="43579" y="15446"/>
                    <a:pt x="43825" y="15877"/>
                    <a:pt x="43955" y="16317"/>
                  </a:cubicBezTo>
                  <a:cubicBezTo>
                    <a:pt x="44020" y="16536"/>
                    <a:pt x="44057" y="16762"/>
                    <a:pt x="44068" y="16982"/>
                  </a:cubicBezTo>
                  <a:cubicBezTo>
                    <a:pt x="44074" y="17238"/>
                    <a:pt x="44081" y="17489"/>
                    <a:pt x="44087" y="17737"/>
                  </a:cubicBezTo>
                  <a:cubicBezTo>
                    <a:pt x="44114" y="18733"/>
                    <a:pt x="44138" y="19658"/>
                    <a:pt x="44161" y="20559"/>
                  </a:cubicBezTo>
                  <a:cubicBezTo>
                    <a:pt x="44167" y="20783"/>
                    <a:pt x="44174" y="21006"/>
                    <a:pt x="44179" y="21228"/>
                  </a:cubicBezTo>
                  <a:cubicBezTo>
                    <a:pt x="44181" y="21279"/>
                    <a:pt x="44183" y="21351"/>
                    <a:pt x="44188" y="21412"/>
                  </a:cubicBezTo>
                  <a:cubicBezTo>
                    <a:pt x="44192" y="21475"/>
                    <a:pt x="44199" y="21540"/>
                    <a:pt x="44208" y="21603"/>
                  </a:cubicBezTo>
                  <a:cubicBezTo>
                    <a:pt x="44226" y="21729"/>
                    <a:pt x="44251" y="21854"/>
                    <a:pt x="44286" y="21975"/>
                  </a:cubicBezTo>
                  <a:cubicBezTo>
                    <a:pt x="44421" y="22461"/>
                    <a:pt x="44673" y="22894"/>
                    <a:pt x="44984" y="23266"/>
                  </a:cubicBezTo>
                  <a:cubicBezTo>
                    <a:pt x="45504" y="23884"/>
                    <a:pt x="46224" y="24380"/>
                    <a:pt x="47027" y="24697"/>
                  </a:cubicBezTo>
                  <a:cubicBezTo>
                    <a:pt x="47430" y="24856"/>
                    <a:pt x="47855" y="24969"/>
                    <a:pt x="48288" y="25022"/>
                  </a:cubicBezTo>
                  <a:cubicBezTo>
                    <a:pt x="48505" y="25047"/>
                    <a:pt x="48728" y="25056"/>
                    <a:pt x="48940" y="25049"/>
                  </a:cubicBezTo>
                  <a:cubicBezTo>
                    <a:pt x="49147" y="25043"/>
                    <a:pt x="49351" y="25036"/>
                    <a:pt x="49556" y="25025"/>
                  </a:cubicBezTo>
                  <a:cubicBezTo>
                    <a:pt x="49657" y="25020"/>
                    <a:pt x="49759" y="25014"/>
                    <a:pt x="49861" y="25009"/>
                  </a:cubicBezTo>
                  <a:cubicBezTo>
                    <a:pt x="49965" y="25000"/>
                    <a:pt x="50070" y="24993"/>
                    <a:pt x="50174" y="24986"/>
                  </a:cubicBezTo>
                  <a:cubicBezTo>
                    <a:pt x="50405" y="24964"/>
                    <a:pt x="50636" y="24939"/>
                    <a:pt x="50841" y="24879"/>
                  </a:cubicBezTo>
                  <a:cubicBezTo>
                    <a:pt x="50892" y="24863"/>
                    <a:pt x="50942" y="24845"/>
                    <a:pt x="50989" y="24822"/>
                  </a:cubicBezTo>
                  <a:cubicBezTo>
                    <a:pt x="51036" y="24798"/>
                    <a:pt x="51079" y="24764"/>
                    <a:pt x="51117" y="24726"/>
                  </a:cubicBezTo>
                  <a:cubicBezTo>
                    <a:pt x="51193" y="24650"/>
                    <a:pt x="51237" y="24549"/>
                    <a:pt x="51260" y="24450"/>
                  </a:cubicBezTo>
                  <a:cubicBezTo>
                    <a:pt x="51304" y="24248"/>
                    <a:pt x="51285" y="24035"/>
                    <a:pt x="51284" y="23835"/>
                  </a:cubicBezTo>
                  <a:cubicBezTo>
                    <a:pt x="51281" y="23742"/>
                    <a:pt x="51280" y="23648"/>
                    <a:pt x="51278" y="2355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40">
              <a:extLst>
                <a:ext uri="{FF2B5EF4-FFF2-40B4-BE49-F238E27FC236}">
                  <a16:creationId xmlns:a16="http://schemas.microsoft.com/office/drawing/2014/main" id="{9CF3703D-17D5-4F2F-BABF-CA1CC09B8D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958112" y="19589750"/>
              <a:ext cx="174477363" cy="95365887"/>
            </a:xfrm>
            <a:custGeom>
              <a:avLst/>
              <a:gdLst>
                <a:gd name="T0" fmla="*/ 45081 w 46525"/>
                <a:gd name="T1" fmla="*/ 22916 h 25428"/>
                <a:gd name="T2" fmla="*/ 44338 w 46525"/>
                <a:gd name="T3" fmla="*/ 21302 h 25428"/>
                <a:gd name="T4" fmla="*/ 44248 w 46525"/>
                <a:gd name="T5" fmla="*/ 18713 h 25428"/>
                <a:gd name="T6" fmla="*/ 44198 w 46525"/>
                <a:gd name="T7" fmla="*/ 16820 h 25428"/>
                <a:gd name="T8" fmla="*/ 43209 w 46525"/>
                <a:gd name="T9" fmla="*/ 14732 h 25428"/>
                <a:gd name="T10" fmla="*/ 41000 w 46525"/>
                <a:gd name="T11" fmla="*/ 13928 h 25428"/>
                <a:gd name="T12" fmla="*/ 36673 w 46525"/>
                <a:gd name="T13" fmla="*/ 15821 h 25428"/>
                <a:gd name="T14" fmla="*/ 31594 w 46525"/>
                <a:gd name="T15" fmla="*/ 20500 h 25428"/>
                <a:gd name="T16" fmla="*/ 27186 w 46525"/>
                <a:gd name="T17" fmla="*/ 23435 h 25428"/>
                <a:gd name="T18" fmla="*/ 22870 w 46525"/>
                <a:gd name="T19" fmla="*/ 22741 h 25428"/>
                <a:gd name="T20" fmla="*/ 18427 w 46525"/>
                <a:gd name="T21" fmla="*/ 19131 h 25428"/>
                <a:gd name="T22" fmla="*/ 15190 w 46525"/>
                <a:gd name="T23" fmla="*/ 16239 h 25428"/>
                <a:gd name="T24" fmla="*/ 10883 w 46525"/>
                <a:gd name="T25" fmla="*/ 14279 h 25428"/>
                <a:gd name="T26" fmla="*/ 9150 w 46525"/>
                <a:gd name="T27" fmla="*/ 14730 h 25428"/>
                <a:gd name="T28" fmla="*/ 7993 w 46525"/>
                <a:gd name="T29" fmla="*/ 16935 h 25428"/>
                <a:gd name="T30" fmla="*/ 7995 w 46525"/>
                <a:gd name="T31" fmla="*/ 18300 h 25428"/>
                <a:gd name="T32" fmla="*/ 8002 w 46525"/>
                <a:gd name="T33" fmla="*/ 23415 h 25428"/>
                <a:gd name="T34" fmla="*/ 8001 w 46525"/>
                <a:gd name="T35" fmla="*/ 23646 h 25428"/>
                <a:gd name="T36" fmla="*/ 7908 w 46525"/>
                <a:gd name="T37" fmla="*/ 24587 h 25428"/>
                <a:gd name="T38" fmla="*/ 6120 w 46525"/>
                <a:gd name="T39" fmla="*/ 25410 h 25428"/>
                <a:gd name="T40" fmla="*/ 5092 w 46525"/>
                <a:gd name="T41" fmla="*/ 25428 h 25428"/>
                <a:gd name="T42" fmla="*/ 3723 w 46525"/>
                <a:gd name="T43" fmla="*/ 25264 h 25428"/>
                <a:gd name="T44" fmla="*/ 232 w 46525"/>
                <a:gd name="T45" fmla="*/ 22380 h 25428"/>
                <a:gd name="T46" fmla="*/ 0 w 46525"/>
                <a:gd name="T47" fmla="*/ 21138 h 25428"/>
                <a:gd name="T48" fmla="*/ 3 w 46525"/>
                <a:gd name="T49" fmla="*/ 19732 h 25428"/>
                <a:gd name="T50" fmla="*/ 1172 w 46525"/>
                <a:gd name="T51" fmla="*/ 0 h 25428"/>
                <a:gd name="T52" fmla="*/ 6138 w 46525"/>
                <a:gd name="T53" fmla="*/ 40 h 25428"/>
                <a:gd name="T54" fmla="*/ 7478 w 46525"/>
                <a:gd name="T55" fmla="*/ 250 h 25428"/>
                <a:gd name="T56" fmla="*/ 10550 w 46525"/>
                <a:gd name="T57" fmla="*/ 1974 h 25428"/>
                <a:gd name="T58" fmla="*/ 12103 w 46525"/>
                <a:gd name="T59" fmla="*/ 3460 h 25428"/>
                <a:gd name="T60" fmla="*/ 15899 w 46525"/>
                <a:gd name="T61" fmla="*/ 7099 h 25428"/>
                <a:gd name="T62" fmla="*/ 16518 w 46525"/>
                <a:gd name="T63" fmla="*/ 7699 h 25428"/>
                <a:gd name="T64" fmla="*/ 24413 w 46525"/>
                <a:gd name="T65" fmla="*/ 11240 h 25428"/>
                <a:gd name="T66" fmla="*/ 33252 w 46525"/>
                <a:gd name="T67" fmla="*/ 9663 h 25428"/>
                <a:gd name="T68" fmla="*/ 31776 w 46525"/>
                <a:gd name="T69" fmla="*/ 10761 h 25428"/>
                <a:gd name="T70" fmla="*/ 24737 w 46525"/>
                <a:gd name="T71" fmla="*/ 12098 h 25428"/>
                <a:gd name="T72" fmla="*/ 15373 w 46525"/>
                <a:gd name="T73" fmla="*/ 8037 h 25428"/>
                <a:gd name="T74" fmla="*/ 15133 w 46525"/>
                <a:gd name="T75" fmla="*/ 7811 h 25428"/>
                <a:gd name="T76" fmla="*/ 11552 w 46525"/>
                <a:gd name="T77" fmla="*/ 4476 h 25428"/>
                <a:gd name="T78" fmla="*/ 9726 w 46525"/>
                <a:gd name="T79" fmla="*/ 2773 h 25428"/>
                <a:gd name="T80" fmla="*/ 9481 w 46525"/>
                <a:gd name="T81" fmla="*/ 2558 h 25428"/>
                <a:gd name="T82" fmla="*/ 4383 w 46525"/>
                <a:gd name="T83" fmla="*/ 1236 h 25428"/>
                <a:gd name="T84" fmla="*/ 1401 w 46525"/>
                <a:gd name="T85" fmla="*/ 19072 h 25428"/>
                <a:gd name="T86" fmla="*/ 1408 w 46525"/>
                <a:gd name="T87" fmla="*/ 21014 h 25428"/>
                <a:gd name="T88" fmla="*/ 2150 w 46525"/>
                <a:gd name="T89" fmla="*/ 22770 h 25428"/>
                <a:gd name="T90" fmla="*/ 4852 w 46525"/>
                <a:gd name="T91" fmla="*/ 23987 h 25428"/>
                <a:gd name="T92" fmla="*/ 5638 w 46525"/>
                <a:gd name="T93" fmla="*/ 23980 h 25428"/>
                <a:gd name="T94" fmla="*/ 6271 w 46525"/>
                <a:gd name="T95" fmla="*/ 23951 h 25428"/>
                <a:gd name="T96" fmla="*/ 6527 w 46525"/>
                <a:gd name="T97" fmla="*/ 23854 h 25428"/>
                <a:gd name="T98" fmla="*/ 6511 w 46525"/>
                <a:gd name="T99" fmla="*/ 17404 h 25428"/>
                <a:gd name="T100" fmla="*/ 7014 w 46525"/>
                <a:gd name="T101" fmla="*/ 14932 h 25428"/>
                <a:gd name="T102" fmla="*/ 10633 w 46525"/>
                <a:gd name="T103" fmla="*/ 12779 h 25428"/>
                <a:gd name="T104" fmla="*/ 13931 w 46525"/>
                <a:gd name="T105" fmla="*/ 13628 h 25428"/>
                <a:gd name="T106" fmla="*/ 18455 w 46525"/>
                <a:gd name="T107" fmla="*/ 17222 h 25428"/>
                <a:gd name="T108" fmla="*/ 20887 w 46525"/>
                <a:gd name="T109" fmla="*/ 19441 h 25428"/>
                <a:gd name="T110" fmla="*/ 25829 w 46525"/>
                <a:gd name="T111" fmla="*/ 22317 h 25428"/>
                <a:gd name="T112" fmla="*/ 30470 w 46525"/>
                <a:gd name="T113" fmla="*/ 19910 h 25428"/>
                <a:gd name="T114" fmla="*/ 32789 w 46525"/>
                <a:gd name="T115" fmla="*/ 17876 h 25428"/>
                <a:gd name="T116" fmla="*/ 37500 w 46525"/>
                <a:gd name="T117" fmla="*/ 14056 h 25428"/>
                <a:gd name="T118" fmla="*/ 43119 w 46525"/>
                <a:gd name="T119" fmla="*/ 13639 h 25428"/>
                <a:gd name="T120" fmla="*/ 44875 w 46525"/>
                <a:gd name="T121" fmla="*/ 19688 h 25428"/>
                <a:gd name="T122" fmla="*/ 44856 w 46525"/>
                <a:gd name="T123" fmla="*/ 21421 h 25428"/>
                <a:gd name="T124" fmla="*/ 46280 w 46525"/>
                <a:gd name="T125" fmla="*/ 23599 h 25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525" h="25428">
                  <a:moveTo>
                    <a:pt x="46364" y="23837"/>
                  </a:moveTo>
                  <a:cubicBezTo>
                    <a:pt x="46254" y="23799"/>
                    <a:pt x="46079" y="23720"/>
                    <a:pt x="45856" y="23578"/>
                  </a:cubicBezTo>
                  <a:cubicBezTo>
                    <a:pt x="45634" y="23433"/>
                    <a:pt x="45359" y="23228"/>
                    <a:pt x="45081" y="22916"/>
                  </a:cubicBezTo>
                  <a:cubicBezTo>
                    <a:pt x="44896" y="22707"/>
                    <a:pt x="44709" y="22451"/>
                    <a:pt x="44563" y="22128"/>
                  </a:cubicBezTo>
                  <a:cubicBezTo>
                    <a:pt x="44490" y="21968"/>
                    <a:pt x="44428" y="21791"/>
                    <a:pt x="44385" y="21600"/>
                  </a:cubicBezTo>
                  <a:cubicBezTo>
                    <a:pt x="44364" y="21504"/>
                    <a:pt x="44348" y="21405"/>
                    <a:pt x="44338" y="21302"/>
                  </a:cubicBezTo>
                  <a:cubicBezTo>
                    <a:pt x="44331" y="21252"/>
                    <a:pt x="44330" y="21198"/>
                    <a:pt x="44326" y="21145"/>
                  </a:cubicBezTo>
                  <a:cubicBezTo>
                    <a:pt x="44323" y="21095"/>
                    <a:pt x="44321" y="21044"/>
                    <a:pt x="44320" y="20994"/>
                  </a:cubicBezTo>
                  <a:cubicBezTo>
                    <a:pt x="44296" y="20334"/>
                    <a:pt x="44271" y="19571"/>
                    <a:pt x="44248" y="18713"/>
                  </a:cubicBezTo>
                  <a:cubicBezTo>
                    <a:pt x="44237" y="18282"/>
                    <a:pt x="44226" y="17829"/>
                    <a:pt x="44213" y="17357"/>
                  </a:cubicBezTo>
                  <a:cubicBezTo>
                    <a:pt x="44210" y="17236"/>
                    <a:pt x="44207" y="17115"/>
                    <a:pt x="44204" y="16995"/>
                  </a:cubicBezTo>
                  <a:cubicBezTo>
                    <a:pt x="44202" y="16932"/>
                    <a:pt x="44201" y="16876"/>
                    <a:pt x="44198" y="16820"/>
                  </a:cubicBezTo>
                  <a:cubicBezTo>
                    <a:pt x="44194" y="16762"/>
                    <a:pt x="44190" y="16706"/>
                    <a:pt x="44183" y="16648"/>
                  </a:cubicBezTo>
                  <a:cubicBezTo>
                    <a:pt x="44155" y="16419"/>
                    <a:pt x="44103" y="16189"/>
                    <a:pt x="44022" y="15963"/>
                  </a:cubicBezTo>
                  <a:cubicBezTo>
                    <a:pt x="43862" y="15513"/>
                    <a:pt x="43586" y="15082"/>
                    <a:pt x="43209" y="14732"/>
                  </a:cubicBezTo>
                  <a:cubicBezTo>
                    <a:pt x="42834" y="14380"/>
                    <a:pt x="42356" y="14113"/>
                    <a:pt x="41826" y="13994"/>
                  </a:cubicBezTo>
                  <a:cubicBezTo>
                    <a:pt x="41694" y="13964"/>
                    <a:pt x="41559" y="13944"/>
                    <a:pt x="41422" y="13931"/>
                  </a:cubicBezTo>
                  <a:cubicBezTo>
                    <a:pt x="41283" y="13920"/>
                    <a:pt x="41151" y="13920"/>
                    <a:pt x="41000" y="13928"/>
                  </a:cubicBezTo>
                  <a:cubicBezTo>
                    <a:pt x="40706" y="13940"/>
                    <a:pt x="40409" y="13976"/>
                    <a:pt x="40113" y="14038"/>
                  </a:cubicBezTo>
                  <a:cubicBezTo>
                    <a:pt x="39518" y="14158"/>
                    <a:pt x="38927" y="14382"/>
                    <a:pt x="38351" y="14688"/>
                  </a:cubicBezTo>
                  <a:cubicBezTo>
                    <a:pt x="37776" y="14995"/>
                    <a:pt x="37219" y="15381"/>
                    <a:pt x="36673" y="15821"/>
                  </a:cubicBezTo>
                  <a:cubicBezTo>
                    <a:pt x="36126" y="16259"/>
                    <a:pt x="35593" y="16751"/>
                    <a:pt x="35052" y="17267"/>
                  </a:cubicBezTo>
                  <a:cubicBezTo>
                    <a:pt x="34509" y="17783"/>
                    <a:pt x="33955" y="18333"/>
                    <a:pt x="33362" y="18866"/>
                  </a:cubicBezTo>
                  <a:cubicBezTo>
                    <a:pt x="32783" y="19391"/>
                    <a:pt x="32201" y="19943"/>
                    <a:pt x="31594" y="20500"/>
                  </a:cubicBezTo>
                  <a:cubicBezTo>
                    <a:pt x="30985" y="21057"/>
                    <a:pt x="30351" y="21621"/>
                    <a:pt x="29641" y="22148"/>
                  </a:cubicBezTo>
                  <a:cubicBezTo>
                    <a:pt x="29286" y="22411"/>
                    <a:pt x="28909" y="22662"/>
                    <a:pt x="28503" y="22885"/>
                  </a:cubicBezTo>
                  <a:cubicBezTo>
                    <a:pt x="28095" y="23107"/>
                    <a:pt x="27657" y="23300"/>
                    <a:pt x="27186" y="23435"/>
                  </a:cubicBezTo>
                  <a:cubicBezTo>
                    <a:pt x="26714" y="23570"/>
                    <a:pt x="26211" y="23639"/>
                    <a:pt x="25705" y="23626"/>
                  </a:cubicBezTo>
                  <a:cubicBezTo>
                    <a:pt x="25199" y="23616"/>
                    <a:pt x="24694" y="23520"/>
                    <a:pt x="24218" y="23361"/>
                  </a:cubicBezTo>
                  <a:cubicBezTo>
                    <a:pt x="23741" y="23204"/>
                    <a:pt x="23291" y="22988"/>
                    <a:pt x="22870" y="22741"/>
                  </a:cubicBezTo>
                  <a:cubicBezTo>
                    <a:pt x="22447" y="22494"/>
                    <a:pt x="22050" y="22216"/>
                    <a:pt x="21668" y="21926"/>
                  </a:cubicBezTo>
                  <a:cubicBezTo>
                    <a:pt x="20903" y="21345"/>
                    <a:pt x="20195" y="20711"/>
                    <a:pt x="19488" y="20080"/>
                  </a:cubicBezTo>
                  <a:cubicBezTo>
                    <a:pt x="19136" y="19764"/>
                    <a:pt x="18782" y="19449"/>
                    <a:pt x="18427" y="19131"/>
                  </a:cubicBezTo>
                  <a:cubicBezTo>
                    <a:pt x="18246" y="18973"/>
                    <a:pt x="18065" y="18812"/>
                    <a:pt x="17884" y="18654"/>
                  </a:cubicBezTo>
                  <a:cubicBezTo>
                    <a:pt x="17700" y="18489"/>
                    <a:pt x="17520" y="18325"/>
                    <a:pt x="17342" y="18159"/>
                  </a:cubicBezTo>
                  <a:cubicBezTo>
                    <a:pt x="16627" y="17500"/>
                    <a:pt x="15928" y="16836"/>
                    <a:pt x="15190" y="16239"/>
                  </a:cubicBezTo>
                  <a:cubicBezTo>
                    <a:pt x="14453" y="15644"/>
                    <a:pt x="13673" y="15112"/>
                    <a:pt x="12836" y="14752"/>
                  </a:cubicBezTo>
                  <a:cubicBezTo>
                    <a:pt x="12418" y="14571"/>
                    <a:pt x="11987" y="14436"/>
                    <a:pt x="11547" y="14357"/>
                  </a:cubicBezTo>
                  <a:cubicBezTo>
                    <a:pt x="11328" y="14317"/>
                    <a:pt x="11106" y="14290"/>
                    <a:pt x="10883" y="14279"/>
                  </a:cubicBezTo>
                  <a:cubicBezTo>
                    <a:pt x="10774" y="14272"/>
                    <a:pt x="10655" y="14270"/>
                    <a:pt x="10553" y="14272"/>
                  </a:cubicBezTo>
                  <a:cubicBezTo>
                    <a:pt x="10454" y="14276"/>
                    <a:pt x="10355" y="14283"/>
                    <a:pt x="10257" y="14295"/>
                  </a:cubicBezTo>
                  <a:cubicBezTo>
                    <a:pt x="9863" y="14351"/>
                    <a:pt x="9482" y="14501"/>
                    <a:pt x="9150" y="14730"/>
                  </a:cubicBezTo>
                  <a:cubicBezTo>
                    <a:pt x="8818" y="14961"/>
                    <a:pt x="8536" y="15269"/>
                    <a:pt x="8335" y="15623"/>
                  </a:cubicBezTo>
                  <a:cubicBezTo>
                    <a:pt x="8135" y="15978"/>
                    <a:pt x="8018" y="16376"/>
                    <a:pt x="7997" y="16782"/>
                  </a:cubicBezTo>
                  <a:cubicBezTo>
                    <a:pt x="7994" y="16834"/>
                    <a:pt x="7993" y="16883"/>
                    <a:pt x="7993" y="16935"/>
                  </a:cubicBezTo>
                  <a:cubicBezTo>
                    <a:pt x="7993" y="17130"/>
                    <a:pt x="7993" y="17130"/>
                    <a:pt x="7993" y="17130"/>
                  </a:cubicBezTo>
                  <a:cubicBezTo>
                    <a:pt x="7994" y="17519"/>
                    <a:pt x="7994" y="17519"/>
                    <a:pt x="7994" y="17519"/>
                  </a:cubicBezTo>
                  <a:cubicBezTo>
                    <a:pt x="7995" y="17779"/>
                    <a:pt x="7995" y="18040"/>
                    <a:pt x="7995" y="18300"/>
                  </a:cubicBezTo>
                  <a:cubicBezTo>
                    <a:pt x="7998" y="19342"/>
                    <a:pt x="7999" y="20388"/>
                    <a:pt x="8001" y="21439"/>
                  </a:cubicBezTo>
                  <a:cubicBezTo>
                    <a:pt x="8001" y="21966"/>
                    <a:pt x="8002" y="22492"/>
                    <a:pt x="8002" y="23019"/>
                  </a:cubicBezTo>
                  <a:cubicBezTo>
                    <a:pt x="8002" y="23415"/>
                    <a:pt x="8002" y="23415"/>
                    <a:pt x="8002" y="23415"/>
                  </a:cubicBezTo>
                  <a:cubicBezTo>
                    <a:pt x="8002" y="23515"/>
                    <a:pt x="8002" y="23515"/>
                    <a:pt x="8002" y="23515"/>
                  </a:cubicBezTo>
                  <a:cubicBezTo>
                    <a:pt x="8002" y="23563"/>
                    <a:pt x="8002" y="23563"/>
                    <a:pt x="8002" y="23563"/>
                  </a:cubicBezTo>
                  <a:cubicBezTo>
                    <a:pt x="8001" y="23646"/>
                    <a:pt x="8001" y="23646"/>
                    <a:pt x="8001" y="23646"/>
                  </a:cubicBezTo>
                  <a:cubicBezTo>
                    <a:pt x="7995" y="23973"/>
                    <a:pt x="7995" y="23973"/>
                    <a:pt x="7995" y="23973"/>
                  </a:cubicBezTo>
                  <a:cubicBezTo>
                    <a:pt x="7990" y="24079"/>
                    <a:pt x="7997" y="24193"/>
                    <a:pt x="7979" y="24293"/>
                  </a:cubicBezTo>
                  <a:cubicBezTo>
                    <a:pt x="7964" y="24396"/>
                    <a:pt x="7940" y="24494"/>
                    <a:pt x="7908" y="24587"/>
                  </a:cubicBezTo>
                  <a:cubicBezTo>
                    <a:pt x="7844" y="24771"/>
                    <a:pt x="7726" y="24950"/>
                    <a:pt x="7563" y="25074"/>
                  </a:cubicBezTo>
                  <a:cubicBezTo>
                    <a:pt x="7252" y="25318"/>
                    <a:pt x="6804" y="25365"/>
                    <a:pt x="6368" y="25395"/>
                  </a:cubicBezTo>
                  <a:cubicBezTo>
                    <a:pt x="6120" y="25410"/>
                    <a:pt x="6120" y="25410"/>
                    <a:pt x="6120" y="25410"/>
                  </a:cubicBezTo>
                  <a:cubicBezTo>
                    <a:pt x="5911" y="25417"/>
                    <a:pt x="5911" y="25417"/>
                    <a:pt x="5911" y="25417"/>
                  </a:cubicBezTo>
                  <a:cubicBezTo>
                    <a:pt x="5773" y="25422"/>
                    <a:pt x="5636" y="25424"/>
                    <a:pt x="5499" y="25426"/>
                  </a:cubicBezTo>
                  <a:cubicBezTo>
                    <a:pt x="5092" y="25428"/>
                    <a:pt x="5092" y="25428"/>
                    <a:pt x="5092" y="25428"/>
                  </a:cubicBezTo>
                  <a:cubicBezTo>
                    <a:pt x="4881" y="25426"/>
                    <a:pt x="4881" y="25426"/>
                    <a:pt x="4881" y="25426"/>
                  </a:cubicBezTo>
                  <a:cubicBezTo>
                    <a:pt x="4802" y="25426"/>
                    <a:pt x="4722" y="25422"/>
                    <a:pt x="4644" y="25417"/>
                  </a:cubicBezTo>
                  <a:cubicBezTo>
                    <a:pt x="4329" y="25395"/>
                    <a:pt x="4021" y="25341"/>
                    <a:pt x="3723" y="25264"/>
                  </a:cubicBezTo>
                  <a:cubicBezTo>
                    <a:pt x="3127" y="25108"/>
                    <a:pt x="2567" y="24856"/>
                    <a:pt x="2054" y="24521"/>
                  </a:cubicBezTo>
                  <a:cubicBezTo>
                    <a:pt x="1543" y="24185"/>
                    <a:pt x="1074" y="23765"/>
                    <a:pt x="700" y="23242"/>
                  </a:cubicBezTo>
                  <a:cubicBezTo>
                    <a:pt x="514" y="22981"/>
                    <a:pt x="353" y="22692"/>
                    <a:pt x="232" y="22380"/>
                  </a:cubicBezTo>
                  <a:cubicBezTo>
                    <a:pt x="111" y="22069"/>
                    <a:pt x="32" y="21733"/>
                    <a:pt x="8" y="21391"/>
                  </a:cubicBezTo>
                  <a:cubicBezTo>
                    <a:pt x="2" y="21261"/>
                    <a:pt x="2" y="21261"/>
                    <a:pt x="2" y="21261"/>
                  </a:cubicBezTo>
                  <a:cubicBezTo>
                    <a:pt x="0" y="21138"/>
                    <a:pt x="0" y="21138"/>
                    <a:pt x="0" y="21138"/>
                  </a:cubicBezTo>
                  <a:cubicBezTo>
                    <a:pt x="0" y="20938"/>
                    <a:pt x="0" y="20938"/>
                    <a:pt x="0" y="20938"/>
                  </a:cubicBezTo>
                  <a:cubicBezTo>
                    <a:pt x="2" y="20536"/>
                    <a:pt x="2" y="20536"/>
                    <a:pt x="2" y="20536"/>
                  </a:cubicBezTo>
                  <a:cubicBezTo>
                    <a:pt x="3" y="19732"/>
                    <a:pt x="3" y="19732"/>
                    <a:pt x="3" y="19732"/>
                  </a:cubicBezTo>
                  <a:cubicBezTo>
                    <a:pt x="14" y="15444"/>
                    <a:pt x="33" y="11144"/>
                    <a:pt x="61" y="6888"/>
                  </a:cubicBezTo>
                  <a:cubicBezTo>
                    <a:pt x="72" y="4925"/>
                    <a:pt x="93" y="1497"/>
                    <a:pt x="93" y="1070"/>
                  </a:cubicBezTo>
                  <a:cubicBezTo>
                    <a:pt x="93" y="643"/>
                    <a:pt x="258" y="0"/>
                    <a:pt x="1172" y="0"/>
                  </a:cubicBezTo>
                  <a:cubicBezTo>
                    <a:pt x="2081" y="0"/>
                    <a:pt x="3400" y="13"/>
                    <a:pt x="4482" y="21"/>
                  </a:cubicBezTo>
                  <a:cubicBezTo>
                    <a:pt x="4972" y="25"/>
                    <a:pt x="5456" y="28"/>
                    <a:pt x="5937" y="32"/>
                  </a:cubicBezTo>
                  <a:cubicBezTo>
                    <a:pt x="6009" y="33"/>
                    <a:pt x="6073" y="37"/>
                    <a:pt x="6138" y="40"/>
                  </a:cubicBezTo>
                  <a:cubicBezTo>
                    <a:pt x="6203" y="44"/>
                    <a:pt x="6268" y="48"/>
                    <a:pt x="6333" y="54"/>
                  </a:cubicBezTo>
                  <a:cubicBezTo>
                    <a:pt x="6462" y="66"/>
                    <a:pt x="6591" y="80"/>
                    <a:pt x="6720" y="98"/>
                  </a:cubicBezTo>
                  <a:cubicBezTo>
                    <a:pt x="6976" y="135"/>
                    <a:pt x="7229" y="186"/>
                    <a:pt x="7478" y="250"/>
                  </a:cubicBezTo>
                  <a:cubicBezTo>
                    <a:pt x="8474" y="507"/>
                    <a:pt x="9385" y="984"/>
                    <a:pt x="10142" y="1610"/>
                  </a:cubicBezTo>
                  <a:cubicBezTo>
                    <a:pt x="10237" y="1688"/>
                    <a:pt x="10328" y="1768"/>
                    <a:pt x="10420" y="1852"/>
                  </a:cubicBezTo>
                  <a:cubicBezTo>
                    <a:pt x="10550" y="1974"/>
                    <a:pt x="10550" y="1974"/>
                    <a:pt x="10550" y="1974"/>
                  </a:cubicBezTo>
                  <a:cubicBezTo>
                    <a:pt x="10671" y="2090"/>
                    <a:pt x="10671" y="2090"/>
                    <a:pt x="10671" y="2090"/>
                  </a:cubicBezTo>
                  <a:cubicBezTo>
                    <a:pt x="10832" y="2245"/>
                    <a:pt x="10994" y="2398"/>
                    <a:pt x="11153" y="2551"/>
                  </a:cubicBezTo>
                  <a:cubicBezTo>
                    <a:pt x="11473" y="2857"/>
                    <a:pt x="11790" y="3160"/>
                    <a:pt x="12103" y="3460"/>
                  </a:cubicBezTo>
                  <a:cubicBezTo>
                    <a:pt x="12728" y="4059"/>
                    <a:pt x="13340" y="4645"/>
                    <a:pt x="13938" y="5217"/>
                  </a:cubicBezTo>
                  <a:cubicBezTo>
                    <a:pt x="14535" y="5789"/>
                    <a:pt x="15118" y="6349"/>
                    <a:pt x="15687" y="6895"/>
                  </a:cubicBezTo>
                  <a:cubicBezTo>
                    <a:pt x="15758" y="6962"/>
                    <a:pt x="15828" y="7031"/>
                    <a:pt x="15899" y="7099"/>
                  </a:cubicBezTo>
                  <a:cubicBezTo>
                    <a:pt x="16005" y="7200"/>
                    <a:pt x="16005" y="7200"/>
                    <a:pt x="16005" y="7200"/>
                  </a:cubicBezTo>
                  <a:cubicBezTo>
                    <a:pt x="16056" y="7250"/>
                    <a:pt x="16080" y="7275"/>
                    <a:pt x="16115" y="7310"/>
                  </a:cubicBezTo>
                  <a:cubicBezTo>
                    <a:pt x="16247" y="7444"/>
                    <a:pt x="16382" y="7573"/>
                    <a:pt x="16518" y="7699"/>
                  </a:cubicBezTo>
                  <a:cubicBezTo>
                    <a:pt x="16791" y="7950"/>
                    <a:pt x="17069" y="8187"/>
                    <a:pt x="17354" y="8408"/>
                  </a:cubicBezTo>
                  <a:cubicBezTo>
                    <a:pt x="18492" y="9297"/>
                    <a:pt x="19712" y="9948"/>
                    <a:pt x="20914" y="10403"/>
                  </a:cubicBezTo>
                  <a:cubicBezTo>
                    <a:pt x="22117" y="10855"/>
                    <a:pt x="23303" y="11115"/>
                    <a:pt x="24413" y="11240"/>
                  </a:cubicBezTo>
                  <a:cubicBezTo>
                    <a:pt x="25523" y="11365"/>
                    <a:pt x="26559" y="11363"/>
                    <a:pt x="27492" y="11284"/>
                  </a:cubicBezTo>
                  <a:cubicBezTo>
                    <a:pt x="29363" y="11127"/>
                    <a:pt x="30811" y="10669"/>
                    <a:pt x="31821" y="10275"/>
                  </a:cubicBezTo>
                  <a:cubicBezTo>
                    <a:pt x="32482" y="10020"/>
                    <a:pt x="32949" y="9799"/>
                    <a:pt x="33252" y="9663"/>
                  </a:cubicBezTo>
                  <a:cubicBezTo>
                    <a:pt x="33555" y="9526"/>
                    <a:pt x="33699" y="9474"/>
                    <a:pt x="33698" y="9519"/>
                  </a:cubicBezTo>
                  <a:cubicBezTo>
                    <a:pt x="33694" y="9562"/>
                    <a:pt x="33543" y="9703"/>
                    <a:pt x="33234" y="9920"/>
                  </a:cubicBezTo>
                  <a:cubicBezTo>
                    <a:pt x="32926" y="10137"/>
                    <a:pt x="32457" y="10434"/>
                    <a:pt x="31776" y="10761"/>
                  </a:cubicBezTo>
                  <a:cubicBezTo>
                    <a:pt x="31610" y="10855"/>
                    <a:pt x="31233" y="11043"/>
                    <a:pt x="30648" y="11259"/>
                  </a:cubicBezTo>
                  <a:cubicBezTo>
                    <a:pt x="30063" y="11475"/>
                    <a:pt x="29266" y="11719"/>
                    <a:pt x="28270" y="11894"/>
                  </a:cubicBezTo>
                  <a:cubicBezTo>
                    <a:pt x="27276" y="12069"/>
                    <a:pt x="26083" y="12171"/>
                    <a:pt x="24737" y="12098"/>
                  </a:cubicBezTo>
                  <a:cubicBezTo>
                    <a:pt x="23394" y="12022"/>
                    <a:pt x="21893" y="11762"/>
                    <a:pt x="20355" y="11189"/>
                  </a:cubicBezTo>
                  <a:cubicBezTo>
                    <a:pt x="18655" y="10556"/>
                    <a:pt x="17026" y="9579"/>
                    <a:pt x="15632" y="8284"/>
                  </a:cubicBezTo>
                  <a:cubicBezTo>
                    <a:pt x="15545" y="8203"/>
                    <a:pt x="15459" y="8121"/>
                    <a:pt x="15373" y="8037"/>
                  </a:cubicBezTo>
                  <a:cubicBezTo>
                    <a:pt x="15310" y="7975"/>
                    <a:pt x="15310" y="7975"/>
                    <a:pt x="15310" y="7975"/>
                  </a:cubicBezTo>
                  <a:cubicBezTo>
                    <a:pt x="15258" y="7928"/>
                    <a:pt x="15258" y="7928"/>
                    <a:pt x="15258" y="7928"/>
                  </a:cubicBezTo>
                  <a:cubicBezTo>
                    <a:pt x="15133" y="7811"/>
                    <a:pt x="15133" y="7811"/>
                    <a:pt x="15133" y="7811"/>
                  </a:cubicBezTo>
                  <a:cubicBezTo>
                    <a:pt x="14965" y="7655"/>
                    <a:pt x="14797" y="7498"/>
                    <a:pt x="14628" y="7341"/>
                  </a:cubicBezTo>
                  <a:cubicBezTo>
                    <a:pt x="14290" y="7026"/>
                    <a:pt x="13951" y="6711"/>
                    <a:pt x="13611" y="6393"/>
                  </a:cubicBezTo>
                  <a:cubicBezTo>
                    <a:pt x="12930" y="5760"/>
                    <a:pt x="12244" y="5120"/>
                    <a:pt x="11552" y="4476"/>
                  </a:cubicBezTo>
                  <a:cubicBezTo>
                    <a:pt x="11206" y="4153"/>
                    <a:pt x="10859" y="3829"/>
                    <a:pt x="10511" y="3505"/>
                  </a:cubicBezTo>
                  <a:cubicBezTo>
                    <a:pt x="10337" y="3343"/>
                    <a:pt x="10163" y="3179"/>
                    <a:pt x="9988" y="3016"/>
                  </a:cubicBezTo>
                  <a:cubicBezTo>
                    <a:pt x="9726" y="2773"/>
                    <a:pt x="9726" y="2773"/>
                    <a:pt x="9726" y="2773"/>
                  </a:cubicBezTo>
                  <a:cubicBezTo>
                    <a:pt x="9664" y="2716"/>
                    <a:pt x="9664" y="2716"/>
                    <a:pt x="9664" y="2716"/>
                  </a:cubicBezTo>
                  <a:cubicBezTo>
                    <a:pt x="9605" y="2664"/>
                    <a:pt x="9605" y="2664"/>
                    <a:pt x="9605" y="2664"/>
                  </a:cubicBezTo>
                  <a:cubicBezTo>
                    <a:pt x="9481" y="2558"/>
                    <a:pt x="9481" y="2558"/>
                    <a:pt x="9481" y="2558"/>
                  </a:cubicBezTo>
                  <a:cubicBezTo>
                    <a:pt x="8812" y="2003"/>
                    <a:pt x="8011" y="1596"/>
                    <a:pt x="7158" y="1391"/>
                  </a:cubicBezTo>
                  <a:cubicBezTo>
                    <a:pt x="6731" y="1288"/>
                    <a:pt x="6290" y="1232"/>
                    <a:pt x="5849" y="1231"/>
                  </a:cubicBezTo>
                  <a:cubicBezTo>
                    <a:pt x="5362" y="1232"/>
                    <a:pt x="4873" y="1234"/>
                    <a:pt x="4383" y="1236"/>
                  </a:cubicBezTo>
                  <a:cubicBezTo>
                    <a:pt x="3489" y="1238"/>
                    <a:pt x="2017" y="1245"/>
                    <a:pt x="1688" y="1245"/>
                  </a:cubicBezTo>
                  <a:cubicBezTo>
                    <a:pt x="1360" y="1245"/>
                    <a:pt x="1347" y="1468"/>
                    <a:pt x="1347" y="1590"/>
                  </a:cubicBezTo>
                  <a:cubicBezTo>
                    <a:pt x="1347" y="1712"/>
                    <a:pt x="1383" y="13232"/>
                    <a:pt x="1401" y="19072"/>
                  </a:cubicBezTo>
                  <a:cubicBezTo>
                    <a:pt x="1402" y="19441"/>
                    <a:pt x="1403" y="19813"/>
                    <a:pt x="1405" y="20182"/>
                  </a:cubicBezTo>
                  <a:cubicBezTo>
                    <a:pt x="1407" y="20736"/>
                    <a:pt x="1407" y="20736"/>
                    <a:pt x="1407" y="20736"/>
                  </a:cubicBezTo>
                  <a:cubicBezTo>
                    <a:pt x="1408" y="21014"/>
                    <a:pt x="1408" y="21014"/>
                    <a:pt x="1408" y="21014"/>
                  </a:cubicBezTo>
                  <a:cubicBezTo>
                    <a:pt x="1408" y="21153"/>
                    <a:pt x="1408" y="21153"/>
                    <a:pt x="1408" y="21153"/>
                  </a:cubicBezTo>
                  <a:cubicBezTo>
                    <a:pt x="1409" y="21189"/>
                    <a:pt x="1409" y="21219"/>
                    <a:pt x="1412" y="21255"/>
                  </a:cubicBezTo>
                  <a:cubicBezTo>
                    <a:pt x="1439" y="21791"/>
                    <a:pt x="1721" y="22330"/>
                    <a:pt x="2150" y="22770"/>
                  </a:cubicBezTo>
                  <a:cubicBezTo>
                    <a:pt x="2577" y="23210"/>
                    <a:pt x="3136" y="23556"/>
                    <a:pt x="3727" y="23767"/>
                  </a:cubicBezTo>
                  <a:cubicBezTo>
                    <a:pt x="4023" y="23872"/>
                    <a:pt x="4328" y="23944"/>
                    <a:pt x="4629" y="23973"/>
                  </a:cubicBezTo>
                  <a:cubicBezTo>
                    <a:pt x="4703" y="23980"/>
                    <a:pt x="4778" y="23985"/>
                    <a:pt x="4852" y="23987"/>
                  </a:cubicBezTo>
                  <a:cubicBezTo>
                    <a:pt x="4891" y="23987"/>
                    <a:pt x="4922" y="23987"/>
                    <a:pt x="4967" y="23987"/>
                  </a:cubicBezTo>
                  <a:cubicBezTo>
                    <a:pt x="5103" y="23987"/>
                    <a:pt x="5103" y="23987"/>
                    <a:pt x="5103" y="23987"/>
                  </a:cubicBezTo>
                  <a:cubicBezTo>
                    <a:pt x="5283" y="23987"/>
                    <a:pt x="5461" y="23983"/>
                    <a:pt x="5638" y="23980"/>
                  </a:cubicBezTo>
                  <a:cubicBezTo>
                    <a:pt x="5814" y="23976"/>
                    <a:pt x="5988" y="23969"/>
                    <a:pt x="6158" y="23960"/>
                  </a:cubicBezTo>
                  <a:cubicBezTo>
                    <a:pt x="6222" y="23954"/>
                    <a:pt x="6222" y="23954"/>
                    <a:pt x="6222" y="23954"/>
                  </a:cubicBezTo>
                  <a:cubicBezTo>
                    <a:pt x="6271" y="23951"/>
                    <a:pt x="6271" y="23951"/>
                    <a:pt x="6271" y="23951"/>
                  </a:cubicBezTo>
                  <a:cubicBezTo>
                    <a:pt x="6303" y="23947"/>
                    <a:pt x="6334" y="23944"/>
                    <a:pt x="6366" y="23938"/>
                  </a:cubicBezTo>
                  <a:cubicBezTo>
                    <a:pt x="6397" y="23933"/>
                    <a:pt x="6428" y="23928"/>
                    <a:pt x="6458" y="23917"/>
                  </a:cubicBezTo>
                  <a:cubicBezTo>
                    <a:pt x="6488" y="23904"/>
                    <a:pt x="6513" y="23881"/>
                    <a:pt x="6527" y="23854"/>
                  </a:cubicBezTo>
                  <a:cubicBezTo>
                    <a:pt x="6556" y="23794"/>
                    <a:pt x="6548" y="23727"/>
                    <a:pt x="6548" y="23664"/>
                  </a:cubicBezTo>
                  <a:cubicBezTo>
                    <a:pt x="6545" y="23002"/>
                    <a:pt x="6541" y="22344"/>
                    <a:pt x="6537" y="21686"/>
                  </a:cubicBezTo>
                  <a:cubicBezTo>
                    <a:pt x="6528" y="20247"/>
                    <a:pt x="6520" y="18819"/>
                    <a:pt x="6511" y="17404"/>
                  </a:cubicBezTo>
                  <a:cubicBezTo>
                    <a:pt x="6510" y="17218"/>
                    <a:pt x="6509" y="17034"/>
                    <a:pt x="6508" y="16849"/>
                  </a:cubicBezTo>
                  <a:cubicBezTo>
                    <a:pt x="6511" y="16629"/>
                    <a:pt x="6533" y="16407"/>
                    <a:pt x="6571" y="16189"/>
                  </a:cubicBezTo>
                  <a:cubicBezTo>
                    <a:pt x="6649" y="15752"/>
                    <a:pt x="6799" y="15325"/>
                    <a:pt x="7014" y="14932"/>
                  </a:cubicBezTo>
                  <a:cubicBezTo>
                    <a:pt x="7441" y="14148"/>
                    <a:pt x="8130" y="13500"/>
                    <a:pt x="8964" y="13129"/>
                  </a:cubicBezTo>
                  <a:cubicBezTo>
                    <a:pt x="9381" y="12943"/>
                    <a:pt x="9833" y="12826"/>
                    <a:pt x="10292" y="12792"/>
                  </a:cubicBezTo>
                  <a:cubicBezTo>
                    <a:pt x="10405" y="12783"/>
                    <a:pt x="10526" y="12779"/>
                    <a:pt x="10633" y="12779"/>
                  </a:cubicBezTo>
                  <a:cubicBezTo>
                    <a:pt x="10738" y="12781"/>
                    <a:pt x="10843" y="12783"/>
                    <a:pt x="10948" y="12788"/>
                  </a:cubicBezTo>
                  <a:cubicBezTo>
                    <a:pt x="11158" y="12799"/>
                    <a:pt x="11367" y="12821"/>
                    <a:pt x="11575" y="12851"/>
                  </a:cubicBezTo>
                  <a:cubicBezTo>
                    <a:pt x="12409" y="12972"/>
                    <a:pt x="13207" y="13255"/>
                    <a:pt x="13931" y="13628"/>
                  </a:cubicBezTo>
                  <a:cubicBezTo>
                    <a:pt x="14656" y="14002"/>
                    <a:pt x="15313" y="14460"/>
                    <a:pt x="15923" y="14945"/>
                  </a:cubicBezTo>
                  <a:cubicBezTo>
                    <a:pt x="16534" y="15431"/>
                    <a:pt x="17099" y="15949"/>
                    <a:pt x="17646" y="16461"/>
                  </a:cubicBezTo>
                  <a:cubicBezTo>
                    <a:pt x="17916" y="16715"/>
                    <a:pt x="18185" y="16969"/>
                    <a:pt x="18455" y="17222"/>
                  </a:cubicBezTo>
                  <a:cubicBezTo>
                    <a:pt x="18854" y="17591"/>
                    <a:pt x="18854" y="17591"/>
                    <a:pt x="18854" y="17591"/>
                  </a:cubicBezTo>
                  <a:cubicBezTo>
                    <a:pt x="18989" y="17714"/>
                    <a:pt x="19125" y="17837"/>
                    <a:pt x="19260" y="17958"/>
                  </a:cubicBezTo>
                  <a:cubicBezTo>
                    <a:pt x="19815" y="18455"/>
                    <a:pt x="20354" y="18956"/>
                    <a:pt x="20887" y="19441"/>
                  </a:cubicBezTo>
                  <a:cubicBezTo>
                    <a:pt x="21420" y="19926"/>
                    <a:pt x="21949" y="20397"/>
                    <a:pt x="22486" y="20819"/>
                  </a:cubicBezTo>
                  <a:cubicBezTo>
                    <a:pt x="23023" y="21239"/>
                    <a:pt x="23571" y="21614"/>
                    <a:pt x="24131" y="21883"/>
                  </a:cubicBezTo>
                  <a:cubicBezTo>
                    <a:pt x="24692" y="22151"/>
                    <a:pt x="25262" y="22308"/>
                    <a:pt x="25829" y="22317"/>
                  </a:cubicBezTo>
                  <a:cubicBezTo>
                    <a:pt x="26396" y="22330"/>
                    <a:pt x="26958" y="22198"/>
                    <a:pt x="27497" y="21966"/>
                  </a:cubicBezTo>
                  <a:cubicBezTo>
                    <a:pt x="28038" y="21733"/>
                    <a:pt x="28553" y="21409"/>
                    <a:pt x="29047" y="21052"/>
                  </a:cubicBezTo>
                  <a:cubicBezTo>
                    <a:pt x="29540" y="20695"/>
                    <a:pt x="30011" y="20303"/>
                    <a:pt x="30470" y="19910"/>
                  </a:cubicBezTo>
                  <a:cubicBezTo>
                    <a:pt x="30928" y="19515"/>
                    <a:pt x="31373" y="19117"/>
                    <a:pt x="31813" y="18727"/>
                  </a:cubicBezTo>
                  <a:cubicBezTo>
                    <a:pt x="32033" y="18535"/>
                    <a:pt x="32252" y="18343"/>
                    <a:pt x="32467" y="18154"/>
                  </a:cubicBezTo>
                  <a:cubicBezTo>
                    <a:pt x="32575" y="18060"/>
                    <a:pt x="32683" y="17968"/>
                    <a:pt x="32789" y="17876"/>
                  </a:cubicBezTo>
                  <a:cubicBezTo>
                    <a:pt x="32892" y="17784"/>
                    <a:pt x="32994" y="17696"/>
                    <a:pt x="33095" y="17606"/>
                  </a:cubicBezTo>
                  <a:cubicBezTo>
                    <a:pt x="34015" y="16784"/>
                    <a:pt x="34917" y="15904"/>
                    <a:pt x="35917" y="15125"/>
                  </a:cubicBezTo>
                  <a:cubicBezTo>
                    <a:pt x="36417" y="14735"/>
                    <a:pt x="36941" y="14371"/>
                    <a:pt x="37500" y="14056"/>
                  </a:cubicBezTo>
                  <a:cubicBezTo>
                    <a:pt x="38058" y="13742"/>
                    <a:pt x="38653" y="13479"/>
                    <a:pt x="39276" y="13302"/>
                  </a:cubicBezTo>
                  <a:cubicBezTo>
                    <a:pt x="39900" y="13123"/>
                    <a:pt x="40546" y="13035"/>
                    <a:pt x="41196" y="13049"/>
                  </a:cubicBezTo>
                  <a:cubicBezTo>
                    <a:pt x="41882" y="13066"/>
                    <a:pt x="42554" y="13279"/>
                    <a:pt x="43119" y="13639"/>
                  </a:cubicBezTo>
                  <a:cubicBezTo>
                    <a:pt x="43685" y="13998"/>
                    <a:pt x="44146" y="14501"/>
                    <a:pt x="44458" y="15078"/>
                  </a:cubicBezTo>
                  <a:cubicBezTo>
                    <a:pt x="44772" y="15655"/>
                    <a:pt x="44929" y="16315"/>
                    <a:pt x="44919" y="16953"/>
                  </a:cubicBezTo>
                  <a:cubicBezTo>
                    <a:pt x="44904" y="17929"/>
                    <a:pt x="44888" y="18839"/>
                    <a:pt x="44875" y="19688"/>
                  </a:cubicBezTo>
                  <a:cubicBezTo>
                    <a:pt x="44866" y="20109"/>
                    <a:pt x="44859" y="20512"/>
                    <a:pt x="44851" y="20902"/>
                  </a:cubicBezTo>
                  <a:cubicBezTo>
                    <a:pt x="44850" y="20997"/>
                    <a:pt x="44848" y="21093"/>
                    <a:pt x="44846" y="21185"/>
                  </a:cubicBezTo>
                  <a:cubicBezTo>
                    <a:pt x="44844" y="21264"/>
                    <a:pt x="44848" y="21344"/>
                    <a:pt x="44856" y="21421"/>
                  </a:cubicBezTo>
                  <a:cubicBezTo>
                    <a:pt x="44871" y="21578"/>
                    <a:pt x="44905" y="21730"/>
                    <a:pt x="44952" y="21876"/>
                  </a:cubicBezTo>
                  <a:cubicBezTo>
                    <a:pt x="45063" y="22240"/>
                    <a:pt x="45263" y="22575"/>
                    <a:pt x="45499" y="22864"/>
                  </a:cubicBezTo>
                  <a:cubicBezTo>
                    <a:pt x="45735" y="23152"/>
                    <a:pt x="46005" y="23397"/>
                    <a:pt x="46280" y="23599"/>
                  </a:cubicBezTo>
                  <a:cubicBezTo>
                    <a:pt x="46414" y="23718"/>
                    <a:pt x="46493" y="23794"/>
                    <a:pt x="46508" y="23834"/>
                  </a:cubicBezTo>
                  <a:cubicBezTo>
                    <a:pt x="46525" y="23872"/>
                    <a:pt x="46476" y="23875"/>
                    <a:pt x="46364" y="2383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41">
              <a:extLst>
                <a:ext uri="{FF2B5EF4-FFF2-40B4-BE49-F238E27FC236}">
                  <a16:creationId xmlns:a16="http://schemas.microsoft.com/office/drawing/2014/main" id="{CCDEAABA-62DB-4A52-882E-768A3232FF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3369150" y="20088225"/>
              <a:ext cx="138082338" cy="94243525"/>
            </a:xfrm>
            <a:custGeom>
              <a:avLst/>
              <a:gdLst>
                <a:gd name="T0" fmla="*/ 33157 w 36820"/>
                <a:gd name="T1" fmla="*/ 17610 h 25129"/>
                <a:gd name="T2" fmla="*/ 31301 w 36820"/>
                <a:gd name="T3" fmla="*/ 19236 h 25129"/>
                <a:gd name="T4" fmla="*/ 25100 w 36820"/>
                <a:gd name="T5" fmla="*/ 22390 h 25129"/>
                <a:gd name="T6" fmla="*/ 19131 w 36820"/>
                <a:gd name="T7" fmla="*/ 18160 h 25129"/>
                <a:gd name="T8" fmla="*/ 16791 w 36820"/>
                <a:gd name="T9" fmla="*/ 15971 h 25129"/>
                <a:gd name="T10" fmla="*/ 10465 w 36820"/>
                <a:gd name="T11" fmla="*/ 12817 h 25129"/>
                <a:gd name="T12" fmla="*/ 6482 w 36820"/>
                <a:gd name="T13" fmla="*/ 16811 h 25129"/>
                <a:gd name="T14" fmla="*/ 6497 w 36820"/>
                <a:gd name="T15" fmla="*/ 23614 h 25129"/>
                <a:gd name="T16" fmla="*/ 6308 w 36820"/>
                <a:gd name="T17" fmla="*/ 23899 h 25129"/>
                <a:gd name="T18" fmla="*/ 5806 w 36820"/>
                <a:gd name="T19" fmla="*/ 23944 h 25129"/>
                <a:gd name="T20" fmla="*/ 4640 w 36820"/>
                <a:gd name="T21" fmla="*/ 23962 h 25129"/>
                <a:gd name="T22" fmla="*/ 1800 w 36820"/>
                <a:gd name="T23" fmla="*/ 22601 h 25129"/>
                <a:gd name="T24" fmla="*/ 1131 w 36820"/>
                <a:gd name="T25" fmla="*/ 21000 h 25129"/>
                <a:gd name="T26" fmla="*/ 1125 w 36820"/>
                <a:gd name="T27" fmla="*/ 19849 h 25129"/>
                <a:gd name="T28" fmla="*/ 1067 w 36820"/>
                <a:gd name="T29" fmla="*/ 1406 h 25129"/>
                <a:gd name="T30" fmla="*/ 4890 w 36820"/>
                <a:gd name="T31" fmla="*/ 979 h 25129"/>
                <a:gd name="T32" fmla="*/ 6055 w 36820"/>
                <a:gd name="T33" fmla="*/ 990 h 25129"/>
                <a:gd name="T34" fmla="*/ 9525 w 36820"/>
                <a:gd name="T35" fmla="*/ 2439 h 25129"/>
                <a:gd name="T36" fmla="*/ 14951 w 36820"/>
                <a:gd name="T37" fmla="*/ 7491 h 25129"/>
                <a:gd name="T38" fmla="*/ 15349 w 36820"/>
                <a:gd name="T39" fmla="*/ 7866 h 25129"/>
                <a:gd name="T40" fmla="*/ 19828 w 36820"/>
                <a:gd name="T41" fmla="*/ 10768 h 25129"/>
                <a:gd name="T42" fmla="*/ 25667 w 36820"/>
                <a:gd name="T43" fmla="*/ 11755 h 25129"/>
                <a:gd name="T44" fmla="*/ 27175 w 36820"/>
                <a:gd name="T45" fmla="*/ 11422 h 25129"/>
                <a:gd name="T46" fmla="*/ 19925 w 36820"/>
                <a:gd name="T47" fmla="*/ 10078 h 25129"/>
                <a:gd name="T48" fmla="*/ 15813 w 36820"/>
                <a:gd name="T49" fmla="*/ 7218 h 25129"/>
                <a:gd name="T50" fmla="*/ 12067 w 36820"/>
                <a:gd name="T51" fmla="*/ 3623 h 25129"/>
                <a:gd name="T52" fmla="*/ 9771 w 36820"/>
                <a:gd name="T53" fmla="*/ 1472 h 25129"/>
                <a:gd name="T54" fmla="*/ 5986 w 36820"/>
                <a:gd name="T55" fmla="*/ 39 h 25129"/>
                <a:gd name="T56" fmla="*/ 5400 w 36820"/>
                <a:gd name="T57" fmla="*/ 27 h 25129"/>
                <a:gd name="T58" fmla="*/ 71 w 36820"/>
                <a:gd name="T59" fmla="*/ 993 h 25129"/>
                <a:gd name="T60" fmla="*/ 1 w 36820"/>
                <a:gd name="T61" fmla="*/ 20107 h 25129"/>
                <a:gd name="T62" fmla="*/ 32 w 36820"/>
                <a:gd name="T63" fmla="*/ 21470 h 25129"/>
                <a:gd name="T64" fmla="*/ 2779 w 36820"/>
                <a:gd name="T65" fmla="*/ 24682 h 25129"/>
                <a:gd name="T66" fmla="*/ 4684 w 36820"/>
                <a:gd name="T67" fmla="*/ 25127 h 25129"/>
                <a:gd name="T68" fmla="*/ 5826 w 36820"/>
                <a:gd name="T69" fmla="*/ 25114 h 25129"/>
                <a:gd name="T70" fmla="*/ 7084 w 36820"/>
                <a:gd name="T71" fmla="*/ 24932 h 25129"/>
                <a:gd name="T72" fmla="*/ 7660 w 36820"/>
                <a:gd name="T73" fmla="*/ 24067 h 25129"/>
                <a:gd name="T74" fmla="*/ 7660 w 36820"/>
                <a:gd name="T75" fmla="*/ 18425 h 25129"/>
                <a:gd name="T76" fmla="*/ 7731 w 36820"/>
                <a:gd name="T77" fmla="*/ 16128 h 25129"/>
                <a:gd name="T78" fmla="*/ 10204 w 36820"/>
                <a:gd name="T79" fmla="*/ 13959 h 25129"/>
                <a:gd name="T80" fmla="*/ 12766 w 36820"/>
                <a:gd name="T81" fmla="*/ 14442 h 25129"/>
                <a:gd name="T82" fmla="*/ 17826 w 36820"/>
                <a:gd name="T83" fmla="*/ 18324 h 25129"/>
                <a:gd name="T84" fmla="*/ 22447 w 36820"/>
                <a:gd name="T85" fmla="*/ 22172 h 25129"/>
                <a:gd name="T86" fmla="*/ 27714 w 36820"/>
                <a:gd name="T87" fmla="*/ 22778 h 25129"/>
                <a:gd name="T88" fmla="*/ 32962 w 36820"/>
                <a:gd name="T89" fmla="*/ 18513 h 25129"/>
                <a:gd name="T90" fmla="*/ 36667 w 36820"/>
                <a:gd name="T91" fmla="*/ 14875 h 25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820" h="25129">
                  <a:moveTo>
                    <a:pt x="36432" y="14878"/>
                  </a:moveTo>
                  <a:cubicBezTo>
                    <a:pt x="35876" y="15259"/>
                    <a:pt x="35364" y="15654"/>
                    <a:pt x="34673" y="16254"/>
                  </a:cubicBezTo>
                  <a:cubicBezTo>
                    <a:pt x="34238" y="16629"/>
                    <a:pt x="33725" y="17103"/>
                    <a:pt x="33157" y="17610"/>
                  </a:cubicBezTo>
                  <a:cubicBezTo>
                    <a:pt x="33015" y="17736"/>
                    <a:pt x="32870" y="17864"/>
                    <a:pt x="32718" y="17992"/>
                  </a:cubicBezTo>
                  <a:cubicBezTo>
                    <a:pt x="32567" y="18124"/>
                    <a:pt x="32412" y="18259"/>
                    <a:pt x="32255" y="18394"/>
                  </a:cubicBezTo>
                  <a:cubicBezTo>
                    <a:pt x="31943" y="18670"/>
                    <a:pt x="31624" y="18951"/>
                    <a:pt x="31301" y="19236"/>
                  </a:cubicBezTo>
                  <a:cubicBezTo>
                    <a:pt x="30558" y="19898"/>
                    <a:pt x="29815" y="20560"/>
                    <a:pt x="29025" y="21137"/>
                  </a:cubicBezTo>
                  <a:cubicBezTo>
                    <a:pt x="28236" y="21708"/>
                    <a:pt x="27385" y="22199"/>
                    <a:pt x="26478" y="22374"/>
                  </a:cubicBezTo>
                  <a:cubicBezTo>
                    <a:pt x="26026" y="22462"/>
                    <a:pt x="25560" y="22467"/>
                    <a:pt x="25100" y="22390"/>
                  </a:cubicBezTo>
                  <a:cubicBezTo>
                    <a:pt x="24641" y="22312"/>
                    <a:pt x="24189" y="22148"/>
                    <a:pt x="23756" y="21930"/>
                  </a:cubicBezTo>
                  <a:cubicBezTo>
                    <a:pt x="22888" y="21488"/>
                    <a:pt x="22097" y="20846"/>
                    <a:pt x="21355" y="20199"/>
                  </a:cubicBezTo>
                  <a:cubicBezTo>
                    <a:pt x="20634" y="19566"/>
                    <a:pt x="19905" y="18867"/>
                    <a:pt x="19131" y="18160"/>
                  </a:cubicBezTo>
                  <a:cubicBezTo>
                    <a:pt x="18939" y="17987"/>
                    <a:pt x="18746" y="17810"/>
                    <a:pt x="18551" y="17633"/>
                  </a:cubicBezTo>
                  <a:cubicBezTo>
                    <a:pt x="18361" y="17458"/>
                    <a:pt x="18170" y="17276"/>
                    <a:pt x="17977" y="17094"/>
                  </a:cubicBezTo>
                  <a:cubicBezTo>
                    <a:pt x="17592" y="16726"/>
                    <a:pt x="17200" y="16348"/>
                    <a:pt x="16791" y="15971"/>
                  </a:cubicBezTo>
                  <a:cubicBezTo>
                    <a:pt x="15972" y="15221"/>
                    <a:pt x="15086" y="14464"/>
                    <a:pt x="14038" y="13858"/>
                  </a:cubicBezTo>
                  <a:cubicBezTo>
                    <a:pt x="13515" y="13555"/>
                    <a:pt x="12950" y="13295"/>
                    <a:pt x="12348" y="13109"/>
                  </a:cubicBezTo>
                  <a:cubicBezTo>
                    <a:pt x="11746" y="12926"/>
                    <a:pt x="11108" y="12821"/>
                    <a:pt x="10465" y="12817"/>
                  </a:cubicBezTo>
                  <a:cubicBezTo>
                    <a:pt x="9777" y="12807"/>
                    <a:pt x="9074" y="12994"/>
                    <a:pt x="8475" y="13344"/>
                  </a:cubicBezTo>
                  <a:cubicBezTo>
                    <a:pt x="7873" y="13695"/>
                    <a:pt x="7368" y="14204"/>
                    <a:pt x="7019" y="14808"/>
                  </a:cubicBezTo>
                  <a:cubicBezTo>
                    <a:pt x="6668" y="15410"/>
                    <a:pt x="6479" y="16115"/>
                    <a:pt x="6482" y="16811"/>
                  </a:cubicBezTo>
                  <a:cubicBezTo>
                    <a:pt x="6482" y="17401"/>
                    <a:pt x="6482" y="17992"/>
                    <a:pt x="6482" y="18580"/>
                  </a:cubicBezTo>
                  <a:cubicBezTo>
                    <a:pt x="6485" y="19759"/>
                    <a:pt x="6487" y="20935"/>
                    <a:pt x="6489" y="22101"/>
                  </a:cubicBezTo>
                  <a:cubicBezTo>
                    <a:pt x="6492" y="22608"/>
                    <a:pt x="6495" y="23111"/>
                    <a:pt x="6497" y="23614"/>
                  </a:cubicBezTo>
                  <a:cubicBezTo>
                    <a:pt x="6498" y="23677"/>
                    <a:pt x="6498" y="23746"/>
                    <a:pt x="6467" y="23803"/>
                  </a:cubicBezTo>
                  <a:cubicBezTo>
                    <a:pt x="6451" y="23831"/>
                    <a:pt x="6427" y="23854"/>
                    <a:pt x="6399" y="23870"/>
                  </a:cubicBezTo>
                  <a:cubicBezTo>
                    <a:pt x="6371" y="23885"/>
                    <a:pt x="6339" y="23892"/>
                    <a:pt x="6308" y="23899"/>
                  </a:cubicBezTo>
                  <a:cubicBezTo>
                    <a:pt x="6246" y="23912"/>
                    <a:pt x="6182" y="23919"/>
                    <a:pt x="6118" y="23924"/>
                  </a:cubicBezTo>
                  <a:cubicBezTo>
                    <a:pt x="6010" y="23933"/>
                    <a:pt x="6010" y="23933"/>
                    <a:pt x="6010" y="23933"/>
                  </a:cubicBezTo>
                  <a:cubicBezTo>
                    <a:pt x="5806" y="23944"/>
                    <a:pt x="5806" y="23944"/>
                    <a:pt x="5806" y="23944"/>
                  </a:cubicBezTo>
                  <a:cubicBezTo>
                    <a:pt x="5547" y="23955"/>
                    <a:pt x="5283" y="23960"/>
                    <a:pt x="5016" y="23962"/>
                  </a:cubicBezTo>
                  <a:cubicBezTo>
                    <a:pt x="4815" y="23964"/>
                    <a:pt x="4815" y="23964"/>
                    <a:pt x="4815" y="23964"/>
                  </a:cubicBezTo>
                  <a:cubicBezTo>
                    <a:pt x="4750" y="23966"/>
                    <a:pt x="4699" y="23964"/>
                    <a:pt x="4640" y="23962"/>
                  </a:cubicBezTo>
                  <a:cubicBezTo>
                    <a:pt x="4525" y="23957"/>
                    <a:pt x="4409" y="23946"/>
                    <a:pt x="4294" y="23930"/>
                  </a:cubicBezTo>
                  <a:cubicBezTo>
                    <a:pt x="3831" y="23863"/>
                    <a:pt x="3365" y="23706"/>
                    <a:pt x="2937" y="23479"/>
                  </a:cubicBezTo>
                  <a:cubicBezTo>
                    <a:pt x="2508" y="23252"/>
                    <a:pt x="2114" y="22956"/>
                    <a:pt x="1800" y="22601"/>
                  </a:cubicBezTo>
                  <a:cubicBezTo>
                    <a:pt x="1487" y="22247"/>
                    <a:pt x="1257" y="21836"/>
                    <a:pt x="1172" y="21409"/>
                  </a:cubicBezTo>
                  <a:cubicBezTo>
                    <a:pt x="1150" y="21303"/>
                    <a:pt x="1136" y="21194"/>
                    <a:pt x="1133" y="21086"/>
                  </a:cubicBezTo>
                  <a:cubicBezTo>
                    <a:pt x="1131" y="21000"/>
                    <a:pt x="1131" y="21000"/>
                    <a:pt x="1131" y="21000"/>
                  </a:cubicBezTo>
                  <a:cubicBezTo>
                    <a:pt x="1130" y="20895"/>
                    <a:pt x="1130" y="20895"/>
                    <a:pt x="1130" y="20895"/>
                  </a:cubicBezTo>
                  <a:cubicBezTo>
                    <a:pt x="1130" y="20686"/>
                    <a:pt x="1130" y="20686"/>
                    <a:pt x="1130" y="20686"/>
                  </a:cubicBezTo>
                  <a:cubicBezTo>
                    <a:pt x="1128" y="20408"/>
                    <a:pt x="1127" y="20129"/>
                    <a:pt x="1125" y="19849"/>
                  </a:cubicBezTo>
                  <a:cubicBezTo>
                    <a:pt x="1123" y="19290"/>
                    <a:pt x="1120" y="18730"/>
                    <a:pt x="1118" y="18167"/>
                  </a:cubicBezTo>
                  <a:cubicBezTo>
                    <a:pt x="1114" y="17044"/>
                    <a:pt x="1109" y="15917"/>
                    <a:pt x="1105" y="14786"/>
                  </a:cubicBezTo>
                  <a:cubicBezTo>
                    <a:pt x="1092" y="10331"/>
                    <a:pt x="1067" y="1568"/>
                    <a:pt x="1067" y="1406"/>
                  </a:cubicBezTo>
                  <a:cubicBezTo>
                    <a:pt x="1067" y="1081"/>
                    <a:pt x="1164" y="988"/>
                    <a:pt x="1480" y="988"/>
                  </a:cubicBezTo>
                  <a:cubicBezTo>
                    <a:pt x="1933" y="988"/>
                    <a:pt x="2956" y="985"/>
                    <a:pt x="3689" y="982"/>
                  </a:cubicBezTo>
                  <a:cubicBezTo>
                    <a:pt x="4090" y="982"/>
                    <a:pt x="4490" y="980"/>
                    <a:pt x="4890" y="979"/>
                  </a:cubicBezTo>
                  <a:cubicBezTo>
                    <a:pt x="5089" y="978"/>
                    <a:pt x="5289" y="978"/>
                    <a:pt x="5488" y="977"/>
                  </a:cubicBezTo>
                  <a:cubicBezTo>
                    <a:pt x="5782" y="977"/>
                    <a:pt x="5782" y="977"/>
                    <a:pt x="5782" y="977"/>
                  </a:cubicBezTo>
                  <a:cubicBezTo>
                    <a:pt x="5868" y="980"/>
                    <a:pt x="5965" y="984"/>
                    <a:pt x="6055" y="990"/>
                  </a:cubicBezTo>
                  <a:cubicBezTo>
                    <a:pt x="6789" y="1041"/>
                    <a:pt x="7508" y="1231"/>
                    <a:pt x="8166" y="1545"/>
                  </a:cubicBezTo>
                  <a:cubicBezTo>
                    <a:pt x="8495" y="1700"/>
                    <a:pt x="8808" y="1887"/>
                    <a:pt x="9101" y="2101"/>
                  </a:cubicBezTo>
                  <a:cubicBezTo>
                    <a:pt x="9248" y="2207"/>
                    <a:pt x="9389" y="2321"/>
                    <a:pt x="9525" y="2439"/>
                  </a:cubicBezTo>
                  <a:cubicBezTo>
                    <a:pt x="9658" y="2556"/>
                    <a:pt x="9801" y="2695"/>
                    <a:pt x="9944" y="2827"/>
                  </a:cubicBezTo>
                  <a:cubicBezTo>
                    <a:pt x="11082" y="3888"/>
                    <a:pt x="12204" y="4934"/>
                    <a:pt x="13309" y="5963"/>
                  </a:cubicBezTo>
                  <a:cubicBezTo>
                    <a:pt x="13861" y="6478"/>
                    <a:pt x="14409" y="6987"/>
                    <a:pt x="14951" y="7491"/>
                  </a:cubicBezTo>
                  <a:cubicBezTo>
                    <a:pt x="15155" y="7680"/>
                    <a:pt x="15155" y="7680"/>
                    <a:pt x="15155" y="7680"/>
                  </a:cubicBezTo>
                  <a:cubicBezTo>
                    <a:pt x="15246" y="7767"/>
                    <a:pt x="15246" y="7767"/>
                    <a:pt x="15246" y="7767"/>
                  </a:cubicBezTo>
                  <a:cubicBezTo>
                    <a:pt x="15349" y="7866"/>
                    <a:pt x="15349" y="7866"/>
                    <a:pt x="15349" y="7866"/>
                  </a:cubicBezTo>
                  <a:cubicBezTo>
                    <a:pt x="15486" y="8000"/>
                    <a:pt x="15625" y="8128"/>
                    <a:pt x="15766" y="8254"/>
                  </a:cubicBezTo>
                  <a:cubicBezTo>
                    <a:pt x="16050" y="8505"/>
                    <a:pt x="16341" y="8744"/>
                    <a:pt x="16641" y="8970"/>
                  </a:cubicBezTo>
                  <a:cubicBezTo>
                    <a:pt x="17706" y="9776"/>
                    <a:pt x="18804" y="10356"/>
                    <a:pt x="19828" y="10768"/>
                  </a:cubicBezTo>
                  <a:cubicBezTo>
                    <a:pt x="20855" y="11180"/>
                    <a:pt x="21808" y="11423"/>
                    <a:pt x="22626" y="11568"/>
                  </a:cubicBezTo>
                  <a:cubicBezTo>
                    <a:pt x="23444" y="11713"/>
                    <a:pt x="24128" y="11763"/>
                    <a:pt x="24643" y="11779"/>
                  </a:cubicBezTo>
                  <a:cubicBezTo>
                    <a:pt x="25159" y="11792"/>
                    <a:pt x="25507" y="11773"/>
                    <a:pt x="25667" y="11755"/>
                  </a:cubicBezTo>
                  <a:cubicBezTo>
                    <a:pt x="26292" y="11727"/>
                    <a:pt x="26757" y="11664"/>
                    <a:pt x="27069" y="11608"/>
                  </a:cubicBezTo>
                  <a:cubicBezTo>
                    <a:pt x="27383" y="11552"/>
                    <a:pt x="27549" y="11499"/>
                    <a:pt x="27567" y="11469"/>
                  </a:cubicBezTo>
                  <a:cubicBezTo>
                    <a:pt x="27586" y="11436"/>
                    <a:pt x="27455" y="11424"/>
                    <a:pt x="27175" y="11422"/>
                  </a:cubicBezTo>
                  <a:cubicBezTo>
                    <a:pt x="26893" y="11416"/>
                    <a:pt x="26525" y="11420"/>
                    <a:pt x="25859" y="11398"/>
                  </a:cubicBezTo>
                  <a:cubicBezTo>
                    <a:pt x="25027" y="11367"/>
                    <a:pt x="23806" y="11287"/>
                    <a:pt x="22316" y="10912"/>
                  </a:cubicBezTo>
                  <a:cubicBezTo>
                    <a:pt x="21573" y="10721"/>
                    <a:pt x="20765" y="10457"/>
                    <a:pt x="19925" y="10078"/>
                  </a:cubicBezTo>
                  <a:cubicBezTo>
                    <a:pt x="19086" y="9698"/>
                    <a:pt x="18216" y="9206"/>
                    <a:pt x="17366" y="8573"/>
                  </a:cubicBezTo>
                  <a:cubicBezTo>
                    <a:pt x="16942" y="8256"/>
                    <a:pt x="16522" y="7904"/>
                    <a:pt x="16115" y="7516"/>
                  </a:cubicBezTo>
                  <a:cubicBezTo>
                    <a:pt x="16013" y="7420"/>
                    <a:pt x="15913" y="7320"/>
                    <a:pt x="15813" y="7218"/>
                  </a:cubicBezTo>
                  <a:cubicBezTo>
                    <a:pt x="15706" y="7114"/>
                    <a:pt x="15597" y="7010"/>
                    <a:pt x="15488" y="6905"/>
                  </a:cubicBezTo>
                  <a:cubicBezTo>
                    <a:pt x="15274" y="6699"/>
                    <a:pt x="15058" y="6490"/>
                    <a:pt x="14838" y="6279"/>
                  </a:cubicBezTo>
                  <a:cubicBezTo>
                    <a:pt x="13957" y="5435"/>
                    <a:pt x="13032" y="4548"/>
                    <a:pt x="12067" y="3623"/>
                  </a:cubicBezTo>
                  <a:cubicBezTo>
                    <a:pt x="11583" y="3160"/>
                    <a:pt x="11089" y="2687"/>
                    <a:pt x="10586" y="2205"/>
                  </a:cubicBezTo>
                  <a:cubicBezTo>
                    <a:pt x="10459" y="2085"/>
                    <a:pt x="10331" y="1963"/>
                    <a:pt x="10203" y="1841"/>
                  </a:cubicBezTo>
                  <a:cubicBezTo>
                    <a:pt x="10062" y="1710"/>
                    <a:pt x="9921" y="1590"/>
                    <a:pt x="9771" y="1472"/>
                  </a:cubicBezTo>
                  <a:cubicBezTo>
                    <a:pt x="9473" y="1239"/>
                    <a:pt x="9152" y="1028"/>
                    <a:pt x="8813" y="844"/>
                  </a:cubicBezTo>
                  <a:cubicBezTo>
                    <a:pt x="8134" y="476"/>
                    <a:pt x="7377" y="218"/>
                    <a:pt x="6586" y="101"/>
                  </a:cubicBezTo>
                  <a:cubicBezTo>
                    <a:pt x="6388" y="72"/>
                    <a:pt x="6188" y="52"/>
                    <a:pt x="5986" y="39"/>
                  </a:cubicBezTo>
                  <a:cubicBezTo>
                    <a:pt x="5834" y="32"/>
                    <a:pt x="5834" y="32"/>
                    <a:pt x="5834" y="32"/>
                  </a:cubicBezTo>
                  <a:cubicBezTo>
                    <a:pt x="5778" y="30"/>
                    <a:pt x="5731" y="29"/>
                    <a:pt x="5685" y="29"/>
                  </a:cubicBezTo>
                  <a:cubicBezTo>
                    <a:pt x="5590" y="28"/>
                    <a:pt x="5495" y="28"/>
                    <a:pt x="5400" y="27"/>
                  </a:cubicBezTo>
                  <a:cubicBezTo>
                    <a:pt x="5021" y="25"/>
                    <a:pt x="4638" y="22"/>
                    <a:pt x="4253" y="19"/>
                  </a:cubicBezTo>
                  <a:cubicBezTo>
                    <a:pt x="3214" y="13"/>
                    <a:pt x="1826" y="0"/>
                    <a:pt x="1071" y="0"/>
                  </a:cubicBezTo>
                  <a:cubicBezTo>
                    <a:pt x="316" y="0"/>
                    <a:pt x="71" y="462"/>
                    <a:pt x="71" y="993"/>
                  </a:cubicBezTo>
                  <a:cubicBezTo>
                    <a:pt x="71" y="1480"/>
                    <a:pt x="57" y="3521"/>
                    <a:pt x="51" y="4786"/>
                  </a:cubicBezTo>
                  <a:cubicBezTo>
                    <a:pt x="37" y="8137"/>
                    <a:pt x="23" y="11548"/>
                    <a:pt x="9" y="14968"/>
                  </a:cubicBezTo>
                  <a:cubicBezTo>
                    <a:pt x="7" y="16681"/>
                    <a:pt x="4" y="18396"/>
                    <a:pt x="1" y="20107"/>
                  </a:cubicBezTo>
                  <a:cubicBezTo>
                    <a:pt x="0" y="20749"/>
                    <a:pt x="0" y="20749"/>
                    <a:pt x="0" y="20749"/>
                  </a:cubicBezTo>
                  <a:cubicBezTo>
                    <a:pt x="2" y="21079"/>
                    <a:pt x="2" y="21079"/>
                    <a:pt x="2" y="21079"/>
                  </a:cubicBezTo>
                  <a:cubicBezTo>
                    <a:pt x="3" y="21211"/>
                    <a:pt x="14" y="21340"/>
                    <a:pt x="32" y="21470"/>
                  </a:cubicBezTo>
                  <a:cubicBezTo>
                    <a:pt x="107" y="21988"/>
                    <a:pt x="310" y="22469"/>
                    <a:pt x="582" y="22884"/>
                  </a:cubicBezTo>
                  <a:cubicBezTo>
                    <a:pt x="855" y="23299"/>
                    <a:pt x="1193" y="23650"/>
                    <a:pt x="1566" y="23950"/>
                  </a:cubicBezTo>
                  <a:cubicBezTo>
                    <a:pt x="1939" y="24247"/>
                    <a:pt x="2347" y="24492"/>
                    <a:pt x="2779" y="24682"/>
                  </a:cubicBezTo>
                  <a:cubicBezTo>
                    <a:pt x="3211" y="24873"/>
                    <a:pt x="3668" y="25010"/>
                    <a:pt x="4143" y="25080"/>
                  </a:cubicBezTo>
                  <a:cubicBezTo>
                    <a:pt x="4261" y="25098"/>
                    <a:pt x="4381" y="25111"/>
                    <a:pt x="4502" y="25118"/>
                  </a:cubicBezTo>
                  <a:cubicBezTo>
                    <a:pt x="4562" y="25123"/>
                    <a:pt x="4623" y="25125"/>
                    <a:pt x="4684" y="25127"/>
                  </a:cubicBezTo>
                  <a:cubicBezTo>
                    <a:pt x="4856" y="25129"/>
                    <a:pt x="4856" y="25129"/>
                    <a:pt x="4856" y="25129"/>
                  </a:cubicBezTo>
                  <a:cubicBezTo>
                    <a:pt x="5068" y="25129"/>
                    <a:pt x="5284" y="25127"/>
                    <a:pt x="5500" y="25123"/>
                  </a:cubicBezTo>
                  <a:cubicBezTo>
                    <a:pt x="5826" y="25114"/>
                    <a:pt x="5826" y="25114"/>
                    <a:pt x="5826" y="25114"/>
                  </a:cubicBezTo>
                  <a:cubicBezTo>
                    <a:pt x="5990" y="25107"/>
                    <a:pt x="5990" y="25107"/>
                    <a:pt x="5990" y="25107"/>
                  </a:cubicBezTo>
                  <a:cubicBezTo>
                    <a:pt x="6180" y="25096"/>
                    <a:pt x="6180" y="25096"/>
                    <a:pt x="6180" y="25096"/>
                  </a:cubicBezTo>
                  <a:cubicBezTo>
                    <a:pt x="6494" y="25075"/>
                    <a:pt x="6817" y="25044"/>
                    <a:pt x="7084" y="24932"/>
                  </a:cubicBezTo>
                  <a:cubicBezTo>
                    <a:pt x="7216" y="24876"/>
                    <a:pt x="7342" y="24793"/>
                    <a:pt x="7436" y="24676"/>
                  </a:cubicBezTo>
                  <a:cubicBezTo>
                    <a:pt x="7531" y="24561"/>
                    <a:pt x="7588" y="24426"/>
                    <a:pt x="7622" y="24285"/>
                  </a:cubicBezTo>
                  <a:cubicBezTo>
                    <a:pt x="7640" y="24215"/>
                    <a:pt x="7652" y="24142"/>
                    <a:pt x="7660" y="24067"/>
                  </a:cubicBezTo>
                  <a:cubicBezTo>
                    <a:pt x="7670" y="23993"/>
                    <a:pt x="7665" y="23912"/>
                    <a:pt x="7668" y="23834"/>
                  </a:cubicBezTo>
                  <a:cubicBezTo>
                    <a:pt x="7674" y="23387"/>
                    <a:pt x="7674" y="23387"/>
                    <a:pt x="7674" y="23387"/>
                  </a:cubicBezTo>
                  <a:cubicBezTo>
                    <a:pt x="7669" y="21716"/>
                    <a:pt x="7665" y="20060"/>
                    <a:pt x="7660" y="18425"/>
                  </a:cubicBezTo>
                  <a:cubicBezTo>
                    <a:pt x="7658" y="18017"/>
                    <a:pt x="7657" y="17610"/>
                    <a:pt x="7655" y="17204"/>
                  </a:cubicBezTo>
                  <a:cubicBezTo>
                    <a:pt x="7657" y="17006"/>
                    <a:pt x="7650" y="16786"/>
                    <a:pt x="7658" y="16629"/>
                  </a:cubicBezTo>
                  <a:cubicBezTo>
                    <a:pt x="7667" y="16461"/>
                    <a:pt x="7692" y="16292"/>
                    <a:pt x="7731" y="16128"/>
                  </a:cubicBezTo>
                  <a:cubicBezTo>
                    <a:pt x="7887" y="15470"/>
                    <a:pt x="8290" y="14876"/>
                    <a:pt x="8831" y="14482"/>
                  </a:cubicBezTo>
                  <a:cubicBezTo>
                    <a:pt x="9101" y="14285"/>
                    <a:pt x="9403" y="14137"/>
                    <a:pt x="9720" y="14049"/>
                  </a:cubicBezTo>
                  <a:cubicBezTo>
                    <a:pt x="9878" y="14006"/>
                    <a:pt x="10041" y="13973"/>
                    <a:pt x="10204" y="13959"/>
                  </a:cubicBezTo>
                  <a:cubicBezTo>
                    <a:pt x="10286" y="13951"/>
                    <a:pt x="10366" y="13948"/>
                    <a:pt x="10450" y="13948"/>
                  </a:cubicBezTo>
                  <a:cubicBezTo>
                    <a:pt x="10539" y="13946"/>
                    <a:pt x="10627" y="13950"/>
                    <a:pt x="10716" y="13953"/>
                  </a:cubicBezTo>
                  <a:cubicBezTo>
                    <a:pt x="11424" y="13984"/>
                    <a:pt x="12116" y="14162"/>
                    <a:pt x="12766" y="14442"/>
                  </a:cubicBezTo>
                  <a:cubicBezTo>
                    <a:pt x="13418" y="14721"/>
                    <a:pt x="14029" y="15100"/>
                    <a:pt x="14605" y="15522"/>
                  </a:cubicBezTo>
                  <a:cubicBezTo>
                    <a:pt x="15182" y="15946"/>
                    <a:pt x="15725" y="16411"/>
                    <a:pt x="16254" y="16889"/>
                  </a:cubicBezTo>
                  <a:cubicBezTo>
                    <a:pt x="16784" y="17365"/>
                    <a:pt x="17299" y="17853"/>
                    <a:pt x="17826" y="18324"/>
                  </a:cubicBezTo>
                  <a:cubicBezTo>
                    <a:pt x="18089" y="18555"/>
                    <a:pt x="18350" y="18784"/>
                    <a:pt x="18608" y="19011"/>
                  </a:cubicBezTo>
                  <a:cubicBezTo>
                    <a:pt x="18864" y="19238"/>
                    <a:pt x="19118" y="19463"/>
                    <a:pt x="19370" y="19687"/>
                  </a:cubicBezTo>
                  <a:cubicBezTo>
                    <a:pt x="20380" y="20583"/>
                    <a:pt x="21360" y="21468"/>
                    <a:pt x="22447" y="22172"/>
                  </a:cubicBezTo>
                  <a:cubicBezTo>
                    <a:pt x="22991" y="22520"/>
                    <a:pt x="23565" y="22819"/>
                    <a:pt x="24172" y="23012"/>
                  </a:cubicBezTo>
                  <a:cubicBezTo>
                    <a:pt x="24778" y="23207"/>
                    <a:pt x="25416" y="23286"/>
                    <a:pt x="26024" y="23232"/>
                  </a:cubicBezTo>
                  <a:cubicBezTo>
                    <a:pt x="26633" y="23183"/>
                    <a:pt x="27205" y="23008"/>
                    <a:pt x="27714" y="22778"/>
                  </a:cubicBezTo>
                  <a:cubicBezTo>
                    <a:pt x="28225" y="22545"/>
                    <a:pt x="28681" y="22258"/>
                    <a:pt x="29100" y="21961"/>
                  </a:cubicBezTo>
                  <a:cubicBezTo>
                    <a:pt x="29933" y="21360"/>
                    <a:pt x="30625" y="20720"/>
                    <a:pt x="31256" y="20132"/>
                  </a:cubicBezTo>
                  <a:cubicBezTo>
                    <a:pt x="31875" y="19545"/>
                    <a:pt x="32444" y="19006"/>
                    <a:pt x="32962" y="18513"/>
                  </a:cubicBezTo>
                  <a:cubicBezTo>
                    <a:pt x="33480" y="18034"/>
                    <a:pt x="33921" y="17585"/>
                    <a:pt x="34299" y="17202"/>
                  </a:cubicBezTo>
                  <a:cubicBezTo>
                    <a:pt x="34906" y="16593"/>
                    <a:pt x="35248" y="16240"/>
                    <a:pt x="35607" y="15888"/>
                  </a:cubicBezTo>
                  <a:cubicBezTo>
                    <a:pt x="36146" y="15365"/>
                    <a:pt x="36518" y="15039"/>
                    <a:pt x="36667" y="14875"/>
                  </a:cubicBezTo>
                  <a:cubicBezTo>
                    <a:pt x="36820" y="14712"/>
                    <a:pt x="36745" y="14705"/>
                    <a:pt x="36432" y="14878"/>
                  </a:cubicBezTo>
                  <a:close/>
                </a:path>
              </a:pathLst>
            </a:custGeom>
            <a:solidFill>
              <a:srgbClr val="FFDC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42">
              <a:extLst>
                <a:ext uri="{FF2B5EF4-FFF2-40B4-BE49-F238E27FC236}">
                  <a16:creationId xmlns:a16="http://schemas.microsoft.com/office/drawing/2014/main" id="{C7A6EA19-3C15-46DC-BF7C-31B1FAAAFF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2780187" y="20591463"/>
              <a:ext cx="78374875" cy="93070362"/>
            </a:xfrm>
            <a:custGeom>
              <a:avLst/>
              <a:gdLst>
                <a:gd name="T0" fmla="*/ 18503 w 20899"/>
                <a:gd name="T1" fmla="*/ 18446 h 24816"/>
                <a:gd name="T2" fmla="*/ 15976 w 20899"/>
                <a:gd name="T3" fmla="*/ 16248 h 24816"/>
                <a:gd name="T4" fmla="*/ 12171 w 20899"/>
                <a:gd name="T5" fmla="*/ 13872 h 24816"/>
                <a:gd name="T6" fmla="*/ 10285 w 20899"/>
                <a:gd name="T7" fmla="*/ 13576 h 24816"/>
                <a:gd name="T8" fmla="*/ 8479 w 20899"/>
                <a:gd name="T9" fmla="*/ 14214 h 24816"/>
                <a:gd name="T10" fmla="*/ 7287 w 20899"/>
                <a:gd name="T11" fmla="*/ 16594 h 24816"/>
                <a:gd name="T12" fmla="*/ 7321 w 20899"/>
                <a:gd name="T13" fmla="*/ 21479 h 24816"/>
                <a:gd name="T14" fmla="*/ 7331 w 20899"/>
                <a:gd name="T15" fmla="*/ 23294 h 24816"/>
                <a:gd name="T16" fmla="*/ 7327 w 20899"/>
                <a:gd name="T17" fmla="*/ 23725 h 24816"/>
                <a:gd name="T18" fmla="*/ 6843 w 20899"/>
                <a:gd name="T19" fmla="*/ 24634 h 24816"/>
                <a:gd name="T20" fmla="*/ 5998 w 20899"/>
                <a:gd name="T21" fmla="*/ 24782 h 24816"/>
                <a:gd name="T22" fmla="*/ 5305 w 20899"/>
                <a:gd name="T23" fmla="*/ 24811 h 24816"/>
                <a:gd name="T24" fmla="*/ 4633 w 20899"/>
                <a:gd name="T25" fmla="*/ 24816 h 24816"/>
                <a:gd name="T26" fmla="*/ 2519 w 20899"/>
                <a:gd name="T27" fmla="*/ 24311 h 24816"/>
                <a:gd name="T28" fmla="*/ 364 w 20899"/>
                <a:gd name="T29" fmla="*/ 22315 h 24816"/>
                <a:gd name="T30" fmla="*/ 12 w 20899"/>
                <a:gd name="T31" fmla="*/ 21057 h 24816"/>
                <a:gd name="T32" fmla="*/ 6 w 20899"/>
                <a:gd name="T33" fmla="*/ 20803 h 24816"/>
                <a:gd name="T34" fmla="*/ 4 w 20899"/>
                <a:gd name="T35" fmla="*/ 19416 h 24816"/>
                <a:gd name="T36" fmla="*/ 39 w 20899"/>
                <a:gd name="T37" fmla="*/ 2693 h 24816"/>
                <a:gd name="T38" fmla="*/ 969 w 20899"/>
                <a:gd name="T39" fmla="*/ 0 h 24816"/>
                <a:gd name="T40" fmla="*/ 4865 w 20899"/>
                <a:gd name="T41" fmla="*/ 22 h 24816"/>
                <a:gd name="T42" fmla="*/ 5488 w 20899"/>
                <a:gd name="T43" fmla="*/ 27 h 24816"/>
                <a:gd name="T44" fmla="*/ 5702 w 20899"/>
                <a:gd name="T45" fmla="*/ 30 h 24816"/>
                <a:gd name="T46" fmla="*/ 8881 w 20899"/>
                <a:gd name="T47" fmla="*/ 990 h 24816"/>
                <a:gd name="T48" fmla="*/ 10126 w 20899"/>
                <a:gd name="T49" fmla="*/ 1964 h 24816"/>
                <a:gd name="T50" fmla="*/ 14916 w 20899"/>
                <a:gd name="T51" fmla="*/ 6565 h 24816"/>
                <a:gd name="T52" fmla="*/ 15519 w 20899"/>
                <a:gd name="T53" fmla="*/ 7149 h 24816"/>
                <a:gd name="T54" fmla="*/ 17174 w 20899"/>
                <a:gd name="T55" fmla="*/ 8604 h 24816"/>
                <a:gd name="T56" fmla="*/ 20445 w 20899"/>
                <a:gd name="T57" fmla="*/ 10489 h 24816"/>
                <a:gd name="T58" fmla="*/ 20309 w 20899"/>
                <a:gd name="T59" fmla="*/ 10584 h 24816"/>
                <a:gd name="T60" fmla="*/ 18552 w 20899"/>
                <a:gd name="T61" fmla="*/ 9919 h 24816"/>
                <a:gd name="T62" fmla="*/ 15458 w 20899"/>
                <a:gd name="T63" fmla="*/ 7802 h 24816"/>
                <a:gd name="T64" fmla="*/ 15171 w 20899"/>
                <a:gd name="T65" fmla="*/ 7529 h 24816"/>
                <a:gd name="T66" fmla="*/ 15000 w 20899"/>
                <a:gd name="T67" fmla="*/ 7373 h 24816"/>
                <a:gd name="T68" fmla="*/ 13487 w 20899"/>
                <a:gd name="T69" fmla="*/ 5972 h 24816"/>
                <a:gd name="T70" fmla="*/ 9619 w 20899"/>
                <a:gd name="T71" fmla="*/ 2367 h 24816"/>
                <a:gd name="T72" fmla="*/ 6604 w 20899"/>
                <a:gd name="T73" fmla="*/ 823 h 24816"/>
                <a:gd name="T74" fmla="*/ 5295 w 20899"/>
                <a:gd name="T75" fmla="*/ 720 h 24816"/>
                <a:gd name="T76" fmla="*/ 1271 w 20899"/>
                <a:gd name="T77" fmla="*/ 729 h 24816"/>
                <a:gd name="T78" fmla="*/ 810 w 20899"/>
                <a:gd name="T79" fmla="*/ 10472 h 24816"/>
                <a:gd name="T80" fmla="*/ 869 w 20899"/>
                <a:gd name="T81" fmla="*/ 20931 h 24816"/>
                <a:gd name="T82" fmla="*/ 2799 w 20899"/>
                <a:gd name="T83" fmla="*/ 23486 h 24816"/>
                <a:gd name="T84" fmla="*/ 4472 w 20899"/>
                <a:gd name="T85" fmla="*/ 23956 h 24816"/>
                <a:gd name="T86" fmla="*/ 4774 w 20899"/>
                <a:gd name="T87" fmla="*/ 23960 h 24816"/>
                <a:gd name="T88" fmla="*/ 5730 w 20899"/>
                <a:gd name="T89" fmla="*/ 23945 h 24816"/>
                <a:gd name="T90" fmla="*/ 5979 w 20899"/>
                <a:gd name="T91" fmla="*/ 23933 h 24816"/>
                <a:gd name="T92" fmla="*/ 6349 w 20899"/>
                <a:gd name="T93" fmla="*/ 23873 h 24816"/>
                <a:gd name="T94" fmla="*/ 6495 w 20899"/>
                <a:gd name="T95" fmla="*/ 23550 h 24816"/>
                <a:gd name="T96" fmla="*/ 6526 w 20899"/>
                <a:gd name="T97" fmla="*/ 18358 h 24816"/>
                <a:gd name="T98" fmla="*/ 6538 w 20899"/>
                <a:gd name="T99" fmla="*/ 16843 h 24816"/>
                <a:gd name="T100" fmla="*/ 6544 w 20899"/>
                <a:gd name="T101" fmla="*/ 16529 h 24816"/>
                <a:gd name="T102" fmla="*/ 7957 w 20899"/>
                <a:gd name="T103" fmla="*/ 13747 h 24816"/>
                <a:gd name="T104" fmla="*/ 9723 w 20899"/>
                <a:gd name="T105" fmla="*/ 12968 h 24816"/>
                <a:gd name="T106" fmla="*/ 12823 w 20899"/>
                <a:gd name="T107" fmla="*/ 13479 h 24816"/>
                <a:gd name="T108" fmla="*/ 16704 w 20899"/>
                <a:gd name="T109" fmla="*/ 16252 h 24816"/>
                <a:gd name="T110" fmla="*/ 18726 w 20899"/>
                <a:gd name="T111" fmla="*/ 18165 h 24816"/>
                <a:gd name="T112" fmla="*/ 20529 w 20899"/>
                <a:gd name="T113" fmla="*/ 19887 h 24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899" h="24816">
                  <a:moveTo>
                    <a:pt x="19639" y="19376"/>
                  </a:moveTo>
                  <a:cubicBezTo>
                    <a:pt x="19326" y="19126"/>
                    <a:pt x="19023" y="18881"/>
                    <a:pt x="18503" y="18446"/>
                  </a:cubicBezTo>
                  <a:cubicBezTo>
                    <a:pt x="18164" y="18167"/>
                    <a:pt x="17774" y="17842"/>
                    <a:pt x="17357" y="17469"/>
                  </a:cubicBezTo>
                  <a:cubicBezTo>
                    <a:pt x="16937" y="17097"/>
                    <a:pt x="16481" y="16683"/>
                    <a:pt x="15976" y="16248"/>
                  </a:cubicBezTo>
                  <a:cubicBezTo>
                    <a:pt x="15471" y="15817"/>
                    <a:pt x="14916" y="15365"/>
                    <a:pt x="14288" y="14941"/>
                  </a:cubicBezTo>
                  <a:cubicBezTo>
                    <a:pt x="13662" y="14521"/>
                    <a:pt x="12959" y="14129"/>
                    <a:pt x="12171" y="13872"/>
                  </a:cubicBezTo>
                  <a:cubicBezTo>
                    <a:pt x="11777" y="13744"/>
                    <a:pt x="11364" y="13652"/>
                    <a:pt x="10936" y="13607"/>
                  </a:cubicBezTo>
                  <a:cubicBezTo>
                    <a:pt x="10722" y="13585"/>
                    <a:pt x="10504" y="13574"/>
                    <a:pt x="10285" y="13576"/>
                  </a:cubicBezTo>
                  <a:cubicBezTo>
                    <a:pt x="10074" y="13579"/>
                    <a:pt x="9862" y="13603"/>
                    <a:pt x="9653" y="13652"/>
                  </a:cubicBezTo>
                  <a:cubicBezTo>
                    <a:pt x="9235" y="13747"/>
                    <a:pt x="8830" y="13938"/>
                    <a:pt x="8479" y="14214"/>
                  </a:cubicBezTo>
                  <a:cubicBezTo>
                    <a:pt x="8128" y="14486"/>
                    <a:pt x="7829" y="14842"/>
                    <a:pt x="7621" y="15253"/>
                  </a:cubicBezTo>
                  <a:cubicBezTo>
                    <a:pt x="7411" y="15660"/>
                    <a:pt x="7293" y="16122"/>
                    <a:pt x="7287" y="16594"/>
                  </a:cubicBezTo>
                  <a:cubicBezTo>
                    <a:pt x="7291" y="17114"/>
                    <a:pt x="7295" y="17642"/>
                    <a:pt x="7299" y="18175"/>
                  </a:cubicBezTo>
                  <a:cubicBezTo>
                    <a:pt x="7306" y="19250"/>
                    <a:pt x="7313" y="20354"/>
                    <a:pt x="7321" y="21479"/>
                  </a:cubicBezTo>
                  <a:cubicBezTo>
                    <a:pt x="7324" y="22041"/>
                    <a:pt x="7327" y="22611"/>
                    <a:pt x="7330" y="23186"/>
                  </a:cubicBezTo>
                  <a:cubicBezTo>
                    <a:pt x="7331" y="23294"/>
                    <a:pt x="7331" y="23294"/>
                    <a:pt x="7331" y="23294"/>
                  </a:cubicBezTo>
                  <a:cubicBezTo>
                    <a:pt x="7330" y="23437"/>
                    <a:pt x="7330" y="23437"/>
                    <a:pt x="7330" y="23437"/>
                  </a:cubicBezTo>
                  <a:cubicBezTo>
                    <a:pt x="7327" y="23725"/>
                    <a:pt x="7327" y="23725"/>
                    <a:pt x="7327" y="23725"/>
                  </a:cubicBezTo>
                  <a:cubicBezTo>
                    <a:pt x="7327" y="23918"/>
                    <a:pt x="7306" y="24099"/>
                    <a:pt x="7234" y="24266"/>
                  </a:cubicBezTo>
                  <a:cubicBezTo>
                    <a:pt x="7164" y="24436"/>
                    <a:pt x="7012" y="24575"/>
                    <a:pt x="6843" y="24634"/>
                  </a:cubicBezTo>
                  <a:cubicBezTo>
                    <a:pt x="6675" y="24703"/>
                    <a:pt x="6485" y="24735"/>
                    <a:pt x="6291" y="24757"/>
                  </a:cubicBezTo>
                  <a:cubicBezTo>
                    <a:pt x="6194" y="24768"/>
                    <a:pt x="6096" y="24777"/>
                    <a:pt x="5998" y="24782"/>
                  </a:cubicBezTo>
                  <a:cubicBezTo>
                    <a:pt x="5756" y="24796"/>
                    <a:pt x="5756" y="24796"/>
                    <a:pt x="5756" y="24796"/>
                  </a:cubicBezTo>
                  <a:cubicBezTo>
                    <a:pt x="5605" y="24804"/>
                    <a:pt x="5455" y="24807"/>
                    <a:pt x="5305" y="24811"/>
                  </a:cubicBezTo>
                  <a:cubicBezTo>
                    <a:pt x="5156" y="24813"/>
                    <a:pt x="5006" y="24814"/>
                    <a:pt x="4856" y="24816"/>
                  </a:cubicBezTo>
                  <a:cubicBezTo>
                    <a:pt x="4633" y="24816"/>
                    <a:pt x="4633" y="24816"/>
                    <a:pt x="4633" y="24816"/>
                  </a:cubicBezTo>
                  <a:cubicBezTo>
                    <a:pt x="4551" y="24816"/>
                    <a:pt x="4469" y="24816"/>
                    <a:pt x="4388" y="24811"/>
                  </a:cubicBezTo>
                  <a:cubicBezTo>
                    <a:pt x="3734" y="24773"/>
                    <a:pt x="3103" y="24591"/>
                    <a:pt x="2519" y="24311"/>
                  </a:cubicBezTo>
                  <a:cubicBezTo>
                    <a:pt x="1935" y="24028"/>
                    <a:pt x="1393" y="23644"/>
                    <a:pt x="944" y="23148"/>
                  </a:cubicBezTo>
                  <a:cubicBezTo>
                    <a:pt x="721" y="22900"/>
                    <a:pt x="521" y="22622"/>
                    <a:pt x="364" y="22315"/>
                  </a:cubicBezTo>
                  <a:cubicBezTo>
                    <a:pt x="206" y="22009"/>
                    <a:pt x="91" y="21673"/>
                    <a:pt x="38" y="21322"/>
                  </a:cubicBezTo>
                  <a:cubicBezTo>
                    <a:pt x="26" y="21233"/>
                    <a:pt x="16" y="21145"/>
                    <a:pt x="12" y="21057"/>
                  </a:cubicBezTo>
                  <a:cubicBezTo>
                    <a:pt x="8" y="21012"/>
                    <a:pt x="7" y="20967"/>
                    <a:pt x="6" y="20923"/>
                  </a:cubicBezTo>
                  <a:cubicBezTo>
                    <a:pt x="6" y="20803"/>
                    <a:pt x="6" y="20803"/>
                    <a:pt x="6" y="20803"/>
                  </a:cubicBezTo>
                  <a:cubicBezTo>
                    <a:pt x="5" y="20341"/>
                    <a:pt x="5" y="20341"/>
                    <a:pt x="5" y="20341"/>
                  </a:cubicBezTo>
                  <a:cubicBezTo>
                    <a:pt x="5" y="20033"/>
                    <a:pt x="5" y="19724"/>
                    <a:pt x="4" y="19416"/>
                  </a:cubicBezTo>
                  <a:cubicBezTo>
                    <a:pt x="3" y="18796"/>
                    <a:pt x="3" y="18177"/>
                    <a:pt x="2" y="17555"/>
                  </a:cubicBezTo>
                  <a:cubicBezTo>
                    <a:pt x="0" y="12582"/>
                    <a:pt x="12" y="7527"/>
                    <a:pt x="39" y="2693"/>
                  </a:cubicBezTo>
                  <a:cubicBezTo>
                    <a:pt x="42" y="2101"/>
                    <a:pt x="47" y="1358"/>
                    <a:pt x="47" y="915"/>
                  </a:cubicBezTo>
                  <a:cubicBezTo>
                    <a:pt x="47" y="472"/>
                    <a:pt x="318" y="0"/>
                    <a:pt x="969" y="0"/>
                  </a:cubicBezTo>
                  <a:cubicBezTo>
                    <a:pt x="1621" y="0"/>
                    <a:pt x="3027" y="11"/>
                    <a:pt x="4025" y="17"/>
                  </a:cubicBezTo>
                  <a:cubicBezTo>
                    <a:pt x="4306" y="19"/>
                    <a:pt x="4587" y="20"/>
                    <a:pt x="4865" y="22"/>
                  </a:cubicBezTo>
                  <a:cubicBezTo>
                    <a:pt x="5004" y="23"/>
                    <a:pt x="5143" y="24"/>
                    <a:pt x="5281" y="25"/>
                  </a:cubicBezTo>
                  <a:cubicBezTo>
                    <a:pt x="5488" y="27"/>
                    <a:pt x="5488" y="27"/>
                    <a:pt x="5488" y="27"/>
                  </a:cubicBezTo>
                  <a:cubicBezTo>
                    <a:pt x="5592" y="28"/>
                    <a:pt x="5592" y="28"/>
                    <a:pt x="5592" y="28"/>
                  </a:cubicBezTo>
                  <a:cubicBezTo>
                    <a:pt x="5702" y="30"/>
                    <a:pt x="5702" y="30"/>
                    <a:pt x="5702" y="30"/>
                  </a:cubicBezTo>
                  <a:cubicBezTo>
                    <a:pt x="6278" y="55"/>
                    <a:pt x="6844" y="152"/>
                    <a:pt x="7379" y="317"/>
                  </a:cubicBezTo>
                  <a:cubicBezTo>
                    <a:pt x="7914" y="480"/>
                    <a:pt x="8419" y="709"/>
                    <a:pt x="8881" y="990"/>
                  </a:cubicBezTo>
                  <a:cubicBezTo>
                    <a:pt x="9112" y="1130"/>
                    <a:pt x="9332" y="1283"/>
                    <a:pt x="9540" y="1447"/>
                  </a:cubicBezTo>
                  <a:cubicBezTo>
                    <a:pt x="9748" y="1609"/>
                    <a:pt x="9948" y="1791"/>
                    <a:pt x="10126" y="1964"/>
                  </a:cubicBezTo>
                  <a:cubicBezTo>
                    <a:pt x="11557" y="3337"/>
                    <a:pt x="12879" y="4606"/>
                    <a:pt x="14062" y="5741"/>
                  </a:cubicBezTo>
                  <a:cubicBezTo>
                    <a:pt x="14355" y="6024"/>
                    <a:pt x="14640" y="6299"/>
                    <a:pt x="14916" y="6565"/>
                  </a:cubicBezTo>
                  <a:cubicBezTo>
                    <a:pt x="15053" y="6698"/>
                    <a:pt x="15188" y="6829"/>
                    <a:pt x="15321" y="6958"/>
                  </a:cubicBezTo>
                  <a:cubicBezTo>
                    <a:pt x="15388" y="7022"/>
                    <a:pt x="15453" y="7086"/>
                    <a:pt x="15519" y="7149"/>
                  </a:cubicBezTo>
                  <a:cubicBezTo>
                    <a:pt x="15583" y="7214"/>
                    <a:pt x="15647" y="7278"/>
                    <a:pt x="15710" y="7341"/>
                  </a:cubicBezTo>
                  <a:cubicBezTo>
                    <a:pt x="16207" y="7835"/>
                    <a:pt x="16703" y="8251"/>
                    <a:pt x="17174" y="8604"/>
                  </a:cubicBezTo>
                  <a:cubicBezTo>
                    <a:pt x="18115" y="9307"/>
                    <a:pt x="18945" y="9752"/>
                    <a:pt x="19526" y="10044"/>
                  </a:cubicBezTo>
                  <a:cubicBezTo>
                    <a:pt x="19988" y="10273"/>
                    <a:pt x="20247" y="10392"/>
                    <a:pt x="20445" y="10489"/>
                  </a:cubicBezTo>
                  <a:cubicBezTo>
                    <a:pt x="20641" y="10584"/>
                    <a:pt x="20728" y="10635"/>
                    <a:pt x="20704" y="10652"/>
                  </a:cubicBezTo>
                  <a:cubicBezTo>
                    <a:pt x="20681" y="10667"/>
                    <a:pt x="20549" y="10648"/>
                    <a:pt x="20309" y="10584"/>
                  </a:cubicBezTo>
                  <a:cubicBezTo>
                    <a:pt x="20068" y="10518"/>
                    <a:pt x="19727" y="10410"/>
                    <a:pt x="19276" y="10228"/>
                  </a:cubicBezTo>
                  <a:cubicBezTo>
                    <a:pt x="19159" y="10190"/>
                    <a:pt x="18909" y="10091"/>
                    <a:pt x="18552" y="9919"/>
                  </a:cubicBezTo>
                  <a:cubicBezTo>
                    <a:pt x="18195" y="9748"/>
                    <a:pt x="17732" y="9501"/>
                    <a:pt x="17201" y="9156"/>
                  </a:cubicBezTo>
                  <a:cubicBezTo>
                    <a:pt x="16670" y="8810"/>
                    <a:pt x="16071" y="8367"/>
                    <a:pt x="15458" y="7802"/>
                  </a:cubicBezTo>
                  <a:cubicBezTo>
                    <a:pt x="15381" y="7731"/>
                    <a:pt x="15305" y="7659"/>
                    <a:pt x="15228" y="7584"/>
                  </a:cubicBezTo>
                  <a:cubicBezTo>
                    <a:pt x="15171" y="7529"/>
                    <a:pt x="15171" y="7529"/>
                    <a:pt x="15171" y="7529"/>
                  </a:cubicBezTo>
                  <a:cubicBezTo>
                    <a:pt x="15118" y="7482"/>
                    <a:pt x="15118" y="7482"/>
                    <a:pt x="15118" y="7482"/>
                  </a:cubicBezTo>
                  <a:cubicBezTo>
                    <a:pt x="15079" y="7445"/>
                    <a:pt x="15040" y="7409"/>
                    <a:pt x="15000" y="7373"/>
                  </a:cubicBezTo>
                  <a:cubicBezTo>
                    <a:pt x="14843" y="7227"/>
                    <a:pt x="14681" y="7078"/>
                    <a:pt x="14516" y="6926"/>
                  </a:cubicBezTo>
                  <a:cubicBezTo>
                    <a:pt x="14186" y="6620"/>
                    <a:pt x="13843" y="6302"/>
                    <a:pt x="13487" y="5972"/>
                  </a:cubicBezTo>
                  <a:cubicBezTo>
                    <a:pt x="12646" y="5189"/>
                    <a:pt x="11791" y="4393"/>
                    <a:pt x="10925" y="3587"/>
                  </a:cubicBezTo>
                  <a:cubicBezTo>
                    <a:pt x="10493" y="3183"/>
                    <a:pt x="10057" y="2776"/>
                    <a:pt x="9619" y="2367"/>
                  </a:cubicBezTo>
                  <a:cubicBezTo>
                    <a:pt x="9203" y="1975"/>
                    <a:pt x="8737" y="1644"/>
                    <a:pt x="8228" y="1382"/>
                  </a:cubicBezTo>
                  <a:cubicBezTo>
                    <a:pt x="7719" y="1119"/>
                    <a:pt x="7171" y="930"/>
                    <a:pt x="6604" y="823"/>
                  </a:cubicBezTo>
                  <a:cubicBezTo>
                    <a:pt x="6320" y="770"/>
                    <a:pt x="6032" y="736"/>
                    <a:pt x="5743" y="723"/>
                  </a:cubicBezTo>
                  <a:cubicBezTo>
                    <a:pt x="5605" y="716"/>
                    <a:pt x="5448" y="720"/>
                    <a:pt x="5295" y="720"/>
                  </a:cubicBezTo>
                  <a:cubicBezTo>
                    <a:pt x="4833" y="721"/>
                    <a:pt x="4833" y="721"/>
                    <a:pt x="4833" y="721"/>
                  </a:cubicBezTo>
                  <a:cubicBezTo>
                    <a:pt x="3653" y="724"/>
                    <a:pt x="1519" y="729"/>
                    <a:pt x="1271" y="729"/>
                  </a:cubicBezTo>
                  <a:cubicBezTo>
                    <a:pt x="1024" y="729"/>
                    <a:pt x="784" y="724"/>
                    <a:pt x="784" y="1219"/>
                  </a:cubicBezTo>
                  <a:cubicBezTo>
                    <a:pt x="784" y="1715"/>
                    <a:pt x="801" y="7400"/>
                    <a:pt x="810" y="10472"/>
                  </a:cubicBezTo>
                  <a:cubicBezTo>
                    <a:pt x="827" y="13590"/>
                    <a:pt x="843" y="16677"/>
                    <a:pt x="859" y="19679"/>
                  </a:cubicBezTo>
                  <a:cubicBezTo>
                    <a:pt x="862" y="20094"/>
                    <a:pt x="865" y="20510"/>
                    <a:pt x="869" y="20931"/>
                  </a:cubicBezTo>
                  <a:cubicBezTo>
                    <a:pt x="876" y="21277"/>
                    <a:pt x="975" y="21621"/>
                    <a:pt x="1146" y="21942"/>
                  </a:cubicBezTo>
                  <a:cubicBezTo>
                    <a:pt x="1490" y="22589"/>
                    <a:pt x="2104" y="23129"/>
                    <a:pt x="2799" y="23486"/>
                  </a:cubicBezTo>
                  <a:cubicBezTo>
                    <a:pt x="3148" y="23664"/>
                    <a:pt x="3522" y="23799"/>
                    <a:pt x="3901" y="23879"/>
                  </a:cubicBezTo>
                  <a:cubicBezTo>
                    <a:pt x="4091" y="23920"/>
                    <a:pt x="4282" y="23945"/>
                    <a:pt x="4472" y="23956"/>
                  </a:cubicBezTo>
                  <a:cubicBezTo>
                    <a:pt x="4520" y="23958"/>
                    <a:pt x="4567" y="23960"/>
                    <a:pt x="4615" y="23960"/>
                  </a:cubicBezTo>
                  <a:cubicBezTo>
                    <a:pt x="4774" y="23960"/>
                    <a:pt x="4774" y="23960"/>
                    <a:pt x="4774" y="23960"/>
                  </a:cubicBezTo>
                  <a:cubicBezTo>
                    <a:pt x="5096" y="23960"/>
                    <a:pt x="5096" y="23960"/>
                    <a:pt x="5096" y="23960"/>
                  </a:cubicBezTo>
                  <a:cubicBezTo>
                    <a:pt x="5309" y="23958"/>
                    <a:pt x="5521" y="23954"/>
                    <a:pt x="5730" y="23945"/>
                  </a:cubicBezTo>
                  <a:cubicBezTo>
                    <a:pt x="5885" y="23938"/>
                    <a:pt x="5885" y="23938"/>
                    <a:pt x="5885" y="23938"/>
                  </a:cubicBezTo>
                  <a:cubicBezTo>
                    <a:pt x="5979" y="23933"/>
                    <a:pt x="5979" y="23933"/>
                    <a:pt x="5979" y="23933"/>
                  </a:cubicBezTo>
                  <a:cubicBezTo>
                    <a:pt x="6041" y="23927"/>
                    <a:pt x="6104" y="23924"/>
                    <a:pt x="6166" y="23915"/>
                  </a:cubicBezTo>
                  <a:cubicBezTo>
                    <a:pt x="6228" y="23906"/>
                    <a:pt x="6292" y="23897"/>
                    <a:pt x="6349" y="23873"/>
                  </a:cubicBezTo>
                  <a:cubicBezTo>
                    <a:pt x="6407" y="23846"/>
                    <a:pt x="6452" y="23796"/>
                    <a:pt x="6471" y="23736"/>
                  </a:cubicBezTo>
                  <a:cubicBezTo>
                    <a:pt x="6492" y="23677"/>
                    <a:pt x="6494" y="23614"/>
                    <a:pt x="6495" y="23550"/>
                  </a:cubicBezTo>
                  <a:cubicBezTo>
                    <a:pt x="6496" y="23363"/>
                    <a:pt x="6496" y="23363"/>
                    <a:pt x="6496" y="23363"/>
                  </a:cubicBezTo>
                  <a:cubicBezTo>
                    <a:pt x="6506" y="21661"/>
                    <a:pt x="6516" y="19980"/>
                    <a:pt x="6526" y="18358"/>
                  </a:cubicBezTo>
                  <a:cubicBezTo>
                    <a:pt x="6529" y="17948"/>
                    <a:pt x="6532" y="17543"/>
                    <a:pt x="6535" y="17142"/>
                  </a:cubicBezTo>
                  <a:cubicBezTo>
                    <a:pt x="6536" y="17041"/>
                    <a:pt x="6537" y="16942"/>
                    <a:pt x="6538" y="16843"/>
                  </a:cubicBezTo>
                  <a:cubicBezTo>
                    <a:pt x="6539" y="16693"/>
                    <a:pt x="6539" y="16693"/>
                    <a:pt x="6539" y="16693"/>
                  </a:cubicBezTo>
                  <a:cubicBezTo>
                    <a:pt x="6539" y="16645"/>
                    <a:pt x="6540" y="16583"/>
                    <a:pt x="6544" y="16529"/>
                  </a:cubicBezTo>
                  <a:cubicBezTo>
                    <a:pt x="6553" y="16308"/>
                    <a:pt x="6582" y="16088"/>
                    <a:pt x="6630" y="15873"/>
                  </a:cubicBezTo>
                  <a:cubicBezTo>
                    <a:pt x="6820" y="15011"/>
                    <a:pt x="7315" y="14259"/>
                    <a:pt x="7957" y="13747"/>
                  </a:cubicBezTo>
                  <a:cubicBezTo>
                    <a:pt x="8286" y="13480"/>
                    <a:pt x="8669" y="13266"/>
                    <a:pt x="9083" y="13125"/>
                  </a:cubicBezTo>
                  <a:cubicBezTo>
                    <a:pt x="9290" y="13055"/>
                    <a:pt x="9505" y="13002"/>
                    <a:pt x="9723" y="12968"/>
                  </a:cubicBezTo>
                  <a:cubicBezTo>
                    <a:pt x="9940" y="12936"/>
                    <a:pt x="10169" y="12927"/>
                    <a:pt x="10381" y="12932"/>
                  </a:cubicBezTo>
                  <a:cubicBezTo>
                    <a:pt x="11228" y="12950"/>
                    <a:pt x="12070" y="13154"/>
                    <a:pt x="12823" y="13479"/>
                  </a:cubicBezTo>
                  <a:cubicBezTo>
                    <a:pt x="13579" y="13801"/>
                    <a:pt x="14267" y="14236"/>
                    <a:pt x="14905" y="14714"/>
                  </a:cubicBezTo>
                  <a:cubicBezTo>
                    <a:pt x="15543" y="15193"/>
                    <a:pt x="16133" y="15720"/>
                    <a:pt x="16704" y="16252"/>
                  </a:cubicBezTo>
                  <a:cubicBezTo>
                    <a:pt x="17188" y="16713"/>
                    <a:pt x="17662" y="17168"/>
                    <a:pt x="18099" y="17586"/>
                  </a:cubicBezTo>
                  <a:cubicBezTo>
                    <a:pt x="18315" y="17790"/>
                    <a:pt x="18527" y="17981"/>
                    <a:pt x="18726" y="18165"/>
                  </a:cubicBezTo>
                  <a:cubicBezTo>
                    <a:pt x="18922" y="18349"/>
                    <a:pt x="19104" y="18520"/>
                    <a:pt x="19270" y="18677"/>
                  </a:cubicBezTo>
                  <a:cubicBezTo>
                    <a:pt x="19773" y="19160"/>
                    <a:pt x="20142" y="19515"/>
                    <a:pt x="20529" y="19887"/>
                  </a:cubicBezTo>
                  <a:cubicBezTo>
                    <a:pt x="20899" y="20301"/>
                    <a:pt x="20570" y="20123"/>
                    <a:pt x="19639" y="193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01614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>
            <a:extLst>
              <a:ext uri="{FF2B5EF4-FFF2-40B4-BE49-F238E27FC236}">
                <a16:creationId xmlns:a16="http://schemas.microsoft.com/office/drawing/2014/main" id="{72E51C3F-45BF-4228-9D36-14DF5EDD228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6240959" y="3645024"/>
            <a:ext cx="5327649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</a:p>
          <a:p>
            <a:r>
              <a:rPr lang="en-US" noProof="0" dirty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241201" y="2877362"/>
            <a:ext cx="5327407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241201" y="1484784"/>
            <a:ext cx="5327407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6BE86239-86A3-4A3C-AE8F-E19468EEF86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0" y="0"/>
            <a:ext cx="5391566" cy="6237312"/>
          </a:xfrm>
          <a:custGeom>
            <a:avLst/>
            <a:gdLst>
              <a:gd name="connsiteX0" fmla="*/ 0 w 5391566"/>
              <a:gd name="connsiteY0" fmla="*/ 0 h 6223694"/>
              <a:gd name="connsiteX1" fmla="*/ 4584749 w 5391566"/>
              <a:gd name="connsiteY1" fmla="*/ 0 h 6223694"/>
              <a:gd name="connsiteX2" fmla="*/ 5378368 w 5391566"/>
              <a:gd name="connsiteY2" fmla="*/ 4415805 h 6223694"/>
              <a:gd name="connsiteX3" fmla="*/ 4709881 w 5391566"/>
              <a:gd name="connsiteY3" fmla="*/ 5377223 h 6223694"/>
              <a:gd name="connsiteX4" fmla="*/ 0 w 5391566"/>
              <a:gd name="connsiteY4" fmla="*/ 6223694 h 6223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91566" h="6223694">
                <a:moveTo>
                  <a:pt x="0" y="0"/>
                </a:moveTo>
                <a:lnTo>
                  <a:pt x="4584749" y="0"/>
                </a:lnTo>
                <a:lnTo>
                  <a:pt x="5378368" y="4415805"/>
                </a:lnTo>
                <a:cubicBezTo>
                  <a:pt x="5459259" y="4865891"/>
                  <a:pt x="5159967" y="5296332"/>
                  <a:pt x="4709881" y="5377223"/>
                </a:cubicBezTo>
                <a:lnTo>
                  <a:pt x="0" y="622369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tIns="720000" anchor="ctr">
            <a:noAutofit/>
          </a:bodyPr>
          <a:lstStyle>
            <a:lvl1pPr algn="ctr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DAF1F0C1-1917-4C53-A05F-5A75378C64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1322" y="5274012"/>
            <a:ext cx="2478572" cy="1251332"/>
          </a:xfrm>
          <a:blipFill dpi="0" rotWithShape="0">
            <a:blip r:embed="rId2"/>
            <a:srcRect/>
            <a:stretch>
              <a:fillRect l="-289" r="-289"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57232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>
            <a:extLst>
              <a:ext uri="{FF2B5EF4-FFF2-40B4-BE49-F238E27FC236}">
                <a16:creationId xmlns:a16="http://schemas.microsoft.com/office/drawing/2014/main" id="{4845FE99-9202-4AE1-9418-BFD12BC99C4F}"/>
              </a:ext>
            </a:extLst>
          </p:cNvPr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FFDCB9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 dirty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8E4745C-7424-4744-95A2-7BBEC14E956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951538" y="3597205"/>
            <a:ext cx="5617069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 dirty="0"/>
              <a:t>Name</a:t>
            </a:r>
            <a:br>
              <a:rPr lang="en-US" noProof="0" dirty="0"/>
            </a:br>
            <a:r>
              <a:rPr lang="en-US" noProof="0" dirty="0"/>
              <a:t>Place, Dat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61BF4E9-64E1-4E8E-BE68-96228166E5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952081" y="2877197"/>
            <a:ext cx="5616521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Subtitle and other information of this presentation</a:t>
            </a:r>
            <a:endParaRPr lang="en-US" dirty="0"/>
          </a:p>
          <a:p>
            <a:pPr lvl="0"/>
            <a:endParaRPr lang="en-US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2C4668-0E92-4A26-BFD2-87F3BE8E08F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952081" y="1484784"/>
            <a:ext cx="5616521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grpSp>
        <p:nvGrpSpPr>
          <p:cNvPr id="16" name="Logo Merck">
            <a:extLst>
              <a:ext uri="{FF2B5EF4-FFF2-40B4-BE49-F238E27FC236}">
                <a16:creationId xmlns:a16="http://schemas.microsoft.com/office/drawing/2014/main" id="{3024E96D-7627-473F-8A03-19836630752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bg2"/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8FE8F6D-ECC1-408B-B9F7-3D225ED78C7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8F1A83D3-8EA6-45F4-B880-0967E765589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pic>
        <p:nvPicPr>
          <p:cNvPr id="22" name="Grafik 21">
            <a:extLst>
              <a:ext uri="{FF2B5EF4-FFF2-40B4-BE49-F238E27FC236}">
                <a16:creationId xmlns:a16="http://schemas.microsoft.com/office/drawing/2014/main" id="{D89EA9C9-02A8-46DA-9951-4139524298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60"/>
          <a:stretch/>
        </p:blipFill>
        <p:spPr>
          <a:xfrm>
            <a:off x="0" y="1484783"/>
            <a:ext cx="5300482" cy="4608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891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bg2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 dirty="0"/>
              <a:t>Insert your agenda points here. Use the button “increase list level” to add </a:t>
            </a:r>
            <a:r>
              <a:rPr lang="en-US" dirty="0" err="1"/>
              <a:t>subitems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You can find other agenda designs within the slide library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3"/>
            <a:r>
              <a:rPr lang="en-US" dirty="0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634795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23888" y="5805488"/>
            <a:ext cx="5472112" cy="936625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/>
            </a:lvl4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nsert slide title here (max. 2 lines | max. 1 line with Action Title)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6096000" y="5805487"/>
            <a:ext cx="4392488" cy="936625"/>
          </a:xfrm>
        </p:spPr>
        <p:txBody>
          <a:bodyPr anchor="b" anchorCtr="0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/>
            </a:lvl4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0298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 bwMode="gray">
          <a:xfrm>
            <a:off x="6240464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 bwMode="gray">
          <a:xfrm>
            <a:off x="623392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11232250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4845" y="1484314"/>
            <a:ext cx="345493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4368803" y="1484314"/>
            <a:ext cx="3455986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 bwMode="gray">
          <a:xfrm>
            <a:off x="8112000" y="1484313"/>
            <a:ext cx="345600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You can use this field to enter text, a table, a diagram or </a:t>
            </a:r>
            <a:r>
              <a:rPr lang="en-US" dirty="0" err="1"/>
              <a:t>SmartArts</a:t>
            </a:r>
            <a:r>
              <a:rPr lang="en-US" dirty="0"/>
              <a:t>. Use the buttons “Increase List Level” for </a:t>
            </a:r>
            <a:r>
              <a:rPr lang="en-US" dirty="0" err="1"/>
              <a:t>copytext</a:t>
            </a:r>
            <a:r>
              <a:rPr lang="en-US" dirty="0"/>
              <a:t> or bullet levels. Use the icons below to create visual content.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1"/>
            <a:ext cx="10944225" cy="325952"/>
          </a:xfrm>
        </p:spPr>
        <p:txBody>
          <a:bodyPr/>
          <a:lstStyle/>
          <a:p>
            <a:r>
              <a:rPr lang="en-US" dirty="0"/>
              <a:t>Insert slide title here (max. 2 lines | max. 1 line with Action Title)</a:t>
            </a:r>
          </a:p>
        </p:txBody>
      </p:sp>
    </p:spTree>
    <p:extLst>
      <p:ext uri="{BB962C8B-B14F-4D97-AF65-F5344CB8AC3E}">
        <p14:creationId xmlns:p14="http://schemas.microsoft.com/office/powerpoint/2010/main" val="473943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53.xml"/><Relationship Id="rId42" Type="http://schemas.openxmlformats.org/officeDocument/2006/relationships/image" Target="../media/image3.emf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37" Type="http://schemas.openxmlformats.org/officeDocument/2006/relationships/theme" Target="../theme/theme3.xml"/><Relationship Id="rId40" Type="http://schemas.openxmlformats.org/officeDocument/2006/relationships/tags" Target="../tags/tag3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54.xml"/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38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9" Type="http://schemas.openxmlformats.org/officeDocument/2006/relationships/tags" Target="../tags/tag43.xml"/><Relationship Id="rId21" Type="http://schemas.openxmlformats.org/officeDocument/2006/relationships/slideLayout" Target="../slideLayouts/slideLayout76.xml"/><Relationship Id="rId34" Type="http://schemas.openxmlformats.org/officeDocument/2006/relationships/slideLayout" Target="../slideLayouts/slideLayout89.xml"/><Relationship Id="rId42" Type="http://schemas.openxmlformats.org/officeDocument/2006/relationships/image" Target="../media/image3.emf"/><Relationship Id="rId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4.xml"/><Relationship Id="rId41" Type="http://schemas.openxmlformats.org/officeDocument/2006/relationships/oleObject" Target="../embeddings/oleObject36.bin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slideLayout" Target="../slideLayouts/slideLayout87.xml"/><Relationship Id="rId37" Type="http://schemas.openxmlformats.org/officeDocument/2006/relationships/theme" Target="../theme/theme4.xml"/><Relationship Id="rId40" Type="http://schemas.openxmlformats.org/officeDocument/2006/relationships/tags" Target="../tags/tag44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36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86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Relationship Id="rId35" Type="http://schemas.openxmlformats.org/officeDocument/2006/relationships/slideLayout" Target="../slideLayouts/slideLayout90.xml"/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slideLayout" Target="../slideLayouts/slideLayout88.xml"/><Relationship Id="rId38" Type="http://schemas.openxmlformats.org/officeDocument/2006/relationships/tags" Target="../tags/tag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tags" Target="../tags/tag84.xml"/><Relationship Id="rId3" Type="http://schemas.openxmlformats.org/officeDocument/2006/relationships/slideLayout" Target="../slideLayouts/slideLayout94.xml"/><Relationship Id="rId21" Type="http://schemas.openxmlformats.org/officeDocument/2006/relationships/tags" Target="../tags/tag87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tags" Target="../tags/tag83.xml"/><Relationship Id="rId2" Type="http://schemas.openxmlformats.org/officeDocument/2006/relationships/slideLayout" Target="../slideLayouts/slideLayout93.xml"/><Relationship Id="rId16" Type="http://schemas.openxmlformats.org/officeDocument/2006/relationships/theme" Target="../theme/theme5.xml"/><Relationship Id="rId20" Type="http://schemas.openxmlformats.org/officeDocument/2006/relationships/tags" Target="../tags/tag86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image" Target="NULL"/><Relationship Id="rId10" Type="http://schemas.openxmlformats.org/officeDocument/2006/relationships/slideLayout" Target="../slideLayouts/slideLayout101.xml"/><Relationship Id="rId19" Type="http://schemas.openxmlformats.org/officeDocument/2006/relationships/tags" Target="../tags/tag85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oleObject" Target="../embeddings/oleObject71.bin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0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10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D4D8657-E482-90BE-7FB0-F8FF78085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DDF6CBB-88E1-72AE-235E-D7B4B0F916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7C02723-99E7-BEB2-CC31-B89F2DF4D5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564E03-B8D9-4FA7-89DA-B24DAF0BE8A7}" type="datetimeFigureOut">
              <a:rPr lang="cs-CZ" smtClean="0"/>
              <a:t>20.03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4E729D1-6753-A14B-3746-7678A7DDAA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E6DB62E-2D04-EC0E-DE85-718B23857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A48E09-8AC3-409D-9A37-A314A192858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04706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6">
            <a:extLst>
              <a:ext uri="{FF2B5EF4-FFF2-40B4-BE49-F238E27FC236}">
                <a16:creationId xmlns:a16="http://schemas.microsoft.com/office/drawing/2014/main" id="{1FBA405B-91D7-455B-838E-7390C471CAC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09759" y="238125"/>
            <a:ext cx="10872444" cy="110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7">
            <a:extLst>
              <a:ext uri="{FF2B5EF4-FFF2-40B4-BE49-F238E27FC236}">
                <a16:creationId xmlns:a16="http://schemas.microsoft.com/office/drawing/2014/main" id="{5E3FA78F-9815-470C-AAC7-65118010A9A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0231" y="1517650"/>
            <a:ext cx="10881972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US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28AFCB-3188-4961-AAEE-DB4C7846ECE6}"/>
              </a:ext>
            </a:extLst>
          </p:cNvPr>
          <p:cNvSpPr/>
          <p:nvPr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50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07A185B-7FCD-47CF-95BF-44DC96F2E8FE}"/>
              </a:ext>
            </a:extLst>
          </p:cNvPr>
          <p:cNvSpPr/>
          <p:nvPr userDrawn="1"/>
        </p:nvSpPr>
        <p:spPr>
          <a:xfrm>
            <a:off x="1" y="1"/>
            <a:ext cx="12192000" cy="144463"/>
          </a:xfrm>
          <a:prstGeom prst="rect">
            <a:avLst/>
          </a:prstGeom>
          <a:gradFill>
            <a:gsLst>
              <a:gs pos="0">
                <a:schemeClr val="tx1"/>
              </a:gs>
              <a:gs pos="50000">
                <a:schemeClr val="tx1">
                  <a:lumMod val="75000"/>
                </a:schemeClr>
              </a:gs>
              <a:gs pos="100000">
                <a:schemeClr val="tx1"/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FEB3B6D-B8AE-4726-B830-C447FAD3394B}"/>
              </a:ext>
            </a:extLst>
          </p:cNvPr>
          <p:cNvCxnSpPr/>
          <p:nvPr userDrawn="1"/>
        </p:nvCxnSpPr>
        <p:spPr>
          <a:xfrm>
            <a:off x="1" y="6745288"/>
            <a:ext cx="12192000" cy="0"/>
          </a:xfrm>
          <a:prstGeom prst="line">
            <a:avLst/>
          </a:prstGeom>
          <a:ln w="19050">
            <a:solidFill>
              <a:srgbClr val="F47D5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3876895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bg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5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Wingdings" panose="05000000000000000000" pitchFamily="2" charset="2"/>
        <a:buChar char="§"/>
        <a:defRPr sz="2800">
          <a:solidFill>
            <a:schemeClr val="bg1"/>
          </a:solidFill>
          <a:latin typeface="Calibri" panose="020F0502020204030204" pitchFamily="34" charset="0"/>
          <a:ea typeface="+mn-ea"/>
          <a:cs typeface="+mn-cs"/>
        </a:defRPr>
      </a:lvl1pPr>
      <a:lvl2pPr marL="742950" indent="-28575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600">
          <a:solidFill>
            <a:schemeClr val="bg1"/>
          </a:solidFill>
          <a:latin typeface="Calibri" panose="020F050202020403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400">
          <a:solidFill>
            <a:schemeClr val="bg1"/>
          </a:solidFill>
          <a:latin typeface="Calibri" panose="020F050202020403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200">
          <a:solidFill>
            <a:schemeClr val="bg1"/>
          </a:solidFill>
          <a:latin typeface="Calibri" panose="020F050202020403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1000"/>
        </a:spcBef>
        <a:spcAft>
          <a:spcPts val="700"/>
        </a:spcAft>
        <a:buClr>
          <a:schemeClr val="bg1"/>
        </a:buClr>
        <a:buFont typeface="Arial" panose="020B0604020202020204" pitchFamily="34" charset="0"/>
        <a:buChar char="‒"/>
        <a:defRPr sz="2000">
          <a:solidFill>
            <a:schemeClr val="bg1"/>
          </a:solidFill>
          <a:latin typeface="Calibri" panose="020F0502020204030204" pitchFamily="34" charset="0"/>
        </a:defRPr>
      </a:lvl5pPr>
      <a:lvl6pPr marL="25146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90000"/>
        </a:lnSpc>
        <a:spcBef>
          <a:spcPct val="35000"/>
        </a:spcBef>
        <a:spcAft>
          <a:spcPct val="25000"/>
        </a:spcAft>
        <a:buClr>
          <a:schemeClr val="accent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5119844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353" imgH="353" progId="TCLayout.ActiveDocument.1">
                  <p:embed/>
                </p:oleObj>
              </mc:Choice>
              <mc:Fallback>
                <p:oleObj name="think-cell Slide" r:id="rId41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39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700022"/>
            <a:ext cx="10944225" cy="35673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/>
              <a:t>Insert slide title here (max. 2 lines | max. 1 line with Action Title)</a:t>
            </a:r>
          </a:p>
        </p:txBody>
      </p:sp>
      <p:grpSp>
        <p:nvGrpSpPr>
          <p:cNvPr id="7" name="Logo Merck"/>
          <p:cNvGrpSpPr>
            <a:grpSpLocks noChangeAspect="1"/>
          </p:cNvGrpSpPr>
          <p:nvPr userDrawn="1">
            <p:custDataLst>
              <p:tags r:id="rId40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8" name="Logo K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ogo C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Logo R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Logo E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ogo M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0206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  <p:sldLayoutId id="2147483696" r:id="rId27"/>
    <p:sldLayoutId id="2147483697" r:id="rId28"/>
    <p:sldLayoutId id="2147483698" r:id="rId29"/>
    <p:sldLayoutId id="2147483699" r:id="rId30"/>
    <p:sldLayoutId id="2147483700" r:id="rId31"/>
    <p:sldLayoutId id="2147483701" r:id="rId32"/>
    <p:sldLayoutId id="2147483702" r:id="rId33"/>
    <p:sldLayoutId id="2147483703" r:id="rId34"/>
    <p:sldLayoutId id="2147483704" r:id="rId35"/>
    <p:sldLayoutId id="2147483705" r:id="rId36"/>
  </p:sldLayoutIdLst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orient="horz" pos="935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pos="393">
          <p15:clr>
            <a:srgbClr val="F26B43"/>
          </p15:clr>
        </p15:guide>
        <p15:guide id="5" pos="728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362587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353" imgH="353" progId="TCLayout.ActiveDocument.1">
                  <p:embed/>
                </p:oleObj>
              </mc:Choice>
              <mc:Fallback>
                <p:oleObj name="think-cell Slide" r:id="rId41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 hidden="1"/>
          <p:cNvSpPr/>
          <p:nvPr userDrawn="1">
            <p:custDataLst>
              <p:tags r:id="rId39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U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700022"/>
            <a:ext cx="10944225" cy="35673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18000" rtlCol="0" anchor="b" anchorCtr="0">
            <a:spAutoFit/>
          </a:bodyPr>
          <a:lstStyle/>
          <a:p>
            <a:pPr lvl="0">
              <a:lnSpc>
                <a:spcPct val="100000"/>
              </a:lnSpc>
            </a:pPr>
            <a:r>
              <a:rPr lang="en-US" noProof="0"/>
              <a:t>Insert slide title here (max. 2 lines | max. 1 line with Action Title)</a:t>
            </a:r>
          </a:p>
        </p:txBody>
      </p:sp>
      <p:grpSp>
        <p:nvGrpSpPr>
          <p:cNvPr id="7" name="Logo Merck"/>
          <p:cNvGrpSpPr>
            <a:grpSpLocks noChangeAspect="1"/>
          </p:cNvGrpSpPr>
          <p:nvPr userDrawn="1">
            <p:custDataLst>
              <p:tags r:id="rId40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8" name="Logo K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ogo C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Logo R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Logo E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ogo M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37767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33" r:id="rId27"/>
    <p:sldLayoutId id="2147483734" r:id="rId28"/>
    <p:sldLayoutId id="2147483735" r:id="rId29"/>
    <p:sldLayoutId id="2147483736" r:id="rId30"/>
    <p:sldLayoutId id="2147483737" r:id="rId31"/>
    <p:sldLayoutId id="2147483738" r:id="rId32"/>
    <p:sldLayoutId id="2147483739" r:id="rId33"/>
    <p:sldLayoutId id="2147483740" r:id="rId34"/>
    <p:sldLayoutId id="2147483741" r:id="rId35"/>
    <p:sldLayoutId id="2147483742" r:id="rId36"/>
  </p:sldLayoutIdLst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orient="horz" pos="935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pos="393">
          <p15:clr>
            <a:srgbClr val="F26B43"/>
          </p15:clr>
        </p15:guide>
        <p15:guide id="5" pos="728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53" imgH="353" progId="TCLayout.ActiveDocument.1">
                  <p:embed/>
                </p:oleObj>
              </mc:Choice>
              <mc:Fallback>
                <p:oleObj name="think-cell Slide" r:id="rId22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/>
          <p:cNvSpPr/>
          <p:nvPr userDrawn="1">
            <p:custDataLst>
              <p:tags r:id="rId18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404813"/>
            <a:ext cx="10944225" cy="651939"/>
          </a:xfrm>
          <a:prstGeom prst="rect">
            <a:avLst/>
          </a:prstGeom>
          <a:noFill/>
        </p:spPr>
        <p:txBody>
          <a:bodyPr vert="horz" lIns="0" tIns="0" rIns="0" bIns="18000" rtlCol="0" anchor="b" anchorCtr="0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noProof="0" dirty="0"/>
              <a:t>Insert slide title here (max. 2 lines | max. 1 line with Action Title)</a:t>
            </a:r>
          </a:p>
        </p:txBody>
      </p:sp>
      <p:grpSp>
        <p:nvGrpSpPr>
          <p:cNvPr id="7" name="Logo Merck"/>
          <p:cNvGrpSpPr>
            <a:grpSpLocks noChangeAspect="1"/>
          </p:cNvGrpSpPr>
          <p:nvPr userDrawn="1">
            <p:custDataLst>
              <p:tags r:id="rId19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bg2"/>
          </a:solidFill>
        </p:grpSpPr>
        <p:sp>
          <p:nvSpPr>
            <p:cNvPr id="8" name="Logo K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Logo C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Logo R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Logo E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Logo M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" name="empower - DO NOT DELETE!!!"/>
          <p:cNvSpPr/>
          <p:nvPr userDrawn="1">
            <p:custDataLst>
              <p:tags r:id="rId20"/>
            </p:custDataLst>
          </p:nvPr>
        </p:nvSpPr>
        <p:spPr bwMode="gray">
          <a:xfrm>
            <a:off x="-63500" y="-63500"/>
            <a:ext cx="0" cy="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" name="empower - DO NOT DELETE!!!" hidden="1"/>
          <p:cNvSpPr/>
          <p:nvPr userDrawn="1">
            <p:custDataLst>
              <p:tags r:id="rId21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dirty="0" err="1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812822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</p:sldLayoutIdLst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bg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orient="horz" pos="935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pos="393">
          <p15:clr>
            <a:srgbClr val="F26B43"/>
          </p15:clr>
        </p15:guide>
        <p15:guide id="5" pos="728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5512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pos="234">
          <p15:clr>
            <a:srgbClr val="F26B43"/>
          </p15:clr>
        </p15:guide>
        <p15:guide id="14" pos="7446">
          <p15:clr>
            <a:srgbClr val="F26B43"/>
          </p15:clr>
        </p15:guide>
        <p15:guide id="15" orient="horz" pos="232">
          <p15:clr>
            <a:srgbClr val="F26B43"/>
          </p15:clr>
        </p15:guide>
        <p15:guide id="16" orient="horz" pos="408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Box 19"/>
          <p:cNvSpPr txBox="1">
            <a:spLocks noChangeArrowheads="1"/>
          </p:cNvSpPr>
          <p:nvPr userDrawn="1"/>
        </p:nvSpPr>
        <p:spPr bwMode="auto">
          <a:xfrm>
            <a:off x="3733200" y="6616800"/>
            <a:ext cx="47256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0960" rIns="6096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/>
            <a:r>
              <a:rPr lang="en-US" sz="800" dirty="0">
                <a:solidFill>
                  <a:schemeClr val="bg2"/>
                </a:solidFill>
                <a:cs typeface="Arial" charset="0"/>
              </a:rPr>
              <a:t>For medical scientific exchange with Healthcare Professionals and non-promotional use only </a:t>
            </a:r>
          </a:p>
        </p:txBody>
      </p:sp>
      <p:pic>
        <p:nvPicPr>
          <p:cNvPr id="1027" name="Picture 5" hidden="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5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46618" y="366184"/>
            <a:ext cx="11084983" cy="6096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6400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/>
              <a:t>Modifiez le style du titre</a:t>
            </a:r>
            <a:endParaRPr lang="en-US" dirty="0"/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 flipH="1">
            <a:off x="431800" y="982133"/>
            <a:ext cx="11322051" cy="0"/>
          </a:xfrm>
          <a:prstGeom prst="line">
            <a:avLst/>
          </a:prstGeom>
          <a:ln w="6350">
            <a:solidFill>
              <a:schemeClr val="accent2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4">
            <a:extLst>
              <a:ext uri="{FF2B5EF4-FFF2-40B4-BE49-F238E27FC236}">
                <a16:creationId xmlns:a16="http://schemas.microsoft.com/office/drawing/2014/main" id="{9074B2C1-759E-B8F8-964A-C3B7772809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492" r="65717" b="4254"/>
          <a:stretch/>
        </p:blipFill>
        <p:spPr bwMode="auto">
          <a:xfrm>
            <a:off x="10856385" y="6221002"/>
            <a:ext cx="1138767" cy="484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1644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</p:sldLayoutIdLst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 kern="1200">
          <a:solidFill>
            <a:schemeClr val="tx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33" b="1">
          <a:solidFill>
            <a:schemeClr val="tx2"/>
          </a:solidFill>
          <a:latin typeface="Arial" charset="0"/>
          <a:ea typeface="ＭＳ Ｐゴシック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33" b="1">
          <a:solidFill>
            <a:schemeClr val="tx2"/>
          </a:solidFill>
          <a:latin typeface="Arial" charset="0"/>
          <a:ea typeface="ＭＳ Ｐゴシック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33" b="1">
          <a:solidFill>
            <a:schemeClr val="tx2"/>
          </a:solidFill>
          <a:latin typeface="Arial" charset="0"/>
          <a:ea typeface="ＭＳ Ｐゴシック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33" b="1">
          <a:solidFill>
            <a:schemeClr val="tx2"/>
          </a:solidFill>
          <a:latin typeface="Arial" charset="0"/>
          <a:ea typeface="ＭＳ Ｐゴシック" charset="0"/>
        </a:defRPr>
      </a:lvl5pPr>
      <a:lvl6pPr marL="6095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33" b="1">
          <a:solidFill>
            <a:schemeClr val="tx2"/>
          </a:solidFill>
          <a:latin typeface="Arial" charset="0"/>
          <a:ea typeface="ＭＳ Ｐゴシック" charset="0"/>
        </a:defRPr>
      </a:lvl6pPr>
      <a:lvl7pPr marL="12191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33" b="1">
          <a:solidFill>
            <a:schemeClr val="tx2"/>
          </a:solidFill>
          <a:latin typeface="Arial" charset="0"/>
          <a:ea typeface="ＭＳ Ｐゴシック" charset="0"/>
        </a:defRPr>
      </a:lvl7pPr>
      <a:lvl8pPr marL="18287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33" b="1">
          <a:solidFill>
            <a:schemeClr val="tx2"/>
          </a:solidFill>
          <a:latin typeface="Arial" charset="0"/>
          <a:ea typeface="ＭＳ Ｐゴシック" charset="0"/>
        </a:defRPr>
      </a:lvl8pPr>
      <a:lvl9pPr marL="24383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33" b="1">
          <a:solidFill>
            <a:schemeClr val="tx2"/>
          </a:solidFill>
          <a:latin typeface="Arial" charset="0"/>
          <a:ea typeface="ＭＳ Ｐゴシック" charset="0"/>
        </a:defRPr>
      </a:lvl9pPr>
    </p:titleStyle>
    <p:bodyStyle>
      <a:lvl1pPr algn="l" rtl="0" eaLnBrk="1" fontAlgn="base" hangingPunct="1">
        <a:spcBef>
          <a:spcPts val="1867"/>
        </a:spcBef>
        <a:spcAft>
          <a:spcPct val="0"/>
        </a:spcAft>
        <a:defRPr kern="1200">
          <a:solidFill>
            <a:schemeClr val="accent2"/>
          </a:solidFill>
          <a:latin typeface="Arial" pitchFamily="34" charset="0"/>
          <a:ea typeface="ＭＳ Ｐゴシック" charset="0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ts val="1867"/>
        </a:spcBef>
        <a:spcAft>
          <a:spcPct val="0"/>
        </a:spcAft>
        <a:buClr>
          <a:schemeClr val="accent2"/>
        </a:buClr>
        <a:buSzPct val="85000"/>
        <a:buFont typeface="Arial" charset="0"/>
        <a:tabLst>
          <a:tab pos="537620" algn="l"/>
        </a:tabLst>
        <a:defRPr kern="1200">
          <a:solidFill>
            <a:schemeClr val="accent1"/>
          </a:solidFill>
          <a:latin typeface="Arial" pitchFamily="34" charset="0"/>
          <a:ea typeface="ＭＳ Ｐゴシック" charset="0"/>
          <a:cs typeface="Arial" pitchFamily="34" charset="0"/>
        </a:defRPr>
      </a:lvl2pPr>
      <a:lvl3pPr algn="l" rtl="0" eaLnBrk="1" fontAlgn="base" hangingPunct="1">
        <a:lnSpc>
          <a:spcPct val="90000"/>
        </a:lnSpc>
        <a:spcBef>
          <a:spcPts val="533"/>
        </a:spcBef>
        <a:spcAft>
          <a:spcPct val="0"/>
        </a:spcAft>
        <a:buClr>
          <a:schemeClr val="accent2"/>
        </a:buClr>
        <a:buFont typeface="Arial" charset="0"/>
        <a:defRPr sz="1867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3pPr>
      <a:lvl4pPr marL="2117" algn="l" rtl="0" eaLnBrk="1" fontAlgn="base" hangingPunct="1">
        <a:lnSpc>
          <a:spcPct val="90000"/>
        </a:lnSpc>
        <a:spcBef>
          <a:spcPts val="533"/>
        </a:spcBef>
        <a:spcAft>
          <a:spcPct val="0"/>
        </a:spcAft>
        <a:buClr>
          <a:schemeClr val="accent2"/>
        </a:buClr>
        <a:buSzPct val="85000"/>
        <a:buFont typeface="Arial" charset="0"/>
        <a:defRPr sz="1867" b="1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4pPr>
      <a:lvl5pPr marL="226478" indent="-226478" algn="l" rtl="0" eaLnBrk="1" fontAlgn="base" hangingPunct="1">
        <a:lnSpc>
          <a:spcPct val="90000"/>
        </a:lnSpc>
        <a:spcBef>
          <a:spcPts val="533"/>
        </a:spcBef>
        <a:spcAft>
          <a:spcPct val="0"/>
        </a:spcAft>
        <a:buClr>
          <a:schemeClr val="accent2"/>
        </a:buClr>
        <a:buFont typeface="Arial" charset="0"/>
        <a:buChar char="•"/>
        <a:defRPr sz="1867" b="1" kern="1200">
          <a:solidFill>
            <a:schemeClr val="bg2"/>
          </a:solidFill>
          <a:latin typeface="Arial" pitchFamily="34" charset="0"/>
          <a:ea typeface="ＭＳ Ｐゴシック" charset="0"/>
          <a:cs typeface="Arial" pitchFamily="34" charset="0"/>
        </a:defRPr>
      </a:lvl5pPr>
      <a:lvl6pPr marL="461422" indent="-226478" algn="l" defTabSz="1219170" rtl="0" eaLnBrk="1" latinLnBrk="0" hangingPunct="1">
        <a:lnSpc>
          <a:spcPct val="90000"/>
        </a:lnSpc>
        <a:spcBef>
          <a:spcPts val="533"/>
        </a:spcBef>
        <a:spcAft>
          <a:spcPts val="0"/>
        </a:spcAft>
        <a:buClr>
          <a:schemeClr val="accent2"/>
        </a:buClr>
        <a:buSzPct val="85000"/>
        <a:buFont typeface="Arial" panose="020B0604020202020204" pitchFamily="34" charset="0"/>
        <a:buChar char="–"/>
        <a:defRPr sz="1867" kern="1200" baseline="0">
          <a:solidFill>
            <a:schemeClr val="bg2"/>
          </a:solidFill>
          <a:latin typeface="Arial" pitchFamily="34" charset="0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10">
          <p15:clr>
            <a:srgbClr val="F26B43"/>
          </p15:clr>
        </p15:guide>
        <p15:guide id="2" pos="279">
          <p15:clr>
            <a:srgbClr val="F26B43"/>
          </p15:clr>
        </p15:guide>
        <p15:guide id="3" pos="7266">
          <p15:clr>
            <a:srgbClr val="F26B43"/>
          </p15:clr>
        </p15:guide>
        <p15:guide id="4" orient="horz" pos="3701">
          <p15:clr>
            <a:srgbClr val="F26B43"/>
          </p15:clr>
        </p15:guide>
        <p15:guide id="5" orient="horz" pos="4168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0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16.xml"/><Relationship Id="rId13" Type="http://schemas.openxmlformats.org/officeDocument/2006/relationships/slide" Target="slide13.xml"/><Relationship Id="rId18" Type="http://schemas.openxmlformats.org/officeDocument/2006/relationships/slide" Target="slide27.xml"/><Relationship Id="rId3" Type="http://schemas.openxmlformats.org/officeDocument/2006/relationships/image" Target="../media/image17.png"/><Relationship Id="rId7" Type="http://schemas.openxmlformats.org/officeDocument/2006/relationships/slide" Target="slide15.xml"/><Relationship Id="rId12" Type="http://schemas.openxmlformats.org/officeDocument/2006/relationships/image" Target="../media/image21.svg"/><Relationship Id="rId17" Type="http://schemas.openxmlformats.org/officeDocument/2006/relationships/slide" Target="slide21.xml"/><Relationship Id="rId2" Type="http://schemas.openxmlformats.org/officeDocument/2006/relationships/notesSlide" Target="../notesSlides/notesSlide2.xml"/><Relationship Id="rId16" Type="http://schemas.openxmlformats.org/officeDocument/2006/relationships/slide" Target="slide20.xml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19.png"/><Relationship Id="rId11" Type="http://schemas.openxmlformats.org/officeDocument/2006/relationships/image" Target="../media/image20.png"/><Relationship Id="rId5" Type="http://schemas.openxmlformats.org/officeDocument/2006/relationships/image" Target="../media/image18.png"/><Relationship Id="rId15" Type="http://schemas.openxmlformats.org/officeDocument/2006/relationships/slide" Target="slide4.xml"/><Relationship Id="rId10" Type="http://schemas.openxmlformats.org/officeDocument/2006/relationships/slide" Target="slide1.xml"/><Relationship Id="rId19" Type="http://schemas.openxmlformats.org/officeDocument/2006/relationships/slide" Target="slide28.xml"/><Relationship Id="rId4" Type="http://schemas.openxmlformats.org/officeDocument/2006/relationships/slide" Target="slide9.xml"/><Relationship Id="rId9" Type="http://schemas.openxmlformats.org/officeDocument/2006/relationships/slide" Target="slide25.xml"/><Relationship Id="rId14" Type="http://schemas.openxmlformats.org/officeDocument/2006/relationships/slide" Target="slide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slide" Target="slide20.xml"/><Relationship Id="rId3" Type="http://schemas.openxmlformats.org/officeDocument/2006/relationships/slide" Target="slide9.xml"/><Relationship Id="rId7" Type="http://schemas.openxmlformats.org/officeDocument/2006/relationships/slide" Target="slide1.xml"/><Relationship Id="rId12" Type="http://schemas.openxmlformats.org/officeDocument/2006/relationships/slide" Target="slide4.xml"/><Relationship Id="rId2" Type="http://schemas.openxmlformats.org/officeDocument/2006/relationships/notesSlide" Target="../notesSlides/notesSlide3.xml"/><Relationship Id="rId16" Type="http://schemas.openxmlformats.org/officeDocument/2006/relationships/slide" Target="slide28.xml"/><Relationship Id="rId1" Type="http://schemas.openxmlformats.org/officeDocument/2006/relationships/slideLayout" Target="../slideLayouts/slideLayout110.xml"/><Relationship Id="rId6" Type="http://schemas.openxmlformats.org/officeDocument/2006/relationships/slide" Target="slide25.xml"/><Relationship Id="rId11" Type="http://schemas.openxmlformats.org/officeDocument/2006/relationships/slide" Target="slide18.xml"/><Relationship Id="rId5" Type="http://schemas.openxmlformats.org/officeDocument/2006/relationships/slide" Target="slide16.xml"/><Relationship Id="rId15" Type="http://schemas.openxmlformats.org/officeDocument/2006/relationships/slide" Target="slide27.xml"/><Relationship Id="rId10" Type="http://schemas.openxmlformats.org/officeDocument/2006/relationships/slide" Target="slide13.xml"/><Relationship Id="rId4" Type="http://schemas.openxmlformats.org/officeDocument/2006/relationships/slide" Target="slide15.xml"/><Relationship Id="rId9" Type="http://schemas.openxmlformats.org/officeDocument/2006/relationships/image" Target="../media/image21.svg"/><Relationship Id="rId14" Type="http://schemas.openxmlformats.org/officeDocument/2006/relationships/slide" Target="slide2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" Target="slide16.xml"/><Relationship Id="rId13" Type="http://schemas.openxmlformats.org/officeDocument/2006/relationships/slide" Target="slide13.xml"/><Relationship Id="rId18" Type="http://schemas.openxmlformats.org/officeDocument/2006/relationships/slide" Target="slide27.xml"/><Relationship Id="rId3" Type="http://schemas.openxmlformats.org/officeDocument/2006/relationships/slide" Target="slide9.xml"/><Relationship Id="rId7" Type="http://schemas.openxmlformats.org/officeDocument/2006/relationships/slide" Target="slide15.xml"/><Relationship Id="rId12" Type="http://schemas.openxmlformats.org/officeDocument/2006/relationships/image" Target="../media/image21.svg"/><Relationship Id="rId17" Type="http://schemas.openxmlformats.org/officeDocument/2006/relationships/slide" Target="slide21.xml"/><Relationship Id="rId2" Type="http://schemas.openxmlformats.org/officeDocument/2006/relationships/notesSlide" Target="../notesSlides/notesSlide4.xml"/><Relationship Id="rId16" Type="http://schemas.openxmlformats.org/officeDocument/2006/relationships/slide" Target="slide20.xml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23.svg"/><Relationship Id="rId11" Type="http://schemas.openxmlformats.org/officeDocument/2006/relationships/image" Target="../media/image20.png"/><Relationship Id="rId5" Type="http://schemas.openxmlformats.org/officeDocument/2006/relationships/image" Target="../media/image22.png"/><Relationship Id="rId15" Type="http://schemas.openxmlformats.org/officeDocument/2006/relationships/slide" Target="slide4.xml"/><Relationship Id="rId10" Type="http://schemas.openxmlformats.org/officeDocument/2006/relationships/slide" Target="slide1.xml"/><Relationship Id="rId19" Type="http://schemas.openxmlformats.org/officeDocument/2006/relationships/slide" Target="slide28.xml"/><Relationship Id="rId4" Type="http://schemas.openxmlformats.org/officeDocument/2006/relationships/slide" Target="slide7.xml"/><Relationship Id="rId9" Type="http://schemas.openxmlformats.org/officeDocument/2006/relationships/slide" Target="slide25.xml"/><Relationship Id="rId14" Type="http://schemas.openxmlformats.org/officeDocument/2006/relationships/slide" Target="slide1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svg"/><Relationship Id="rId13" Type="http://schemas.openxmlformats.org/officeDocument/2006/relationships/image" Target="../media/image33.svg"/><Relationship Id="rId3" Type="http://schemas.openxmlformats.org/officeDocument/2006/relationships/slide" Target="slide6.xml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2.xml"/><Relationship Id="rId6" Type="http://schemas.openxmlformats.org/officeDocument/2006/relationships/image" Target="../media/image26.svg"/><Relationship Id="rId11" Type="http://schemas.openxmlformats.org/officeDocument/2006/relationships/image" Target="../media/image31.sv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slide" Target="slide21.xml"/><Relationship Id="rId3" Type="http://schemas.openxmlformats.org/officeDocument/2006/relationships/slide" Target="slide15.xml"/><Relationship Id="rId7" Type="http://schemas.openxmlformats.org/officeDocument/2006/relationships/image" Target="../media/image20.png"/><Relationship Id="rId12" Type="http://schemas.openxmlformats.org/officeDocument/2006/relationships/slide" Target="slide20.xml"/><Relationship Id="rId2" Type="http://schemas.openxmlformats.org/officeDocument/2006/relationships/slide" Target="slide16.xml"/><Relationship Id="rId1" Type="http://schemas.openxmlformats.org/officeDocument/2006/relationships/slideLayout" Target="../slideLayouts/slideLayout110.xml"/><Relationship Id="rId6" Type="http://schemas.openxmlformats.org/officeDocument/2006/relationships/slide" Target="slide1.xml"/><Relationship Id="rId11" Type="http://schemas.openxmlformats.org/officeDocument/2006/relationships/slide" Target="slide4.xml"/><Relationship Id="rId5" Type="http://schemas.openxmlformats.org/officeDocument/2006/relationships/slide" Target="slide9.xml"/><Relationship Id="rId15" Type="http://schemas.openxmlformats.org/officeDocument/2006/relationships/slide" Target="slide28.xml"/><Relationship Id="rId10" Type="http://schemas.openxmlformats.org/officeDocument/2006/relationships/slide" Target="slide18.xml"/><Relationship Id="rId4" Type="http://schemas.openxmlformats.org/officeDocument/2006/relationships/slide" Target="slide25.xml"/><Relationship Id="rId9" Type="http://schemas.openxmlformats.org/officeDocument/2006/relationships/slide" Target="slide13.xml"/><Relationship Id="rId14" Type="http://schemas.openxmlformats.org/officeDocument/2006/relationships/slide" Target="slide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6645C49-ACBA-66C6-731A-20E286B5A0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/>
              <a:t>Léčba pacientů s </a:t>
            </a:r>
            <a:r>
              <a:rPr lang="cs-CZ" dirty="0" err="1"/>
              <a:t>mCRC</a:t>
            </a:r>
            <a:r>
              <a:rPr lang="cs-CZ" dirty="0"/>
              <a:t> při souběhu  MSI-H a mutace BRAF V600E </a:t>
            </a:r>
          </a:p>
          <a:p>
            <a:endParaRPr lang="cs-CZ" dirty="0"/>
          </a:p>
          <a:p>
            <a:r>
              <a:rPr lang="cs-CZ" dirty="0"/>
              <a:t>Kolorektální den KOC Plzeň 21.3.2024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808978F-B22F-50BE-8FC2-35F96A33B2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sz="3200" dirty="0"/>
              <a:t>Jiří Tomášek 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966AA04F-54C0-B10A-DC01-CB0AF9FAE8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543136309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43108B6B-72E4-DE3B-FDBF-9DA51C9ED6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dirty="0" err="1"/>
              <a:t>tomasek</a:t>
            </a:r>
            <a:r>
              <a:rPr lang="en-US" dirty="0"/>
              <a:t>@</a:t>
            </a:r>
            <a:r>
              <a:rPr lang="cs-CZ" dirty="0"/>
              <a:t>mou.cz</a:t>
            </a:r>
          </a:p>
        </p:txBody>
      </p:sp>
    </p:spTree>
    <p:extLst>
      <p:ext uri="{BB962C8B-B14F-4D97-AF65-F5344CB8AC3E}">
        <p14:creationId xmlns:p14="http://schemas.microsoft.com/office/powerpoint/2010/main" val="2914167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A54D846C-F993-40D9-B4A9-05EE8B5658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4004" t="12082" r="23866" b="19086"/>
          <a:stretch/>
        </p:blipFill>
        <p:spPr>
          <a:xfrm>
            <a:off x="629660" y="559838"/>
            <a:ext cx="10797370" cy="5795916"/>
          </a:xfrm>
        </p:spPr>
      </p:pic>
    </p:spTree>
    <p:extLst>
      <p:ext uri="{BB962C8B-B14F-4D97-AF65-F5344CB8AC3E}">
        <p14:creationId xmlns:p14="http://schemas.microsoft.com/office/powerpoint/2010/main" val="18970054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FC5F4-7176-48A9-9B93-EF2DE0938A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/>
              <a:t>BRAF</a:t>
            </a:r>
            <a:r>
              <a:rPr lang="en-US" dirty="0"/>
              <a:t> </a:t>
            </a:r>
            <a:r>
              <a:rPr lang="cs-CZ" dirty="0"/>
              <a:t>mutace u </a:t>
            </a:r>
            <a:r>
              <a:rPr lang="en-US" dirty="0"/>
              <a:t>CR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905A49-2A4E-4B16-A3F1-5DAC00C404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1819" y="1510730"/>
            <a:ext cx="5882209" cy="4678738"/>
          </a:xfrm>
        </p:spPr>
        <p:txBody>
          <a:bodyPr/>
          <a:lstStyle/>
          <a:p>
            <a:r>
              <a:rPr lang="en-US" sz="2600" dirty="0"/>
              <a:t>BRAF: </a:t>
            </a:r>
            <a:r>
              <a:rPr lang="cs-CZ" sz="2600" dirty="0"/>
              <a:t>primární efektor signální dráhy RAS</a:t>
            </a:r>
            <a:r>
              <a:rPr lang="en-US" sz="2600" dirty="0"/>
              <a:t>​</a:t>
            </a:r>
          </a:p>
          <a:p>
            <a:r>
              <a:rPr lang="en-US" sz="2600" i="1" dirty="0"/>
              <a:t>BRAF</a:t>
            </a:r>
            <a:r>
              <a:rPr lang="en-US" sz="2600" dirty="0"/>
              <a:t> </a:t>
            </a:r>
            <a:r>
              <a:rPr lang="en-US" sz="2600" dirty="0" err="1"/>
              <a:t>muta</a:t>
            </a:r>
            <a:r>
              <a:rPr lang="cs-CZ" sz="2600" dirty="0" err="1"/>
              <a:t>ce</a:t>
            </a:r>
            <a:r>
              <a:rPr lang="en-US" sz="2600" dirty="0"/>
              <a:t>​</a:t>
            </a:r>
          </a:p>
          <a:p>
            <a:pPr lvl="1"/>
            <a:r>
              <a:rPr lang="cs-CZ" sz="2400" dirty="0"/>
              <a:t>Nejčastější mutace:  </a:t>
            </a:r>
            <a:r>
              <a:rPr lang="en-US" sz="2400" dirty="0"/>
              <a:t>V600E</a:t>
            </a:r>
          </a:p>
          <a:p>
            <a:pPr lvl="2"/>
            <a:r>
              <a:rPr lang="cs-CZ" sz="2200" b="1" dirty="0">
                <a:solidFill>
                  <a:schemeClr val="accent3"/>
                </a:solidFill>
              </a:rPr>
              <a:t>Cca u 8% </a:t>
            </a:r>
            <a:r>
              <a:rPr lang="cs-CZ" sz="2200" b="1" dirty="0" err="1">
                <a:solidFill>
                  <a:schemeClr val="accent3"/>
                </a:solidFill>
              </a:rPr>
              <a:t>pacinetů</a:t>
            </a:r>
            <a:r>
              <a:rPr lang="cs-CZ" sz="2200" b="1" dirty="0">
                <a:solidFill>
                  <a:schemeClr val="accent3"/>
                </a:solidFill>
              </a:rPr>
              <a:t> s CRC </a:t>
            </a:r>
            <a:r>
              <a:rPr lang="en-US" sz="2200" b="1" dirty="0">
                <a:solidFill>
                  <a:schemeClr val="accent3"/>
                </a:solidFill>
              </a:rPr>
              <a:t>​</a:t>
            </a:r>
          </a:p>
          <a:p>
            <a:pPr lvl="1"/>
            <a:r>
              <a:rPr lang="cs-CZ" sz="2400" i="1" dirty="0"/>
              <a:t>Vzájemně se vylučující s mutací RAS (výjimky potvrzující pravidlo) </a:t>
            </a:r>
          </a:p>
          <a:p>
            <a:pPr lvl="1"/>
            <a:endParaRPr lang="en-US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DB7F33E-64C5-4469-910B-4053D27105BB}"/>
              </a:ext>
            </a:extLst>
          </p:cNvPr>
          <p:cNvSpPr txBox="1"/>
          <p:nvPr/>
        </p:nvSpPr>
        <p:spPr bwMode="auto">
          <a:xfrm>
            <a:off x="427748" y="6423853"/>
            <a:ext cx="9211552" cy="276999"/>
          </a:xfrm>
          <a:prstGeom prst="rect">
            <a:avLst/>
          </a:prstGeom>
          <a:noFill/>
          <a:ln>
            <a:noFill/>
          </a:ln>
        </p:spPr>
        <p:txBody>
          <a:bodyPr wrap="square" anchor="b">
            <a:spAutoFit/>
          </a:bodyPr>
          <a:lstStyle>
            <a:defPPr>
              <a:defRPr lang="en-US"/>
            </a:defPPr>
            <a:lvl1pPr>
              <a:defRPr kumimoji="0" sz="1200" b="0" i="0" u="none" strike="noStrike" cap="none" spc="-11" normalizeH="0" baseline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>
              <a:defRPr>
                <a:latin typeface="Arial" charset="0"/>
              </a:defRPr>
            </a:lvl2pPr>
            <a:lvl3pPr marL="1143000" indent="-228600">
              <a:defRPr>
                <a:latin typeface="Arial" charset="0"/>
              </a:defRPr>
            </a:lvl3pPr>
            <a:lvl4pPr marL="1600200" indent="-228600">
              <a:defRPr>
                <a:latin typeface="Arial" charset="0"/>
              </a:defRPr>
            </a:lvl4pPr>
            <a:lvl5pPr marL="2057400" indent="-228600">
              <a:defRPr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11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urk. 2016;5. Larki. Cell J. 2017;19:113. </a:t>
            </a:r>
            <a:r>
              <a:rPr kumimoji="0" lang="it-IT" sz="1200" b="0" i="0" u="none" strike="noStrike" kern="1200" cap="none" spc="-11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i Nicolantonio. JCO. 2008;26:5705. Artale. JCO. 2008;26:4217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D7550A-3574-4690-952B-CFFF9592A01F}"/>
              </a:ext>
            </a:extLst>
          </p:cNvPr>
          <p:cNvSpPr txBox="1"/>
          <p:nvPr/>
        </p:nvSpPr>
        <p:spPr bwMode="auto">
          <a:xfrm>
            <a:off x="6864592" y="1229043"/>
            <a:ext cx="4876799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APK Pathway in CRC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1D2C974-AA61-4ED0-BAFB-9CA7026945DD}"/>
              </a:ext>
            </a:extLst>
          </p:cNvPr>
          <p:cNvGrpSpPr/>
          <p:nvPr/>
        </p:nvGrpSpPr>
        <p:grpSpPr>
          <a:xfrm>
            <a:off x="7055717" y="2034462"/>
            <a:ext cx="4454958" cy="442432"/>
            <a:chOff x="6096000" y="2645388"/>
            <a:chExt cx="4200216" cy="417133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59973CA-0A52-41AE-BA81-9BB4AD67C59F}"/>
                </a:ext>
              </a:extLst>
            </p:cNvPr>
            <p:cNvGrpSpPr/>
            <p:nvPr/>
          </p:nvGrpSpPr>
          <p:grpSpPr>
            <a:xfrm>
              <a:off x="6096000" y="2645388"/>
              <a:ext cx="1400248" cy="397677"/>
              <a:chOff x="4890777" y="3558752"/>
              <a:chExt cx="1367157" cy="388279"/>
            </a:xfrm>
          </p:grpSpPr>
          <p:grpSp>
            <p:nvGrpSpPr>
              <p:cNvPr id="254" name="Group 142">
                <a:extLst>
                  <a:ext uri="{FF2B5EF4-FFF2-40B4-BE49-F238E27FC236}">
                    <a16:creationId xmlns:a16="http://schemas.microsoft.com/office/drawing/2014/main" id="{37C656E0-22D3-4A54-9D1E-E2409E50FAB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890777" y="3564691"/>
                <a:ext cx="83389" cy="175252"/>
                <a:chOff x="5021753" y="2927868"/>
                <a:chExt cx="83398" cy="175731"/>
              </a:xfrm>
            </p:grpSpPr>
            <p:sp>
              <p:nvSpPr>
                <p:cNvPr id="371" name="Oval 143">
                  <a:extLst>
                    <a:ext uri="{FF2B5EF4-FFF2-40B4-BE49-F238E27FC236}">
                      <a16:creationId xmlns:a16="http://schemas.microsoft.com/office/drawing/2014/main" id="{D851CBC8-16F1-4C98-8FA5-78372302B65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2" name="Freeform 144">
                  <a:extLst>
                    <a:ext uri="{FF2B5EF4-FFF2-40B4-BE49-F238E27FC236}">
                      <a16:creationId xmlns:a16="http://schemas.microsoft.com/office/drawing/2014/main" id="{16F2C96D-AD28-49C3-BA45-9B40191411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3" name="Freeform 145">
                  <a:extLst>
                    <a:ext uri="{FF2B5EF4-FFF2-40B4-BE49-F238E27FC236}">
                      <a16:creationId xmlns:a16="http://schemas.microsoft.com/office/drawing/2014/main" id="{B21327BE-B52A-49A9-8915-88E9AB5144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55" name="Group 146">
                <a:extLst>
                  <a:ext uri="{FF2B5EF4-FFF2-40B4-BE49-F238E27FC236}">
                    <a16:creationId xmlns:a16="http://schemas.microsoft.com/office/drawing/2014/main" id="{53F9A052-1AB5-4994-BCA5-17C626EC4EB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86078" y="3558752"/>
                <a:ext cx="83389" cy="175252"/>
                <a:chOff x="5021753" y="2927868"/>
                <a:chExt cx="83398" cy="175731"/>
              </a:xfrm>
            </p:grpSpPr>
            <p:sp>
              <p:nvSpPr>
                <p:cNvPr id="368" name="Oval 147">
                  <a:extLst>
                    <a:ext uri="{FF2B5EF4-FFF2-40B4-BE49-F238E27FC236}">
                      <a16:creationId xmlns:a16="http://schemas.microsoft.com/office/drawing/2014/main" id="{622951AF-683D-40F5-8DD6-F9B713CF1A3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9" name="Freeform 148">
                  <a:extLst>
                    <a:ext uri="{FF2B5EF4-FFF2-40B4-BE49-F238E27FC236}">
                      <a16:creationId xmlns:a16="http://schemas.microsoft.com/office/drawing/2014/main" id="{CC7B46E7-134F-412C-A004-B54AF6B4A1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0" name="Freeform 149">
                  <a:extLst>
                    <a:ext uri="{FF2B5EF4-FFF2-40B4-BE49-F238E27FC236}">
                      <a16:creationId xmlns:a16="http://schemas.microsoft.com/office/drawing/2014/main" id="{E4E629A4-6399-4076-AA57-A4CDE40336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56" name="Group 150">
                <a:extLst>
                  <a:ext uri="{FF2B5EF4-FFF2-40B4-BE49-F238E27FC236}">
                    <a16:creationId xmlns:a16="http://schemas.microsoft.com/office/drawing/2014/main" id="{AE4679AC-7C9B-4741-8F41-8D20D13B493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78402" y="3564692"/>
                <a:ext cx="83389" cy="175252"/>
                <a:chOff x="5021753" y="2927868"/>
                <a:chExt cx="83398" cy="175731"/>
              </a:xfrm>
            </p:grpSpPr>
            <p:sp>
              <p:nvSpPr>
                <p:cNvPr id="365" name="Oval 151">
                  <a:extLst>
                    <a:ext uri="{FF2B5EF4-FFF2-40B4-BE49-F238E27FC236}">
                      <a16:creationId xmlns:a16="http://schemas.microsoft.com/office/drawing/2014/main" id="{FD2B3CE0-7CEB-47C4-BC06-AFB11F563B3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6" name="Freeform 152">
                  <a:extLst>
                    <a:ext uri="{FF2B5EF4-FFF2-40B4-BE49-F238E27FC236}">
                      <a16:creationId xmlns:a16="http://schemas.microsoft.com/office/drawing/2014/main" id="{C450652F-C705-4674-8D67-407B895B10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7" name="Freeform 153">
                  <a:extLst>
                    <a:ext uri="{FF2B5EF4-FFF2-40B4-BE49-F238E27FC236}">
                      <a16:creationId xmlns:a16="http://schemas.microsoft.com/office/drawing/2014/main" id="{17FA9F8F-C8DF-4068-B1F3-EA2D142815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57" name="Group 154">
                <a:extLst>
                  <a:ext uri="{FF2B5EF4-FFF2-40B4-BE49-F238E27FC236}">
                    <a16:creationId xmlns:a16="http://schemas.microsoft.com/office/drawing/2014/main" id="{E1A55E8D-1745-4AA4-93AA-D1469223247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67747" y="3561722"/>
                <a:ext cx="83389" cy="175252"/>
                <a:chOff x="5021753" y="2927868"/>
                <a:chExt cx="83398" cy="175731"/>
              </a:xfrm>
            </p:grpSpPr>
            <p:sp>
              <p:nvSpPr>
                <p:cNvPr id="362" name="Oval 155">
                  <a:extLst>
                    <a:ext uri="{FF2B5EF4-FFF2-40B4-BE49-F238E27FC236}">
                      <a16:creationId xmlns:a16="http://schemas.microsoft.com/office/drawing/2014/main" id="{BD1AFE6A-BDAE-4A53-8865-63F99ECAA8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3" name="Freeform 156">
                  <a:extLst>
                    <a:ext uri="{FF2B5EF4-FFF2-40B4-BE49-F238E27FC236}">
                      <a16:creationId xmlns:a16="http://schemas.microsoft.com/office/drawing/2014/main" id="{76042049-2D3B-4F35-8E42-CE2B32E040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4" name="Freeform 157">
                  <a:extLst>
                    <a:ext uri="{FF2B5EF4-FFF2-40B4-BE49-F238E27FC236}">
                      <a16:creationId xmlns:a16="http://schemas.microsoft.com/office/drawing/2014/main" id="{B5CC1FA9-E558-4AF9-83A4-EC9D7468C8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58" name="Group 158">
                <a:extLst>
                  <a:ext uri="{FF2B5EF4-FFF2-40B4-BE49-F238E27FC236}">
                    <a16:creationId xmlns:a16="http://schemas.microsoft.com/office/drawing/2014/main" id="{F79F9F25-3C7C-4016-BF7B-2BAB9E54519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260070" y="3564692"/>
                <a:ext cx="83389" cy="175252"/>
                <a:chOff x="5021753" y="2927868"/>
                <a:chExt cx="83398" cy="175731"/>
              </a:xfrm>
            </p:grpSpPr>
            <p:sp>
              <p:nvSpPr>
                <p:cNvPr id="359" name="Oval 159">
                  <a:extLst>
                    <a:ext uri="{FF2B5EF4-FFF2-40B4-BE49-F238E27FC236}">
                      <a16:creationId xmlns:a16="http://schemas.microsoft.com/office/drawing/2014/main" id="{00D04057-04E6-455A-9648-9B7B3F60BB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0" name="Freeform 160">
                  <a:extLst>
                    <a:ext uri="{FF2B5EF4-FFF2-40B4-BE49-F238E27FC236}">
                      <a16:creationId xmlns:a16="http://schemas.microsoft.com/office/drawing/2014/main" id="{D061E8AE-076A-485E-B2ED-30BBFFC742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1" name="Freeform 161">
                  <a:extLst>
                    <a:ext uri="{FF2B5EF4-FFF2-40B4-BE49-F238E27FC236}">
                      <a16:creationId xmlns:a16="http://schemas.microsoft.com/office/drawing/2014/main" id="{132DF94F-2613-410C-9584-A79F3987BB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59" name="Group 215">
                <a:extLst>
                  <a:ext uri="{FF2B5EF4-FFF2-40B4-BE49-F238E27FC236}">
                    <a16:creationId xmlns:a16="http://schemas.microsoft.com/office/drawing/2014/main" id="{5F125ECB-4978-4767-BDD1-D206337D1EB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629826" y="3571130"/>
                <a:ext cx="83389" cy="175252"/>
                <a:chOff x="5021753" y="2927868"/>
                <a:chExt cx="83398" cy="175731"/>
              </a:xfrm>
            </p:grpSpPr>
            <p:sp>
              <p:nvSpPr>
                <p:cNvPr id="356" name="Oval 216">
                  <a:extLst>
                    <a:ext uri="{FF2B5EF4-FFF2-40B4-BE49-F238E27FC236}">
                      <a16:creationId xmlns:a16="http://schemas.microsoft.com/office/drawing/2014/main" id="{9CD12F2A-722D-41F2-B0D1-949C18AC3A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7" name="Freeform 217">
                  <a:extLst>
                    <a:ext uri="{FF2B5EF4-FFF2-40B4-BE49-F238E27FC236}">
                      <a16:creationId xmlns:a16="http://schemas.microsoft.com/office/drawing/2014/main" id="{8C57949F-93EE-4BC2-8BB7-5986706D0C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8" name="Freeform 218">
                  <a:extLst>
                    <a:ext uri="{FF2B5EF4-FFF2-40B4-BE49-F238E27FC236}">
                      <a16:creationId xmlns:a16="http://schemas.microsoft.com/office/drawing/2014/main" id="{CC0971B5-B09F-483A-B644-36FEB5BBCA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0" name="Group 219">
                <a:extLst>
                  <a:ext uri="{FF2B5EF4-FFF2-40B4-BE49-F238E27FC236}">
                    <a16:creationId xmlns:a16="http://schemas.microsoft.com/office/drawing/2014/main" id="{379306DD-C8AC-453C-BBD3-986638024B6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537502" y="3571130"/>
                <a:ext cx="83389" cy="175252"/>
                <a:chOff x="5021753" y="2927868"/>
                <a:chExt cx="83398" cy="175731"/>
              </a:xfrm>
            </p:grpSpPr>
            <p:sp>
              <p:nvSpPr>
                <p:cNvPr id="353" name="Oval 220">
                  <a:extLst>
                    <a:ext uri="{FF2B5EF4-FFF2-40B4-BE49-F238E27FC236}">
                      <a16:creationId xmlns:a16="http://schemas.microsoft.com/office/drawing/2014/main" id="{7AF4970B-E4C4-48CF-962C-B8BF783A73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4" name="Freeform 221">
                  <a:extLst>
                    <a:ext uri="{FF2B5EF4-FFF2-40B4-BE49-F238E27FC236}">
                      <a16:creationId xmlns:a16="http://schemas.microsoft.com/office/drawing/2014/main" id="{98607AF1-FA44-4AA5-99A1-62D9AF6BFF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5" name="Freeform 222">
                  <a:extLst>
                    <a:ext uri="{FF2B5EF4-FFF2-40B4-BE49-F238E27FC236}">
                      <a16:creationId xmlns:a16="http://schemas.microsoft.com/office/drawing/2014/main" id="{21ADC325-7BCC-4CE7-916D-033DACCA5A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1" name="Group 223">
                <a:extLst>
                  <a:ext uri="{FF2B5EF4-FFF2-40B4-BE49-F238E27FC236}">
                    <a16:creationId xmlns:a16="http://schemas.microsoft.com/office/drawing/2014/main" id="{4B8C726B-8918-4D08-807B-1C9C5FF93DF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448158" y="3571130"/>
                <a:ext cx="83389" cy="175252"/>
                <a:chOff x="5021753" y="2927868"/>
                <a:chExt cx="83398" cy="175731"/>
              </a:xfrm>
            </p:grpSpPr>
            <p:sp>
              <p:nvSpPr>
                <p:cNvPr id="350" name="Oval 224">
                  <a:extLst>
                    <a:ext uri="{FF2B5EF4-FFF2-40B4-BE49-F238E27FC236}">
                      <a16:creationId xmlns:a16="http://schemas.microsoft.com/office/drawing/2014/main" id="{6F7D3EBE-423C-4134-BA33-B8B6FEAB236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1" name="Freeform 225">
                  <a:extLst>
                    <a:ext uri="{FF2B5EF4-FFF2-40B4-BE49-F238E27FC236}">
                      <a16:creationId xmlns:a16="http://schemas.microsoft.com/office/drawing/2014/main" id="{C03293FF-71BB-4629-8AC6-CF73669D9C5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2" name="Freeform 226">
                  <a:extLst>
                    <a:ext uri="{FF2B5EF4-FFF2-40B4-BE49-F238E27FC236}">
                      <a16:creationId xmlns:a16="http://schemas.microsoft.com/office/drawing/2014/main" id="{9866BD1A-25EE-4B80-951F-C54D93F6F1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2" name="Group 227">
                <a:extLst>
                  <a:ext uri="{FF2B5EF4-FFF2-40B4-BE49-F238E27FC236}">
                    <a16:creationId xmlns:a16="http://schemas.microsoft.com/office/drawing/2014/main" id="{CE0E4429-CD3D-4CF9-9FE5-7ACE3A6BCBF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52856" y="3571130"/>
                <a:ext cx="83389" cy="175252"/>
                <a:chOff x="5021753" y="2927868"/>
                <a:chExt cx="83398" cy="175731"/>
              </a:xfrm>
            </p:grpSpPr>
            <p:sp>
              <p:nvSpPr>
                <p:cNvPr id="347" name="Oval 228">
                  <a:extLst>
                    <a:ext uri="{FF2B5EF4-FFF2-40B4-BE49-F238E27FC236}">
                      <a16:creationId xmlns:a16="http://schemas.microsoft.com/office/drawing/2014/main" id="{770E8E52-40D3-4D3D-A55D-C1D19328A9C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8" name="Freeform 229">
                  <a:extLst>
                    <a:ext uri="{FF2B5EF4-FFF2-40B4-BE49-F238E27FC236}">
                      <a16:creationId xmlns:a16="http://schemas.microsoft.com/office/drawing/2014/main" id="{1C332604-BE14-4C93-A9E9-D5FC9F8909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9" name="Freeform 230">
                  <a:extLst>
                    <a:ext uri="{FF2B5EF4-FFF2-40B4-BE49-F238E27FC236}">
                      <a16:creationId xmlns:a16="http://schemas.microsoft.com/office/drawing/2014/main" id="{DEF9EC2F-9EB8-452A-A555-ECB1353F56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3" name="Group 303">
                <a:extLst>
                  <a:ext uri="{FF2B5EF4-FFF2-40B4-BE49-F238E27FC236}">
                    <a16:creationId xmlns:a16="http://schemas.microsoft.com/office/drawing/2014/main" id="{0009060F-BCBD-4DA1-B122-28DD7BA8C45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4891735" y="3756281"/>
                <a:ext cx="83389" cy="175252"/>
                <a:chOff x="5021753" y="2927868"/>
                <a:chExt cx="83398" cy="175731"/>
              </a:xfrm>
            </p:grpSpPr>
            <p:sp>
              <p:nvSpPr>
                <p:cNvPr id="344" name="Oval 304">
                  <a:extLst>
                    <a:ext uri="{FF2B5EF4-FFF2-40B4-BE49-F238E27FC236}">
                      <a16:creationId xmlns:a16="http://schemas.microsoft.com/office/drawing/2014/main" id="{54D66FA5-0B06-464A-A95B-AA69E9F867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5" name="Freeform 305">
                  <a:extLst>
                    <a:ext uri="{FF2B5EF4-FFF2-40B4-BE49-F238E27FC236}">
                      <a16:creationId xmlns:a16="http://schemas.microsoft.com/office/drawing/2014/main" id="{5B423F7B-590A-4A7F-A962-6D31660F73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6" name="Freeform 306">
                  <a:extLst>
                    <a:ext uri="{FF2B5EF4-FFF2-40B4-BE49-F238E27FC236}">
                      <a16:creationId xmlns:a16="http://schemas.microsoft.com/office/drawing/2014/main" id="{4399D8BB-E6E3-46EB-86B6-BC5C15A1D1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4" name="Group 307">
                <a:extLst>
                  <a:ext uri="{FF2B5EF4-FFF2-40B4-BE49-F238E27FC236}">
                    <a16:creationId xmlns:a16="http://schemas.microsoft.com/office/drawing/2014/main" id="{F182D11D-7A4B-4DC8-8C45-6DBC352CC56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4984057" y="3753312"/>
                <a:ext cx="83389" cy="175252"/>
                <a:chOff x="5021753" y="2927868"/>
                <a:chExt cx="83398" cy="175731"/>
              </a:xfrm>
            </p:grpSpPr>
            <p:sp>
              <p:nvSpPr>
                <p:cNvPr id="341" name="Oval 308">
                  <a:extLst>
                    <a:ext uri="{FF2B5EF4-FFF2-40B4-BE49-F238E27FC236}">
                      <a16:creationId xmlns:a16="http://schemas.microsoft.com/office/drawing/2014/main" id="{4F49244F-1C34-4CF1-9DDE-571AFE76E1E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2" name="Freeform 309">
                  <a:extLst>
                    <a:ext uri="{FF2B5EF4-FFF2-40B4-BE49-F238E27FC236}">
                      <a16:creationId xmlns:a16="http://schemas.microsoft.com/office/drawing/2014/main" id="{33DD8D02-530E-4BC1-BA7B-7A430F926F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3" name="Freeform 310">
                  <a:extLst>
                    <a:ext uri="{FF2B5EF4-FFF2-40B4-BE49-F238E27FC236}">
                      <a16:creationId xmlns:a16="http://schemas.microsoft.com/office/drawing/2014/main" id="{40A9CB3B-9F06-4AA6-BDBD-DA7468935C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5" name="Group 311">
                <a:extLst>
                  <a:ext uri="{FF2B5EF4-FFF2-40B4-BE49-F238E27FC236}">
                    <a16:creationId xmlns:a16="http://schemas.microsoft.com/office/drawing/2014/main" id="{CC11C4C0-0534-484E-8E78-A4285D98DA1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5073404" y="3759253"/>
                <a:ext cx="83389" cy="175252"/>
                <a:chOff x="5021753" y="2927868"/>
                <a:chExt cx="83398" cy="175731"/>
              </a:xfrm>
            </p:grpSpPr>
            <p:sp>
              <p:nvSpPr>
                <p:cNvPr id="338" name="Oval 312">
                  <a:extLst>
                    <a:ext uri="{FF2B5EF4-FFF2-40B4-BE49-F238E27FC236}">
                      <a16:creationId xmlns:a16="http://schemas.microsoft.com/office/drawing/2014/main" id="{AF3E5DF1-3237-4ABC-A94A-884570540CA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9" name="Freeform 313">
                  <a:extLst>
                    <a:ext uri="{FF2B5EF4-FFF2-40B4-BE49-F238E27FC236}">
                      <a16:creationId xmlns:a16="http://schemas.microsoft.com/office/drawing/2014/main" id="{449B06FC-56D9-4FDF-B818-142C7551F3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0" name="Freeform 314">
                  <a:extLst>
                    <a:ext uri="{FF2B5EF4-FFF2-40B4-BE49-F238E27FC236}">
                      <a16:creationId xmlns:a16="http://schemas.microsoft.com/office/drawing/2014/main" id="{AE2CAB2D-BCCA-4687-8B5C-BCEB4BA0E0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6" name="Group 316">
                <a:extLst>
                  <a:ext uri="{FF2B5EF4-FFF2-40B4-BE49-F238E27FC236}">
                    <a16:creationId xmlns:a16="http://schemas.microsoft.com/office/drawing/2014/main" id="{8D0AAFA6-6A24-4BCD-94DF-7DFAAC82E7E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5166224" y="3762718"/>
                <a:ext cx="83389" cy="175252"/>
                <a:chOff x="5021753" y="2927868"/>
                <a:chExt cx="83398" cy="175731"/>
              </a:xfrm>
            </p:grpSpPr>
            <p:sp>
              <p:nvSpPr>
                <p:cNvPr id="335" name="Oval 317">
                  <a:extLst>
                    <a:ext uri="{FF2B5EF4-FFF2-40B4-BE49-F238E27FC236}">
                      <a16:creationId xmlns:a16="http://schemas.microsoft.com/office/drawing/2014/main" id="{C78ECD32-8C2C-45CC-800D-709DAA711F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6" name="Freeform 318">
                  <a:extLst>
                    <a:ext uri="{FF2B5EF4-FFF2-40B4-BE49-F238E27FC236}">
                      <a16:creationId xmlns:a16="http://schemas.microsoft.com/office/drawing/2014/main" id="{23E3C35A-9A30-483C-8C8E-3FA7197D60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7" name="Freeform 319">
                  <a:extLst>
                    <a:ext uri="{FF2B5EF4-FFF2-40B4-BE49-F238E27FC236}">
                      <a16:creationId xmlns:a16="http://schemas.microsoft.com/office/drawing/2014/main" id="{5784907B-9FCC-4A40-B7FD-7115EE94F0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7" name="Group 320">
                <a:extLst>
                  <a:ext uri="{FF2B5EF4-FFF2-40B4-BE49-F238E27FC236}">
                    <a16:creationId xmlns:a16="http://schemas.microsoft.com/office/drawing/2014/main" id="{9B2E3FAC-5020-4FB3-94A5-156AED7B15C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5259041" y="3760243"/>
                <a:ext cx="83389" cy="175252"/>
                <a:chOff x="5021753" y="2927868"/>
                <a:chExt cx="83398" cy="175731"/>
              </a:xfrm>
            </p:grpSpPr>
            <p:sp>
              <p:nvSpPr>
                <p:cNvPr id="332" name="Oval 321">
                  <a:extLst>
                    <a:ext uri="{FF2B5EF4-FFF2-40B4-BE49-F238E27FC236}">
                      <a16:creationId xmlns:a16="http://schemas.microsoft.com/office/drawing/2014/main" id="{A8D79F15-F0B4-46EF-98A7-71CE1DE627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3" name="Freeform 322">
                  <a:extLst>
                    <a:ext uri="{FF2B5EF4-FFF2-40B4-BE49-F238E27FC236}">
                      <a16:creationId xmlns:a16="http://schemas.microsoft.com/office/drawing/2014/main" id="{3DABEC7D-696B-4186-A9FB-3AFFB51B32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4" name="Freeform 323">
                  <a:extLst>
                    <a:ext uri="{FF2B5EF4-FFF2-40B4-BE49-F238E27FC236}">
                      <a16:creationId xmlns:a16="http://schemas.microsoft.com/office/drawing/2014/main" id="{FDF3FC51-6685-4D45-B000-E289D6A9074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8" name="Group 376">
                <a:extLst>
                  <a:ext uri="{FF2B5EF4-FFF2-40B4-BE49-F238E27FC236}">
                    <a16:creationId xmlns:a16="http://schemas.microsoft.com/office/drawing/2014/main" id="{3E70C42E-8556-4743-9046-E0ABE2E885F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638226" y="3767667"/>
                <a:ext cx="83389" cy="175252"/>
                <a:chOff x="5021753" y="2927868"/>
                <a:chExt cx="83398" cy="175731"/>
              </a:xfrm>
            </p:grpSpPr>
            <p:sp>
              <p:nvSpPr>
                <p:cNvPr id="329" name="Oval 377">
                  <a:extLst>
                    <a:ext uri="{FF2B5EF4-FFF2-40B4-BE49-F238E27FC236}">
                      <a16:creationId xmlns:a16="http://schemas.microsoft.com/office/drawing/2014/main" id="{27FF35BA-A70C-46CB-8F83-E5978AA08D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0" name="Freeform 378">
                  <a:extLst>
                    <a:ext uri="{FF2B5EF4-FFF2-40B4-BE49-F238E27FC236}">
                      <a16:creationId xmlns:a16="http://schemas.microsoft.com/office/drawing/2014/main" id="{FE1CF4B8-8D1E-4707-9D98-15BE052311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1" name="Freeform 379">
                  <a:extLst>
                    <a:ext uri="{FF2B5EF4-FFF2-40B4-BE49-F238E27FC236}">
                      <a16:creationId xmlns:a16="http://schemas.microsoft.com/office/drawing/2014/main" id="{E7080FD4-E558-42B6-A3C3-98C3CB4E17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9" name="Group 380">
                <a:extLst>
                  <a:ext uri="{FF2B5EF4-FFF2-40B4-BE49-F238E27FC236}">
                    <a16:creationId xmlns:a16="http://schemas.microsoft.com/office/drawing/2014/main" id="{B6F71409-6F47-4100-B20F-4BAA20765E8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548882" y="3767667"/>
                <a:ext cx="83389" cy="175252"/>
                <a:chOff x="5021753" y="2927868"/>
                <a:chExt cx="83398" cy="175731"/>
              </a:xfrm>
            </p:grpSpPr>
            <p:sp>
              <p:nvSpPr>
                <p:cNvPr id="326" name="Oval 381">
                  <a:extLst>
                    <a:ext uri="{FF2B5EF4-FFF2-40B4-BE49-F238E27FC236}">
                      <a16:creationId xmlns:a16="http://schemas.microsoft.com/office/drawing/2014/main" id="{E8545937-C2C6-4BC4-BA01-5D64E02D86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7" name="Freeform 382">
                  <a:extLst>
                    <a:ext uri="{FF2B5EF4-FFF2-40B4-BE49-F238E27FC236}">
                      <a16:creationId xmlns:a16="http://schemas.microsoft.com/office/drawing/2014/main" id="{9479D19B-A519-4B09-BC54-CEF0F728C9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8" name="Freeform 383">
                  <a:extLst>
                    <a:ext uri="{FF2B5EF4-FFF2-40B4-BE49-F238E27FC236}">
                      <a16:creationId xmlns:a16="http://schemas.microsoft.com/office/drawing/2014/main" id="{233100B8-32F6-4992-8388-2DE82BBC15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70" name="Group 384">
                <a:extLst>
                  <a:ext uri="{FF2B5EF4-FFF2-40B4-BE49-F238E27FC236}">
                    <a16:creationId xmlns:a16="http://schemas.microsoft.com/office/drawing/2014/main" id="{893D2101-0DB0-442F-B12D-9253AB68415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459538" y="3767667"/>
                <a:ext cx="83389" cy="175252"/>
                <a:chOff x="5021753" y="2927868"/>
                <a:chExt cx="83398" cy="175731"/>
              </a:xfrm>
            </p:grpSpPr>
            <p:sp>
              <p:nvSpPr>
                <p:cNvPr id="323" name="Oval 385">
                  <a:extLst>
                    <a:ext uri="{FF2B5EF4-FFF2-40B4-BE49-F238E27FC236}">
                      <a16:creationId xmlns:a16="http://schemas.microsoft.com/office/drawing/2014/main" id="{B7FB5203-461A-42F1-A63A-58819885344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4" name="Freeform 386">
                  <a:extLst>
                    <a:ext uri="{FF2B5EF4-FFF2-40B4-BE49-F238E27FC236}">
                      <a16:creationId xmlns:a16="http://schemas.microsoft.com/office/drawing/2014/main" id="{AA4E3659-50A2-4726-979A-1730AF9752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5" name="Freeform 387">
                  <a:extLst>
                    <a:ext uri="{FF2B5EF4-FFF2-40B4-BE49-F238E27FC236}">
                      <a16:creationId xmlns:a16="http://schemas.microsoft.com/office/drawing/2014/main" id="{CFA907B0-9101-4D21-A34A-2714DCD4FB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71" name="Group 388">
                <a:extLst>
                  <a:ext uri="{FF2B5EF4-FFF2-40B4-BE49-F238E27FC236}">
                    <a16:creationId xmlns:a16="http://schemas.microsoft.com/office/drawing/2014/main" id="{CB536CAB-9E6F-418A-BAC6-3A8A4CAF94E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361258" y="3767667"/>
                <a:ext cx="83389" cy="175252"/>
                <a:chOff x="5021753" y="2927868"/>
                <a:chExt cx="83398" cy="175731"/>
              </a:xfrm>
            </p:grpSpPr>
            <p:sp>
              <p:nvSpPr>
                <p:cNvPr id="320" name="Oval 389">
                  <a:extLst>
                    <a:ext uri="{FF2B5EF4-FFF2-40B4-BE49-F238E27FC236}">
                      <a16:creationId xmlns:a16="http://schemas.microsoft.com/office/drawing/2014/main" id="{B0E67217-DD01-4438-A574-761459585B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1" name="Freeform 390">
                  <a:extLst>
                    <a:ext uri="{FF2B5EF4-FFF2-40B4-BE49-F238E27FC236}">
                      <a16:creationId xmlns:a16="http://schemas.microsoft.com/office/drawing/2014/main" id="{C8F19C79-3C8B-4D07-8177-2F49515F1C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2" name="Freeform 391">
                  <a:extLst>
                    <a:ext uri="{FF2B5EF4-FFF2-40B4-BE49-F238E27FC236}">
                      <a16:creationId xmlns:a16="http://schemas.microsoft.com/office/drawing/2014/main" id="{A775FF94-EED5-4EC5-8EC9-03EE3112EC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72" name="Group 215">
                <a:extLst>
                  <a:ext uri="{FF2B5EF4-FFF2-40B4-BE49-F238E27FC236}">
                    <a16:creationId xmlns:a16="http://schemas.microsoft.com/office/drawing/2014/main" id="{D5066E14-53CF-43AC-98C9-85126971273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984734" y="3575242"/>
                <a:ext cx="83389" cy="175252"/>
                <a:chOff x="5021753" y="2927868"/>
                <a:chExt cx="83398" cy="175731"/>
              </a:xfrm>
            </p:grpSpPr>
            <p:sp>
              <p:nvSpPr>
                <p:cNvPr id="317" name="Oval 216">
                  <a:extLst>
                    <a:ext uri="{FF2B5EF4-FFF2-40B4-BE49-F238E27FC236}">
                      <a16:creationId xmlns:a16="http://schemas.microsoft.com/office/drawing/2014/main" id="{41EFC3F5-750E-4343-BB96-B06C2F68F5B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8" name="Freeform 217">
                  <a:extLst>
                    <a:ext uri="{FF2B5EF4-FFF2-40B4-BE49-F238E27FC236}">
                      <a16:creationId xmlns:a16="http://schemas.microsoft.com/office/drawing/2014/main" id="{4ED4CDFA-6776-4418-94C3-EFF18A798D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9" name="Freeform 218">
                  <a:extLst>
                    <a:ext uri="{FF2B5EF4-FFF2-40B4-BE49-F238E27FC236}">
                      <a16:creationId xmlns:a16="http://schemas.microsoft.com/office/drawing/2014/main" id="{24CD4A78-9BA7-4004-A71E-7B930BC7BC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73" name="Group 219">
                <a:extLst>
                  <a:ext uri="{FF2B5EF4-FFF2-40B4-BE49-F238E27FC236}">
                    <a16:creationId xmlns:a16="http://schemas.microsoft.com/office/drawing/2014/main" id="{7561FE8D-BE30-4E56-AEEA-B8069763432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892410" y="3575242"/>
                <a:ext cx="83389" cy="175252"/>
                <a:chOff x="5021753" y="2927868"/>
                <a:chExt cx="83398" cy="175731"/>
              </a:xfrm>
            </p:grpSpPr>
            <p:sp>
              <p:nvSpPr>
                <p:cNvPr id="314" name="Oval 220">
                  <a:extLst>
                    <a:ext uri="{FF2B5EF4-FFF2-40B4-BE49-F238E27FC236}">
                      <a16:creationId xmlns:a16="http://schemas.microsoft.com/office/drawing/2014/main" id="{E2CE02DA-6981-4AC2-91C0-295751786F8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5" name="Freeform 221">
                  <a:extLst>
                    <a:ext uri="{FF2B5EF4-FFF2-40B4-BE49-F238E27FC236}">
                      <a16:creationId xmlns:a16="http://schemas.microsoft.com/office/drawing/2014/main" id="{BCCC9663-22CF-4512-AEC2-E2071347A1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6" name="Freeform 222">
                  <a:extLst>
                    <a:ext uri="{FF2B5EF4-FFF2-40B4-BE49-F238E27FC236}">
                      <a16:creationId xmlns:a16="http://schemas.microsoft.com/office/drawing/2014/main" id="{F8CD5C7C-FB10-4291-AF83-A865D79BDD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74" name="Group 223">
                <a:extLst>
                  <a:ext uri="{FF2B5EF4-FFF2-40B4-BE49-F238E27FC236}">
                    <a16:creationId xmlns:a16="http://schemas.microsoft.com/office/drawing/2014/main" id="{09CD63AE-956D-4EC9-9EF4-ACA56355172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803065" y="3575242"/>
                <a:ext cx="83389" cy="175252"/>
                <a:chOff x="5021753" y="2927868"/>
                <a:chExt cx="83398" cy="175731"/>
              </a:xfrm>
            </p:grpSpPr>
            <p:sp>
              <p:nvSpPr>
                <p:cNvPr id="311" name="Oval 224">
                  <a:extLst>
                    <a:ext uri="{FF2B5EF4-FFF2-40B4-BE49-F238E27FC236}">
                      <a16:creationId xmlns:a16="http://schemas.microsoft.com/office/drawing/2014/main" id="{DDAF200C-F139-4F2B-B6EB-922FC8CCEE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2" name="Freeform 225">
                  <a:extLst>
                    <a:ext uri="{FF2B5EF4-FFF2-40B4-BE49-F238E27FC236}">
                      <a16:creationId xmlns:a16="http://schemas.microsoft.com/office/drawing/2014/main" id="{CE3821E0-D984-4403-9560-5F7ECB7650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3" name="Freeform 226">
                  <a:extLst>
                    <a:ext uri="{FF2B5EF4-FFF2-40B4-BE49-F238E27FC236}">
                      <a16:creationId xmlns:a16="http://schemas.microsoft.com/office/drawing/2014/main" id="{9CE30180-DBA4-43E7-BEE1-128D03788F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75" name="Group 227">
                <a:extLst>
                  <a:ext uri="{FF2B5EF4-FFF2-40B4-BE49-F238E27FC236}">
                    <a16:creationId xmlns:a16="http://schemas.microsoft.com/office/drawing/2014/main" id="{433FF66E-FD3F-4C4D-81BA-319DC2C88E2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707764" y="3575242"/>
                <a:ext cx="83389" cy="175252"/>
                <a:chOff x="5021753" y="2927868"/>
                <a:chExt cx="83398" cy="175731"/>
              </a:xfrm>
            </p:grpSpPr>
            <p:sp>
              <p:nvSpPr>
                <p:cNvPr id="308" name="Oval 228">
                  <a:extLst>
                    <a:ext uri="{FF2B5EF4-FFF2-40B4-BE49-F238E27FC236}">
                      <a16:creationId xmlns:a16="http://schemas.microsoft.com/office/drawing/2014/main" id="{68DC9B48-5C1B-47DB-B160-F30A8A5D75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9" name="Freeform 229">
                  <a:extLst>
                    <a:ext uri="{FF2B5EF4-FFF2-40B4-BE49-F238E27FC236}">
                      <a16:creationId xmlns:a16="http://schemas.microsoft.com/office/drawing/2014/main" id="{64B21C6C-81D9-45C2-900E-6F10FF4571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0" name="Freeform 230">
                  <a:extLst>
                    <a:ext uri="{FF2B5EF4-FFF2-40B4-BE49-F238E27FC236}">
                      <a16:creationId xmlns:a16="http://schemas.microsoft.com/office/drawing/2014/main" id="{265B2CF1-C817-4A95-80C4-33F3EA0584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76" name="Group 376">
                <a:extLst>
                  <a:ext uri="{FF2B5EF4-FFF2-40B4-BE49-F238E27FC236}">
                    <a16:creationId xmlns:a16="http://schemas.microsoft.com/office/drawing/2014/main" id="{3AA7529A-01D0-4228-8F5C-1068FF060D5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993134" y="3771779"/>
                <a:ext cx="83389" cy="175252"/>
                <a:chOff x="5021753" y="2927868"/>
                <a:chExt cx="83398" cy="175731"/>
              </a:xfrm>
            </p:grpSpPr>
            <p:sp>
              <p:nvSpPr>
                <p:cNvPr id="305" name="Oval 377">
                  <a:extLst>
                    <a:ext uri="{FF2B5EF4-FFF2-40B4-BE49-F238E27FC236}">
                      <a16:creationId xmlns:a16="http://schemas.microsoft.com/office/drawing/2014/main" id="{193A18D1-BBF0-44B5-B7D5-044C22A7CB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6" name="Freeform 378">
                  <a:extLst>
                    <a:ext uri="{FF2B5EF4-FFF2-40B4-BE49-F238E27FC236}">
                      <a16:creationId xmlns:a16="http://schemas.microsoft.com/office/drawing/2014/main" id="{F9C1C2C0-1B0C-4BBF-8299-E9031148BC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7" name="Freeform 379">
                  <a:extLst>
                    <a:ext uri="{FF2B5EF4-FFF2-40B4-BE49-F238E27FC236}">
                      <a16:creationId xmlns:a16="http://schemas.microsoft.com/office/drawing/2014/main" id="{CD0FDEC5-1D1B-4343-94A2-94E07C7133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77" name="Group 380">
                <a:extLst>
                  <a:ext uri="{FF2B5EF4-FFF2-40B4-BE49-F238E27FC236}">
                    <a16:creationId xmlns:a16="http://schemas.microsoft.com/office/drawing/2014/main" id="{69539E1E-5905-4CB1-BD2D-70CA9A0D828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903791" y="3771779"/>
                <a:ext cx="83389" cy="175252"/>
                <a:chOff x="5021753" y="2927868"/>
                <a:chExt cx="83398" cy="175731"/>
              </a:xfrm>
            </p:grpSpPr>
            <p:sp>
              <p:nvSpPr>
                <p:cNvPr id="302" name="Oval 381">
                  <a:extLst>
                    <a:ext uri="{FF2B5EF4-FFF2-40B4-BE49-F238E27FC236}">
                      <a16:creationId xmlns:a16="http://schemas.microsoft.com/office/drawing/2014/main" id="{A657C5DF-C3AE-4245-9B2B-169B73C77F2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3" name="Freeform 382">
                  <a:extLst>
                    <a:ext uri="{FF2B5EF4-FFF2-40B4-BE49-F238E27FC236}">
                      <a16:creationId xmlns:a16="http://schemas.microsoft.com/office/drawing/2014/main" id="{E2BDAA8C-49D2-47A8-B291-9E7450B643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4" name="Freeform 383">
                  <a:extLst>
                    <a:ext uri="{FF2B5EF4-FFF2-40B4-BE49-F238E27FC236}">
                      <a16:creationId xmlns:a16="http://schemas.microsoft.com/office/drawing/2014/main" id="{362F6644-60FD-4606-9C08-093C80E1DB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78" name="Group 384">
                <a:extLst>
                  <a:ext uri="{FF2B5EF4-FFF2-40B4-BE49-F238E27FC236}">
                    <a16:creationId xmlns:a16="http://schemas.microsoft.com/office/drawing/2014/main" id="{BFC5DE84-202E-4C8A-B2DE-63E0D76DDC4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814446" y="3771779"/>
                <a:ext cx="83389" cy="175252"/>
                <a:chOff x="5021753" y="2927868"/>
                <a:chExt cx="83398" cy="175731"/>
              </a:xfrm>
            </p:grpSpPr>
            <p:sp>
              <p:nvSpPr>
                <p:cNvPr id="299" name="Oval 385">
                  <a:extLst>
                    <a:ext uri="{FF2B5EF4-FFF2-40B4-BE49-F238E27FC236}">
                      <a16:creationId xmlns:a16="http://schemas.microsoft.com/office/drawing/2014/main" id="{B210B02B-9761-40D1-B8B7-42783D4AA5B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0" name="Freeform 386">
                  <a:extLst>
                    <a:ext uri="{FF2B5EF4-FFF2-40B4-BE49-F238E27FC236}">
                      <a16:creationId xmlns:a16="http://schemas.microsoft.com/office/drawing/2014/main" id="{190931DD-9D4B-4C9A-8007-A74E9F3EA5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1" name="Freeform 387">
                  <a:extLst>
                    <a:ext uri="{FF2B5EF4-FFF2-40B4-BE49-F238E27FC236}">
                      <a16:creationId xmlns:a16="http://schemas.microsoft.com/office/drawing/2014/main" id="{EB0E83D1-1A8B-452B-9ED4-6C36B057DA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79" name="Group 388">
                <a:extLst>
                  <a:ext uri="{FF2B5EF4-FFF2-40B4-BE49-F238E27FC236}">
                    <a16:creationId xmlns:a16="http://schemas.microsoft.com/office/drawing/2014/main" id="{FB447041-B027-49BF-8CD2-7DB6501B55B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716166" y="3771779"/>
                <a:ext cx="83389" cy="175252"/>
                <a:chOff x="5021753" y="2927868"/>
                <a:chExt cx="83398" cy="175731"/>
              </a:xfrm>
            </p:grpSpPr>
            <p:sp>
              <p:nvSpPr>
                <p:cNvPr id="296" name="Oval 389">
                  <a:extLst>
                    <a:ext uri="{FF2B5EF4-FFF2-40B4-BE49-F238E27FC236}">
                      <a16:creationId xmlns:a16="http://schemas.microsoft.com/office/drawing/2014/main" id="{FE55A3E2-B0A4-45F7-A424-33D44751FDB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7" name="Freeform 390">
                  <a:extLst>
                    <a:ext uri="{FF2B5EF4-FFF2-40B4-BE49-F238E27FC236}">
                      <a16:creationId xmlns:a16="http://schemas.microsoft.com/office/drawing/2014/main" id="{D3151CE0-9A28-43F1-8026-DE901518B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8" name="Freeform 391">
                  <a:extLst>
                    <a:ext uri="{FF2B5EF4-FFF2-40B4-BE49-F238E27FC236}">
                      <a16:creationId xmlns:a16="http://schemas.microsoft.com/office/drawing/2014/main" id="{D4E19B85-3B38-4F19-8E07-88FE418845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80" name="Group 219">
                <a:extLst>
                  <a:ext uri="{FF2B5EF4-FFF2-40B4-BE49-F238E27FC236}">
                    <a16:creationId xmlns:a16="http://schemas.microsoft.com/office/drawing/2014/main" id="{67E4DAB8-87C1-4435-B416-FC688E1D89C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163165" y="3574936"/>
                <a:ext cx="83389" cy="175252"/>
                <a:chOff x="5021753" y="2927868"/>
                <a:chExt cx="83398" cy="175731"/>
              </a:xfrm>
            </p:grpSpPr>
            <p:sp>
              <p:nvSpPr>
                <p:cNvPr id="293" name="Oval 220">
                  <a:extLst>
                    <a:ext uri="{FF2B5EF4-FFF2-40B4-BE49-F238E27FC236}">
                      <a16:creationId xmlns:a16="http://schemas.microsoft.com/office/drawing/2014/main" id="{F6A025DF-4A57-4CFA-A813-9BD2DE27C8D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4" name="Freeform 221">
                  <a:extLst>
                    <a:ext uri="{FF2B5EF4-FFF2-40B4-BE49-F238E27FC236}">
                      <a16:creationId xmlns:a16="http://schemas.microsoft.com/office/drawing/2014/main" id="{2B73B823-6469-4EDA-92EF-9DB1E37963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5" name="Freeform 222">
                  <a:extLst>
                    <a:ext uri="{FF2B5EF4-FFF2-40B4-BE49-F238E27FC236}">
                      <a16:creationId xmlns:a16="http://schemas.microsoft.com/office/drawing/2014/main" id="{EAF3C81D-E695-42F3-B447-870A312F03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81" name="Group 223">
                <a:extLst>
                  <a:ext uri="{FF2B5EF4-FFF2-40B4-BE49-F238E27FC236}">
                    <a16:creationId xmlns:a16="http://schemas.microsoft.com/office/drawing/2014/main" id="{2D6F338D-9E12-401F-B00A-3F3CE4AA125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73820" y="3574936"/>
                <a:ext cx="83389" cy="175252"/>
                <a:chOff x="5021753" y="2927868"/>
                <a:chExt cx="83398" cy="175731"/>
              </a:xfrm>
            </p:grpSpPr>
            <p:sp>
              <p:nvSpPr>
                <p:cNvPr id="290" name="Oval 224">
                  <a:extLst>
                    <a:ext uri="{FF2B5EF4-FFF2-40B4-BE49-F238E27FC236}">
                      <a16:creationId xmlns:a16="http://schemas.microsoft.com/office/drawing/2014/main" id="{29FE1FEE-F269-476B-A6EA-01489EF771F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1" name="Freeform 225">
                  <a:extLst>
                    <a:ext uri="{FF2B5EF4-FFF2-40B4-BE49-F238E27FC236}">
                      <a16:creationId xmlns:a16="http://schemas.microsoft.com/office/drawing/2014/main" id="{A03AD3D2-FE10-4D91-B2EE-6C938DD815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2" name="Freeform 226">
                  <a:extLst>
                    <a:ext uri="{FF2B5EF4-FFF2-40B4-BE49-F238E27FC236}">
                      <a16:creationId xmlns:a16="http://schemas.microsoft.com/office/drawing/2014/main" id="{88F9B7F4-DEC4-43D2-8747-33697E0C1A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82" name="Group 380">
                <a:extLst>
                  <a:ext uri="{FF2B5EF4-FFF2-40B4-BE49-F238E27FC236}">
                    <a16:creationId xmlns:a16="http://schemas.microsoft.com/office/drawing/2014/main" id="{20E9C436-A5F6-4C53-B7D5-FE66E6F67A7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6174545" y="3771474"/>
                <a:ext cx="83389" cy="175252"/>
                <a:chOff x="5021753" y="2927868"/>
                <a:chExt cx="83398" cy="175731"/>
              </a:xfrm>
            </p:grpSpPr>
            <p:sp>
              <p:nvSpPr>
                <p:cNvPr id="287" name="Oval 381">
                  <a:extLst>
                    <a:ext uri="{FF2B5EF4-FFF2-40B4-BE49-F238E27FC236}">
                      <a16:creationId xmlns:a16="http://schemas.microsoft.com/office/drawing/2014/main" id="{741822C0-3729-4DCE-8CAE-0534B03597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8" name="Freeform 382">
                  <a:extLst>
                    <a:ext uri="{FF2B5EF4-FFF2-40B4-BE49-F238E27FC236}">
                      <a16:creationId xmlns:a16="http://schemas.microsoft.com/office/drawing/2014/main" id="{4EC37C18-344C-4DB5-B26D-F168ABC145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9" name="Freeform 383">
                  <a:extLst>
                    <a:ext uri="{FF2B5EF4-FFF2-40B4-BE49-F238E27FC236}">
                      <a16:creationId xmlns:a16="http://schemas.microsoft.com/office/drawing/2014/main" id="{08589D4B-9E9A-40E7-B245-62C5F2FB33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83" name="Group 384">
                <a:extLst>
                  <a:ext uri="{FF2B5EF4-FFF2-40B4-BE49-F238E27FC236}">
                    <a16:creationId xmlns:a16="http://schemas.microsoft.com/office/drawing/2014/main" id="{E8AD08CA-CCF2-4A61-85EB-077BD3FC9B8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6085199" y="3771474"/>
                <a:ext cx="83389" cy="175252"/>
                <a:chOff x="5021753" y="2927868"/>
                <a:chExt cx="83398" cy="175731"/>
              </a:xfrm>
            </p:grpSpPr>
            <p:sp>
              <p:nvSpPr>
                <p:cNvPr id="284" name="Oval 385">
                  <a:extLst>
                    <a:ext uri="{FF2B5EF4-FFF2-40B4-BE49-F238E27FC236}">
                      <a16:creationId xmlns:a16="http://schemas.microsoft.com/office/drawing/2014/main" id="{3062A8DC-394E-4DA2-B1F3-E4257A6D58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5" name="Freeform 386">
                  <a:extLst>
                    <a:ext uri="{FF2B5EF4-FFF2-40B4-BE49-F238E27FC236}">
                      <a16:creationId xmlns:a16="http://schemas.microsoft.com/office/drawing/2014/main" id="{B0C65DEF-ABDC-4957-BB24-83DB74092A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6" name="Freeform 387">
                  <a:extLst>
                    <a:ext uri="{FF2B5EF4-FFF2-40B4-BE49-F238E27FC236}">
                      <a16:creationId xmlns:a16="http://schemas.microsoft.com/office/drawing/2014/main" id="{9AC959A0-F1DE-4C82-9239-BA4A97BF33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961D723C-276D-4043-946C-FC1BB4029B45}"/>
                </a:ext>
              </a:extLst>
            </p:cNvPr>
            <p:cNvGrpSpPr/>
            <p:nvPr/>
          </p:nvGrpSpPr>
          <p:grpSpPr>
            <a:xfrm>
              <a:off x="7492253" y="2655116"/>
              <a:ext cx="1400248" cy="397677"/>
              <a:chOff x="4890777" y="3558752"/>
              <a:chExt cx="1367157" cy="388279"/>
            </a:xfrm>
          </p:grpSpPr>
          <p:grpSp>
            <p:nvGrpSpPr>
              <p:cNvPr id="134" name="Group 142">
                <a:extLst>
                  <a:ext uri="{FF2B5EF4-FFF2-40B4-BE49-F238E27FC236}">
                    <a16:creationId xmlns:a16="http://schemas.microsoft.com/office/drawing/2014/main" id="{CFAF7DD9-BE46-45D3-B3A5-90DEAD711C3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890777" y="3564691"/>
                <a:ext cx="83389" cy="175252"/>
                <a:chOff x="5021753" y="2927868"/>
                <a:chExt cx="83398" cy="175731"/>
              </a:xfrm>
            </p:grpSpPr>
            <p:sp>
              <p:nvSpPr>
                <p:cNvPr id="251" name="Oval 143">
                  <a:extLst>
                    <a:ext uri="{FF2B5EF4-FFF2-40B4-BE49-F238E27FC236}">
                      <a16:creationId xmlns:a16="http://schemas.microsoft.com/office/drawing/2014/main" id="{1A13B3E5-A249-4C3B-8804-1966856049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2" name="Freeform 144">
                  <a:extLst>
                    <a:ext uri="{FF2B5EF4-FFF2-40B4-BE49-F238E27FC236}">
                      <a16:creationId xmlns:a16="http://schemas.microsoft.com/office/drawing/2014/main" id="{3964DA4A-9B8F-492B-9E66-80315B7468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3" name="Freeform 145">
                  <a:extLst>
                    <a:ext uri="{FF2B5EF4-FFF2-40B4-BE49-F238E27FC236}">
                      <a16:creationId xmlns:a16="http://schemas.microsoft.com/office/drawing/2014/main" id="{4DBBC1C0-6FC0-4167-8396-CEAC44B55B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35" name="Group 146">
                <a:extLst>
                  <a:ext uri="{FF2B5EF4-FFF2-40B4-BE49-F238E27FC236}">
                    <a16:creationId xmlns:a16="http://schemas.microsoft.com/office/drawing/2014/main" id="{55880217-1C4C-43F9-B697-7D31174F5D7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86078" y="3558752"/>
                <a:ext cx="83389" cy="175252"/>
                <a:chOff x="5021753" y="2927868"/>
                <a:chExt cx="83398" cy="175731"/>
              </a:xfrm>
            </p:grpSpPr>
            <p:sp>
              <p:nvSpPr>
                <p:cNvPr id="248" name="Oval 147">
                  <a:extLst>
                    <a:ext uri="{FF2B5EF4-FFF2-40B4-BE49-F238E27FC236}">
                      <a16:creationId xmlns:a16="http://schemas.microsoft.com/office/drawing/2014/main" id="{BA13A790-2426-4783-97E8-F28D24A7694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9" name="Freeform 148">
                  <a:extLst>
                    <a:ext uri="{FF2B5EF4-FFF2-40B4-BE49-F238E27FC236}">
                      <a16:creationId xmlns:a16="http://schemas.microsoft.com/office/drawing/2014/main" id="{B07FAC29-4591-49C7-BA9E-B522158CEB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0" name="Freeform 149">
                  <a:extLst>
                    <a:ext uri="{FF2B5EF4-FFF2-40B4-BE49-F238E27FC236}">
                      <a16:creationId xmlns:a16="http://schemas.microsoft.com/office/drawing/2014/main" id="{AD000C12-1854-47DF-B366-2F19A8FBD8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36" name="Group 150">
                <a:extLst>
                  <a:ext uri="{FF2B5EF4-FFF2-40B4-BE49-F238E27FC236}">
                    <a16:creationId xmlns:a16="http://schemas.microsoft.com/office/drawing/2014/main" id="{D81D81F8-D801-4A1D-B977-3F6C9F5B11B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78402" y="3564692"/>
                <a:ext cx="83389" cy="175252"/>
                <a:chOff x="5021753" y="2927868"/>
                <a:chExt cx="83398" cy="175731"/>
              </a:xfrm>
            </p:grpSpPr>
            <p:sp>
              <p:nvSpPr>
                <p:cNvPr id="245" name="Oval 151">
                  <a:extLst>
                    <a:ext uri="{FF2B5EF4-FFF2-40B4-BE49-F238E27FC236}">
                      <a16:creationId xmlns:a16="http://schemas.microsoft.com/office/drawing/2014/main" id="{B035F4E5-0558-4593-BF6C-87683370303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6" name="Freeform 152">
                  <a:extLst>
                    <a:ext uri="{FF2B5EF4-FFF2-40B4-BE49-F238E27FC236}">
                      <a16:creationId xmlns:a16="http://schemas.microsoft.com/office/drawing/2014/main" id="{C1EEF057-E465-499E-AFD9-6DED52C789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7" name="Freeform 153">
                  <a:extLst>
                    <a:ext uri="{FF2B5EF4-FFF2-40B4-BE49-F238E27FC236}">
                      <a16:creationId xmlns:a16="http://schemas.microsoft.com/office/drawing/2014/main" id="{A7236782-5125-498C-8C17-718ECC52D2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37" name="Group 154">
                <a:extLst>
                  <a:ext uri="{FF2B5EF4-FFF2-40B4-BE49-F238E27FC236}">
                    <a16:creationId xmlns:a16="http://schemas.microsoft.com/office/drawing/2014/main" id="{9CDC4074-3007-4F22-A2D9-433093FC097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67747" y="3561722"/>
                <a:ext cx="83389" cy="175252"/>
                <a:chOff x="5021753" y="2927868"/>
                <a:chExt cx="83398" cy="175731"/>
              </a:xfrm>
            </p:grpSpPr>
            <p:sp>
              <p:nvSpPr>
                <p:cNvPr id="242" name="Oval 155">
                  <a:extLst>
                    <a:ext uri="{FF2B5EF4-FFF2-40B4-BE49-F238E27FC236}">
                      <a16:creationId xmlns:a16="http://schemas.microsoft.com/office/drawing/2014/main" id="{A2B977E4-AE63-4814-908C-F92F776771D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3" name="Freeform 156">
                  <a:extLst>
                    <a:ext uri="{FF2B5EF4-FFF2-40B4-BE49-F238E27FC236}">
                      <a16:creationId xmlns:a16="http://schemas.microsoft.com/office/drawing/2014/main" id="{FB54C5CE-7865-4556-953B-DA634AD91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4" name="Freeform 157">
                  <a:extLst>
                    <a:ext uri="{FF2B5EF4-FFF2-40B4-BE49-F238E27FC236}">
                      <a16:creationId xmlns:a16="http://schemas.microsoft.com/office/drawing/2014/main" id="{15EDBFC5-C4DC-4AE9-BF4C-B7FB53C53C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38" name="Group 158">
                <a:extLst>
                  <a:ext uri="{FF2B5EF4-FFF2-40B4-BE49-F238E27FC236}">
                    <a16:creationId xmlns:a16="http://schemas.microsoft.com/office/drawing/2014/main" id="{C10D29A5-32F5-499D-B811-5BC0470E8A0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260070" y="3564692"/>
                <a:ext cx="83389" cy="175252"/>
                <a:chOff x="5021753" y="2927868"/>
                <a:chExt cx="83398" cy="175731"/>
              </a:xfrm>
            </p:grpSpPr>
            <p:sp>
              <p:nvSpPr>
                <p:cNvPr id="239" name="Oval 159">
                  <a:extLst>
                    <a:ext uri="{FF2B5EF4-FFF2-40B4-BE49-F238E27FC236}">
                      <a16:creationId xmlns:a16="http://schemas.microsoft.com/office/drawing/2014/main" id="{FC15113B-075E-4E54-ADF1-5DE149A8220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0" name="Freeform 160">
                  <a:extLst>
                    <a:ext uri="{FF2B5EF4-FFF2-40B4-BE49-F238E27FC236}">
                      <a16:creationId xmlns:a16="http://schemas.microsoft.com/office/drawing/2014/main" id="{6334ADCE-25F9-40C7-9381-03C0BCD24A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1" name="Freeform 161">
                  <a:extLst>
                    <a:ext uri="{FF2B5EF4-FFF2-40B4-BE49-F238E27FC236}">
                      <a16:creationId xmlns:a16="http://schemas.microsoft.com/office/drawing/2014/main" id="{891DB888-F201-4FA9-AD8C-C87B8E97AE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39" name="Group 215">
                <a:extLst>
                  <a:ext uri="{FF2B5EF4-FFF2-40B4-BE49-F238E27FC236}">
                    <a16:creationId xmlns:a16="http://schemas.microsoft.com/office/drawing/2014/main" id="{FA15026A-A26C-4B50-B6D1-94D177C55FE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629826" y="3571130"/>
                <a:ext cx="83389" cy="175252"/>
                <a:chOff x="5021753" y="2927868"/>
                <a:chExt cx="83398" cy="175731"/>
              </a:xfrm>
            </p:grpSpPr>
            <p:sp>
              <p:nvSpPr>
                <p:cNvPr id="236" name="Oval 216">
                  <a:extLst>
                    <a:ext uri="{FF2B5EF4-FFF2-40B4-BE49-F238E27FC236}">
                      <a16:creationId xmlns:a16="http://schemas.microsoft.com/office/drawing/2014/main" id="{AD34B720-F335-44A8-9494-82E25922ED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7" name="Freeform 217">
                  <a:extLst>
                    <a:ext uri="{FF2B5EF4-FFF2-40B4-BE49-F238E27FC236}">
                      <a16:creationId xmlns:a16="http://schemas.microsoft.com/office/drawing/2014/main" id="{1CFE459E-0067-4107-885E-DF8EEA8B89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8" name="Freeform 218">
                  <a:extLst>
                    <a:ext uri="{FF2B5EF4-FFF2-40B4-BE49-F238E27FC236}">
                      <a16:creationId xmlns:a16="http://schemas.microsoft.com/office/drawing/2014/main" id="{C0AB7705-2F71-411C-A893-6BC7EABEFB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0" name="Group 219">
                <a:extLst>
                  <a:ext uri="{FF2B5EF4-FFF2-40B4-BE49-F238E27FC236}">
                    <a16:creationId xmlns:a16="http://schemas.microsoft.com/office/drawing/2014/main" id="{2C3A65ED-AA48-4C72-8252-210A0F54907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537502" y="3571130"/>
                <a:ext cx="83389" cy="175252"/>
                <a:chOff x="5021753" y="2927868"/>
                <a:chExt cx="83398" cy="175731"/>
              </a:xfrm>
            </p:grpSpPr>
            <p:sp>
              <p:nvSpPr>
                <p:cNvPr id="233" name="Oval 220">
                  <a:extLst>
                    <a:ext uri="{FF2B5EF4-FFF2-40B4-BE49-F238E27FC236}">
                      <a16:creationId xmlns:a16="http://schemas.microsoft.com/office/drawing/2014/main" id="{1F66CC22-BC76-46B7-824A-AE5BF3B0E8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4" name="Freeform 221">
                  <a:extLst>
                    <a:ext uri="{FF2B5EF4-FFF2-40B4-BE49-F238E27FC236}">
                      <a16:creationId xmlns:a16="http://schemas.microsoft.com/office/drawing/2014/main" id="{820C3121-9259-49E3-B6EE-648ABE96F4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5" name="Freeform 222">
                  <a:extLst>
                    <a:ext uri="{FF2B5EF4-FFF2-40B4-BE49-F238E27FC236}">
                      <a16:creationId xmlns:a16="http://schemas.microsoft.com/office/drawing/2014/main" id="{F0ED6601-6BEF-47BD-B370-4C4B505C17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1" name="Group 223">
                <a:extLst>
                  <a:ext uri="{FF2B5EF4-FFF2-40B4-BE49-F238E27FC236}">
                    <a16:creationId xmlns:a16="http://schemas.microsoft.com/office/drawing/2014/main" id="{F0FB63C7-A947-4E21-97C2-6F28E2326F7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448158" y="3571130"/>
                <a:ext cx="83389" cy="175252"/>
                <a:chOff x="5021753" y="2927868"/>
                <a:chExt cx="83398" cy="175731"/>
              </a:xfrm>
            </p:grpSpPr>
            <p:sp>
              <p:nvSpPr>
                <p:cNvPr id="230" name="Oval 224">
                  <a:extLst>
                    <a:ext uri="{FF2B5EF4-FFF2-40B4-BE49-F238E27FC236}">
                      <a16:creationId xmlns:a16="http://schemas.microsoft.com/office/drawing/2014/main" id="{F499D2D9-5A51-4541-B3E8-BFD4C9DE72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1" name="Freeform 225">
                  <a:extLst>
                    <a:ext uri="{FF2B5EF4-FFF2-40B4-BE49-F238E27FC236}">
                      <a16:creationId xmlns:a16="http://schemas.microsoft.com/office/drawing/2014/main" id="{3580EE43-6614-46D9-8CF6-1DBC2AE6A7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2" name="Freeform 226">
                  <a:extLst>
                    <a:ext uri="{FF2B5EF4-FFF2-40B4-BE49-F238E27FC236}">
                      <a16:creationId xmlns:a16="http://schemas.microsoft.com/office/drawing/2014/main" id="{CE7F758B-B424-4925-977D-898CE208E8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2" name="Group 227">
                <a:extLst>
                  <a:ext uri="{FF2B5EF4-FFF2-40B4-BE49-F238E27FC236}">
                    <a16:creationId xmlns:a16="http://schemas.microsoft.com/office/drawing/2014/main" id="{1012267B-E46C-4E27-8D97-D62D504C46E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52856" y="3571130"/>
                <a:ext cx="83389" cy="175252"/>
                <a:chOff x="5021753" y="2927868"/>
                <a:chExt cx="83398" cy="175731"/>
              </a:xfrm>
            </p:grpSpPr>
            <p:sp>
              <p:nvSpPr>
                <p:cNvPr id="227" name="Oval 228">
                  <a:extLst>
                    <a:ext uri="{FF2B5EF4-FFF2-40B4-BE49-F238E27FC236}">
                      <a16:creationId xmlns:a16="http://schemas.microsoft.com/office/drawing/2014/main" id="{C223AE85-62DB-49A3-AD2A-55C5C51D935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8" name="Freeform 229">
                  <a:extLst>
                    <a:ext uri="{FF2B5EF4-FFF2-40B4-BE49-F238E27FC236}">
                      <a16:creationId xmlns:a16="http://schemas.microsoft.com/office/drawing/2014/main" id="{F7C18EDC-D7BA-4F2A-AC7C-8C631BCE2C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9" name="Freeform 230">
                  <a:extLst>
                    <a:ext uri="{FF2B5EF4-FFF2-40B4-BE49-F238E27FC236}">
                      <a16:creationId xmlns:a16="http://schemas.microsoft.com/office/drawing/2014/main" id="{BB029F9C-7299-4BAE-9E62-E168F5E71E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3" name="Group 303">
                <a:extLst>
                  <a:ext uri="{FF2B5EF4-FFF2-40B4-BE49-F238E27FC236}">
                    <a16:creationId xmlns:a16="http://schemas.microsoft.com/office/drawing/2014/main" id="{AFE2AD41-6725-4617-8887-6CA76BDFC8E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4891735" y="3756281"/>
                <a:ext cx="83389" cy="175252"/>
                <a:chOff x="5021753" y="2927868"/>
                <a:chExt cx="83398" cy="175731"/>
              </a:xfrm>
            </p:grpSpPr>
            <p:sp>
              <p:nvSpPr>
                <p:cNvPr id="224" name="Oval 304">
                  <a:extLst>
                    <a:ext uri="{FF2B5EF4-FFF2-40B4-BE49-F238E27FC236}">
                      <a16:creationId xmlns:a16="http://schemas.microsoft.com/office/drawing/2014/main" id="{30BB4AED-9E70-4C8A-9329-1D444198FD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5" name="Freeform 305">
                  <a:extLst>
                    <a:ext uri="{FF2B5EF4-FFF2-40B4-BE49-F238E27FC236}">
                      <a16:creationId xmlns:a16="http://schemas.microsoft.com/office/drawing/2014/main" id="{B14EAEE5-54DC-41FE-B558-AB95990DA25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6" name="Freeform 306">
                  <a:extLst>
                    <a:ext uri="{FF2B5EF4-FFF2-40B4-BE49-F238E27FC236}">
                      <a16:creationId xmlns:a16="http://schemas.microsoft.com/office/drawing/2014/main" id="{CD806E56-22EC-421B-B6E6-6DAB976440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4" name="Group 307">
                <a:extLst>
                  <a:ext uri="{FF2B5EF4-FFF2-40B4-BE49-F238E27FC236}">
                    <a16:creationId xmlns:a16="http://schemas.microsoft.com/office/drawing/2014/main" id="{2DC667B7-0BD8-437E-8DCA-1A648986068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4984057" y="3753312"/>
                <a:ext cx="83389" cy="175252"/>
                <a:chOff x="5021753" y="2927868"/>
                <a:chExt cx="83398" cy="175731"/>
              </a:xfrm>
            </p:grpSpPr>
            <p:sp>
              <p:nvSpPr>
                <p:cNvPr id="221" name="Oval 308">
                  <a:extLst>
                    <a:ext uri="{FF2B5EF4-FFF2-40B4-BE49-F238E27FC236}">
                      <a16:creationId xmlns:a16="http://schemas.microsoft.com/office/drawing/2014/main" id="{1791CE5A-44FC-443E-8891-02EEE24660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2" name="Freeform 309">
                  <a:extLst>
                    <a:ext uri="{FF2B5EF4-FFF2-40B4-BE49-F238E27FC236}">
                      <a16:creationId xmlns:a16="http://schemas.microsoft.com/office/drawing/2014/main" id="{B206BDFA-B5CE-4D26-9176-FAEA480A37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3" name="Freeform 310">
                  <a:extLst>
                    <a:ext uri="{FF2B5EF4-FFF2-40B4-BE49-F238E27FC236}">
                      <a16:creationId xmlns:a16="http://schemas.microsoft.com/office/drawing/2014/main" id="{1100DC85-259C-4127-9FBE-2EF7FF5F1AD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5" name="Group 311">
                <a:extLst>
                  <a:ext uri="{FF2B5EF4-FFF2-40B4-BE49-F238E27FC236}">
                    <a16:creationId xmlns:a16="http://schemas.microsoft.com/office/drawing/2014/main" id="{29A46358-895A-4725-A76B-CE2D1D30848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5073404" y="3759253"/>
                <a:ext cx="83389" cy="175252"/>
                <a:chOff x="5021753" y="2927868"/>
                <a:chExt cx="83398" cy="175731"/>
              </a:xfrm>
            </p:grpSpPr>
            <p:sp>
              <p:nvSpPr>
                <p:cNvPr id="218" name="Oval 312">
                  <a:extLst>
                    <a:ext uri="{FF2B5EF4-FFF2-40B4-BE49-F238E27FC236}">
                      <a16:creationId xmlns:a16="http://schemas.microsoft.com/office/drawing/2014/main" id="{EC721BD6-665A-4A1F-8C3E-299C83A6231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9" name="Freeform 313">
                  <a:extLst>
                    <a:ext uri="{FF2B5EF4-FFF2-40B4-BE49-F238E27FC236}">
                      <a16:creationId xmlns:a16="http://schemas.microsoft.com/office/drawing/2014/main" id="{37E52BE8-2244-4A18-9CBE-9DACCB6BAB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0" name="Freeform 314">
                  <a:extLst>
                    <a:ext uri="{FF2B5EF4-FFF2-40B4-BE49-F238E27FC236}">
                      <a16:creationId xmlns:a16="http://schemas.microsoft.com/office/drawing/2014/main" id="{445A6A2A-02D4-460E-866D-296F66CE59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6" name="Group 316">
                <a:extLst>
                  <a:ext uri="{FF2B5EF4-FFF2-40B4-BE49-F238E27FC236}">
                    <a16:creationId xmlns:a16="http://schemas.microsoft.com/office/drawing/2014/main" id="{22B660EB-1AED-4184-B2F7-5D30974276C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5166224" y="3762718"/>
                <a:ext cx="83389" cy="175252"/>
                <a:chOff x="5021753" y="2927868"/>
                <a:chExt cx="83398" cy="175731"/>
              </a:xfrm>
            </p:grpSpPr>
            <p:sp>
              <p:nvSpPr>
                <p:cNvPr id="215" name="Oval 317">
                  <a:extLst>
                    <a:ext uri="{FF2B5EF4-FFF2-40B4-BE49-F238E27FC236}">
                      <a16:creationId xmlns:a16="http://schemas.microsoft.com/office/drawing/2014/main" id="{5DA854B0-BB42-41E3-B069-FE4CE80CED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6" name="Freeform 318">
                  <a:extLst>
                    <a:ext uri="{FF2B5EF4-FFF2-40B4-BE49-F238E27FC236}">
                      <a16:creationId xmlns:a16="http://schemas.microsoft.com/office/drawing/2014/main" id="{D7F2B90C-0E43-4CF4-81F6-CE0F9AAEC6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Freeform 319">
                  <a:extLst>
                    <a:ext uri="{FF2B5EF4-FFF2-40B4-BE49-F238E27FC236}">
                      <a16:creationId xmlns:a16="http://schemas.microsoft.com/office/drawing/2014/main" id="{DCBB3484-FC85-4887-A48F-17F13CD4C8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7" name="Group 320">
                <a:extLst>
                  <a:ext uri="{FF2B5EF4-FFF2-40B4-BE49-F238E27FC236}">
                    <a16:creationId xmlns:a16="http://schemas.microsoft.com/office/drawing/2014/main" id="{2265B4C3-A39B-4349-856A-7DD39241AEF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5259041" y="3760243"/>
                <a:ext cx="83389" cy="175252"/>
                <a:chOff x="5021753" y="2927868"/>
                <a:chExt cx="83398" cy="175731"/>
              </a:xfrm>
            </p:grpSpPr>
            <p:sp>
              <p:nvSpPr>
                <p:cNvPr id="212" name="Oval 321">
                  <a:extLst>
                    <a:ext uri="{FF2B5EF4-FFF2-40B4-BE49-F238E27FC236}">
                      <a16:creationId xmlns:a16="http://schemas.microsoft.com/office/drawing/2014/main" id="{8ED0EA88-9AF2-4D98-8BE1-557D9D68F41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3" name="Freeform 322">
                  <a:extLst>
                    <a:ext uri="{FF2B5EF4-FFF2-40B4-BE49-F238E27FC236}">
                      <a16:creationId xmlns:a16="http://schemas.microsoft.com/office/drawing/2014/main" id="{FBCDA1D1-D78B-47EF-A035-39EA456E55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4" name="Freeform 323">
                  <a:extLst>
                    <a:ext uri="{FF2B5EF4-FFF2-40B4-BE49-F238E27FC236}">
                      <a16:creationId xmlns:a16="http://schemas.microsoft.com/office/drawing/2014/main" id="{EF69AD8D-FE75-4C39-990F-342C59906C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8" name="Group 376">
                <a:extLst>
                  <a:ext uri="{FF2B5EF4-FFF2-40B4-BE49-F238E27FC236}">
                    <a16:creationId xmlns:a16="http://schemas.microsoft.com/office/drawing/2014/main" id="{1C4AF93C-4FDE-493B-9FD6-5E4BB985E13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638226" y="3767667"/>
                <a:ext cx="83389" cy="175252"/>
                <a:chOff x="5021753" y="2927868"/>
                <a:chExt cx="83398" cy="175731"/>
              </a:xfrm>
            </p:grpSpPr>
            <p:sp>
              <p:nvSpPr>
                <p:cNvPr id="209" name="Oval 377">
                  <a:extLst>
                    <a:ext uri="{FF2B5EF4-FFF2-40B4-BE49-F238E27FC236}">
                      <a16:creationId xmlns:a16="http://schemas.microsoft.com/office/drawing/2014/main" id="{D8DB4D57-8236-4375-B6B8-10955DDA09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0" name="Freeform 378">
                  <a:extLst>
                    <a:ext uri="{FF2B5EF4-FFF2-40B4-BE49-F238E27FC236}">
                      <a16:creationId xmlns:a16="http://schemas.microsoft.com/office/drawing/2014/main" id="{280CAD40-B5EB-453D-B421-A9ED6D6C83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1" name="Freeform 379">
                  <a:extLst>
                    <a:ext uri="{FF2B5EF4-FFF2-40B4-BE49-F238E27FC236}">
                      <a16:creationId xmlns:a16="http://schemas.microsoft.com/office/drawing/2014/main" id="{D2DAD098-CCDE-4B2C-B475-552EB3D505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49" name="Group 380">
                <a:extLst>
                  <a:ext uri="{FF2B5EF4-FFF2-40B4-BE49-F238E27FC236}">
                    <a16:creationId xmlns:a16="http://schemas.microsoft.com/office/drawing/2014/main" id="{B50B4C5B-2F83-49AA-BEE9-BDEDF132680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548882" y="3767667"/>
                <a:ext cx="83389" cy="175252"/>
                <a:chOff x="5021753" y="2927868"/>
                <a:chExt cx="83398" cy="175731"/>
              </a:xfrm>
            </p:grpSpPr>
            <p:sp>
              <p:nvSpPr>
                <p:cNvPr id="206" name="Oval 381">
                  <a:extLst>
                    <a:ext uri="{FF2B5EF4-FFF2-40B4-BE49-F238E27FC236}">
                      <a16:creationId xmlns:a16="http://schemas.microsoft.com/office/drawing/2014/main" id="{E9E82706-9EE0-4E12-9602-464B8D0C05C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7" name="Freeform 382">
                  <a:extLst>
                    <a:ext uri="{FF2B5EF4-FFF2-40B4-BE49-F238E27FC236}">
                      <a16:creationId xmlns:a16="http://schemas.microsoft.com/office/drawing/2014/main" id="{F029B5F2-EB89-4EBC-96A7-564BEE2A5E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8" name="Freeform 383">
                  <a:extLst>
                    <a:ext uri="{FF2B5EF4-FFF2-40B4-BE49-F238E27FC236}">
                      <a16:creationId xmlns:a16="http://schemas.microsoft.com/office/drawing/2014/main" id="{FFF8BF0E-BAB2-4012-A53E-AE4EB60BF5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0" name="Group 384">
                <a:extLst>
                  <a:ext uri="{FF2B5EF4-FFF2-40B4-BE49-F238E27FC236}">
                    <a16:creationId xmlns:a16="http://schemas.microsoft.com/office/drawing/2014/main" id="{6B2C74B2-805D-4C54-AD82-1DDC9BA2B37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459538" y="3767667"/>
                <a:ext cx="83389" cy="175252"/>
                <a:chOff x="5021753" y="2927868"/>
                <a:chExt cx="83398" cy="175731"/>
              </a:xfrm>
            </p:grpSpPr>
            <p:sp>
              <p:nvSpPr>
                <p:cNvPr id="203" name="Oval 385">
                  <a:extLst>
                    <a:ext uri="{FF2B5EF4-FFF2-40B4-BE49-F238E27FC236}">
                      <a16:creationId xmlns:a16="http://schemas.microsoft.com/office/drawing/2014/main" id="{C044BBAA-15A8-47FD-A7D7-4597790EF18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4" name="Freeform 386">
                  <a:extLst>
                    <a:ext uri="{FF2B5EF4-FFF2-40B4-BE49-F238E27FC236}">
                      <a16:creationId xmlns:a16="http://schemas.microsoft.com/office/drawing/2014/main" id="{773C57E0-21D0-413A-8177-73F9B40195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5" name="Freeform 387">
                  <a:extLst>
                    <a:ext uri="{FF2B5EF4-FFF2-40B4-BE49-F238E27FC236}">
                      <a16:creationId xmlns:a16="http://schemas.microsoft.com/office/drawing/2014/main" id="{296A8EF8-6959-48A9-B8BA-E0A2BA5A61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1" name="Group 388">
                <a:extLst>
                  <a:ext uri="{FF2B5EF4-FFF2-40B4-BE49-F238E27FC236}">
                    <a16:creationId xmlns:a16="http://schemas.microsoft.com/office/drawing/2014/main" id="{536D108D-F0C5-4FE9-96AA-303EF4FC6B8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361258" y="3767667"/>
                <a:ext cx="83389" cy="175252"/>
                <a:chOff x="5021753" y="2927868"/>
                <a:chExt cx="83398" cy="175731"/>
              </a:xfrm>
            </p:grpSpPr>
            <p:sp>
              <p:nvSpPr>
                <p:cNvPr id="200" name="Oval 389">
                  <a:extLst>
                    <a:ext uri="{FF2B5EF4-FFF2-40B4-BE49-F238E27FC236}">
                      <a16:creationId xmlns:a16="http://schemas.microsoft.com/office/drawing/2014/main" id="{12D45DE3-5326-4ADB-B7C1-B2EA02CF75E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1" name="Freeform 390">
                  <a:extLst>
                    <a:ext uri="{FF2B5EF4-FFF2-40B4-BE49-F238E27FC236}">
                      <a16:creationId xmlns:a16="http://schemas.microsoft.com/office/drawing/2014/main" id="{A24423DD-DCAF-4098-95C3-3D6AB50A47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2" name="Freeform 391">
                  <a:extLst>
                    <a:ext uri="{FF2B5EF4-FFF2-40B4-BE49-F238E27FC236}">
                      <a16:creationId xmlns:a16="http://schemas.microsoft.com/office/drawing/2014/main" id="{7C2A9B1C-6AF1-45DD-9F96-DE779185E0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2" name="Group 215">
                <a:extLst>
                  <a:ext uri="{FF2B5EF4-FFF2-40B4-BE49-F238E27FC236}">
                    <a16:creationId xmlns:a16="http://schemas.microsoft.com/office/drawing/2014/main" id="{97458B92-50E7-4661-BDDB-D527ED5939E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984734" y="3575242"/>
                <a:ext cx="83389" cy="175252"/>
                <a:chOff x="5021753" y="2927868"/>
                <a:chExt cx="83398" cy="175731"/>
              </a:xfrm>
            </p:grpSpPr>
            <p:sp>
              <p:nvSpPr>
                <p:cNvPr id="197" name="Oval 216">
                  <a:extLst>
                    <a:ext uri="{FF2B5EF4-FFF2-40B4-BE49-F238E27FC236}">
                      <a16:creationId xmlns:a16="http://schemas.microsoft.com/office/drawing/2014/main" id="{C3F76408-90B5-4ACB-9D85-B4D82D218C8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8" name="Freeform 217">
                  <a:extLst>
                    <a:ext uri="{FF2B5EF4-FFF2-40B4-BE49-F238E27FC236}">
                      <a16:creationId xmlns:a16="http://schemas.microsoft.com/office/drawing/2014/main" id="{542F8D18-8FBF-4FC6-B315-B49B5ABB16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9" name="Freeform 218">
                  <a:extLst>
                    <a:ext uri="{FF2B5EF4-FFF2-40B4-BE49-F238E27FC236}">
                      <a16:creationId xmlns:a16="http://schemas.microsoft.com/office/drawing/2014/main" id="{1D2B825A-E6C4-49E2-90EB-D7A3E4DDAC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3" name="Group 219">
                <a:extLst>
                  <a:ext uri="{FF2B5EF4-FFF2-40B4-BE49-F238E27FC236}">
                    <a16:creationId xmlns:a16="http://schemas.microsoft.com/office/drawing/2014/main" id="{CF46A10A-E127-4CB6-A416-A896026F998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892410" y="3575242"/>
                <a:ext cx="83389" cy="175252"/>
                <a:chOff x="5021753" y="2927868"/>
                <a:chExt cx="83398" cy="175731"/>
              </a:xfrm>
            </p:grpSpPr>
            <p:sp>
              <p:nvSpPr>
                <p:cNvPr id="194" name="Oval 220">
                  <a:extLst>
                    <a:ext uri="{FF2B5EF4-FFF2-40B4-BE49-F238E27FC236}">
                      <a16:creationId xmlns:a16="http://schemas.microsoft.com/office/drawing/2014/main" id="{C001AFEA-46D1-45F9-9238-3744F2BE1D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5" name="Freeform 221">
                  <a:extLst>
                    <a:ext uri="{FF2B5EF4-FFF2-40B4-BE49-F238E27FC236}">
                      <a16:creationId xmlns:a16="http://schemas.microsoft.com/office/drawing/2014/main" id="{216573A4-E98A-4C17-A6C2-D00F50C7AE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6" name="Freeform 222">
                  <a:extLst>
                    <a:ext uri="{FF2B5EF4-FFF2-40B4-BE49-F238E27FC236}">
                      <a16:creationId xmlns:a16="http://schemas.microsoft.com/office/drawing/2014/main" id="{E42D790C-3010-407E-93DB-8D547B508F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4" name="Group 223">
                <a:extLst>
                  <a:ext uri="{FF2B5EF4-FFF2-40B4-BE49-F238E27FC236}">
                    <a16:creationId xmlns:a16="http://schemas.microsoft.com/office/drawing/2014/main" id="{679C3895-C42C-4DEA-8204-78066CC0180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803065" y="3575242"/>
                <a:ext cx="83389" cy="175252"/>
                <a:chOff x="5021753" y="2927868"/>
                <a:chExt cx="83398" cy="175731"/>
              </a:xfrm>
            </p:grpSpPr>
            <p:sp>
              <p:nvSpPr>
                <p:cNvPr id="191" name="Oval 224">
                  <a:extLst>
                    <a:ext uri="{FF2B5EF4-FFF2-40B4-BE49-F238E27FC236}">
                      <a16:creationId xmlns:a16="http://schemas.microsoft.com/office/drawing/2014/main" id="{BA248094-339C-41BF-AD66-8679D3D2DED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2" name="Freeform 225">
                  <a:extLst>
                    <a:ext uri="{FF2B5EF4-FFF2-40B4-BE49-F238E27FC236}">
                      <a16:creationId xmlns:a16="http://schemas.microsoft.com/office/drawing/2014/main" id="{FBB6FC1F-306F-438A-9993-51D7C7EB0F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3" name="Freeform 226">
                  <a:extLst>
                    <a:ext uri="{FF2B5EF4-FFF2-40B4-BE49-F238E27FC236}">
                      <a16:creationId xmlns:a16="http://schemas.microsoft.com/office/drawing/2014/main" id="{5C6E1F4B-B738-41BB-97A3-7A296173BF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5" name="Group 227">
                <a:extLst>
                  <a:ext uri="{FF2B5EF4-FFF2-40B4-BE49-F238E27FC236}">
                    <a16:creationId xmlns:a16="http://schemas.microsoft.com/office/drawing/2014/main" id="{4884753D-0316-4619-98AE-A01E112CE9F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707764" y="3575242"/>
                <a:ext cx="83389" cy="175252"/>
                <a:chOff x="5021753" y="2927868"/>
                <a:chExt cx="83398" cy="175731"/>
              </a:xfrm>
            </p:grpSpPr>
            <p:sp>
              <p:nvSpPr>
                <p:cNvPr id="188" name="Oval 228">
                  <a:extLst>
                    <a:ext uri="{FF2B5EF4-FFF2-40B4-BE49-F238E27FC236}">
                      <a16:creationId xmlns:a16="http://schemas.microsoft.com/office/drawing/2014/main" id="{FCCD6E7C-587D-42FE-AD3B-F90A05586A5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9" name="Freeform 229">
                  <a:extLst>
                    <a:ext uri="{FF2B5EF4-FFF2-40B4-BE49-F238E27FC236}">
                      <a16:creationId xmlns:a16="http://schemas.microsoft.com/office/drawing/2014/main" id="{D2CB6CAD-45BB-4DEE-AA30-1828842EF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0" name="Freeform 230">
                  <a:extLst>
                    <a:ext uri="{FF2B5EF4-FFF2-40B4-BE49-F238E27FC236}">
                      <a16:creationId xmlns:a16="http://schemas.microsoft.com/office/drawing/2014/main" id="{4242F693-2AF9-40A0-9EB7-44ADB1ABCD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6" name="Group 376">
                <a:extLst>
                  <a:ext uri="{FF2B5EF4-FFF2-40B4-BE49-F238E27FC236}">
                    <a16:creationId xmlns:a16="http://schemas.microsoft.com/office/drawing/2014/main" id="{442CD609-7F38-4C2B-9A0F-F56FB84B51E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993134" y="3771779"/>
                <a:ext cx="83389" cy="175252"/>
                <a:chOff x="5021753" y="2927868"/>
                <a:chExt cx="83398" cy="175731"/>
              </a:xfrm>
            </p:grpSpPr>
            <p:sp>
              <p:nvSpPr>
                <p:cNvPr id="185" name="Oval 377">
                  <a:extLst>
                    <a:ext uri="{FF2B5EF4-FFF2-40B4-BE49-F238E27FC236}">
                      <a16:creationId xmlns:a16="http://schemas.microsoft.com/office/drawing/2014/main" id="{B018BB12-8ADF-447E-99BD-FD9F679CBEA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6" name="Freeform 378">
                  <a:extLst>
                    <a:ext uri="{FF2B5EF4-FFF2-40B4-BE49-F238E27FC236}">
                      <a16:creationId xmlns:a16="http://schemas.microsoft.com/office/drawing/2014/main" id="{D880D7F5-975D-4D6A-B803-468F0CB30B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7" name="Freeform 379">
                  <a:extLst>
                    <a:ext uri="{FF2B5EF4-FFF2-40B4-BE49-F238E27FC236}">
                      <a16:creationId xmlns:a16="http://schemas.microsoft.com/office/drawing/2014/main" id="{81AB4717-BA01-449B-B577-76F6217060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7" name="Group 380">
                <a:extLst>
                  <a:ext uri="{FF2B5EF4-FFF2-40B4-BE49-F238E27FC236}">
                    <a16:creationId xmlns:a16="http://schemas.microsoft.com/office/drawing/2014/main" id="{16A9EE4B-BAD6-4849-96F3-9E18247E9D3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903791" y="3771779"/>
                <a:ext cx="83389" cy="175252"/>
                <a:chOff x="5021753" y="2927868"/>
                <a:chExt cx="83398" cy="175731"/>
              </a:xfrm>
            </p:grpSpPr>
            <p:sp>
              <p:nvSpPr>
                <p:cNvPr id="182" name="Oval 381">
                  <a:extLst>
                    <a:ext uri="{FF2B5EF4-FFF2-40B4-BE49-F238E27FC236}">
                      <a16:creationId xmlns:a16="http://schemas.microsoft.com/office/drawing/2014/main" id="{58E61207-622E-4606-89B6-FFFF26C724B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3" name="Freeform 382">
                  <a:extLst>
                    <a:ext uri="{FF2B5EF4-FFF2-40B4-BE49-F238E27FC236}">
                      <a16:creationId xmlns:a16="http://schemas.microsoft.com/office/drawing/2014/main" id="{12906C56-A325-430C-9770-CC1E68C8B5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4" name="Freeform 383">
                  <a:extLst>
                    <a:ext uri="{FF2B5EF4-FFF2-40B4-BE49-F238E27FC236}">
                      <a16:creationId xmlns:a16="http://schemas.microsoft.com/office/drawing/2014/main" id="{05114A61-8851-46A5-B5EA-BD91395BE3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8" name="Group 384">
                <a:extLst>
                  <a:ext uri="{FF2B5EF4-FFF2-40B4-BE49-F238E27FC236}">
                    <a16:creationId xmlns:a16="http://schemas.microsoft.com/office/drawing/2014/main" id="{2C19C760-2F93-4C72-B0BD-E39EC82E100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814446" y="3771779"/>
                <a:ext cx="83389" cy="175252"/>
                <a:chOff x="5021753" y="2927868"/>
                <a:chExt cx="83398" cy="175731"/>
              </a:xfrm>
            </p:grpSpPr>
            <p:sp>
              <p:nvSpPr>
                <p:cNvPr id="179" name="Oval 385">
                  <a:extLst>
                    <a:ext uri="{FF2B5EF4-FFF2-40B4-BE49-F238E27FC236}">
                      <a16:creationId xmlns:a16="http://schemas.microsoft.com/office/drawing/2014/main" id="{5E91C798-C13A-49C4-9AEB-5F1843B2D1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0" name="Freeform 386">
                  <a:extLst>
                    <a:ext uri="{FF2B5EF4-FFF2-40B4-BE49-F238E27FC236}">
                      <a16:creationId xmlns:a16="http://schemas.microsoft.com/office/drawing/2014/main" id="{F7319411-4C8E-4614-A246-3C1E8BAF03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1" name="Freeform 387">
                  <a:extLst>
                    <a:ext uri="{FF2B5EF4-FFF2-40B4-BE49-F238E27FC236}">
                      <a16:creationId xmlns:a16="http://schemas.microsoft.com/office/drawing/2014/main" id="{D6CCC2BC-165F-4338-9D0B-195AB206A7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9" name="Group 388">
                <a:extLst>
                  <a:ext uri="{FF2B5EF4-FFF2-40B4-BE49-F238E27FC236}">
                    <a16:creationId xmlns:a16="http://schemas.microsoft.com/office/drawing/2014/main" id="{BBEF8969-40B2-4ED9-8224-057A4A87CFE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716166" y="3771779"/>
                <a:ext cx="83389" cy="175252"/>
                <a:chOff x="5021753" y="2927868"/>
                <a:chExt cx="83398" cy="175731"/>
              </a:xfrm>
            </p:grpSpPr>
            <p:sp>
              <p:nvSpPr>
                <p:cNvPr id="176" name="Oval 389">
                  <a:extLst>
                    <a:ext uri="{FF2B5EF4-FFF2-40B4-BE49-F238E27FC236}">
                      <a16:creationId xmlns:a16="http://schemas.microsoft.com/office/drawing/2014/main" id="{591AC42A-28FE-448F-A6AB-37B5794B067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7" name="Freeform 390">
                  <a:extLst>
                    <a:ext uri="{FF2B5EF4-FFF2-40B4-BE49-F238E27FC236}">
                      <a16:creationId xmlns:a16="http://schemas.microsoft.com/office/drawing/2014/main" id="{74619EEA-1142-44AD-B1BE-16F2F9A249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8" name="Freeform 391">
                  <a:extLst>
                    <a:ext uri="{FF2B5EF4-FFF2-40B4-BE49-F238E27FC236}">
                      <a16:creationId xmlns:a16="http://schemas.microsoft.com/office/drawing/2014/main" id="{64D57D44-5833-4BFA-A3DD-BB481322FD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60" name="Group 219">
                <a:extLst>
                  <a:ext uri="{FF2B5EF4-FFF2-40B4-BE49-F238E27FC236}">
                    <a16:creationId xmlns:a16="http://schemas.microsoft.com/office/drawing/2014/main" id="{BA4F7A55-68FE-47BF-84EE-2EA57938D18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163165" y="3574936"/>
                <a:ext cx="83389" cy="175252"/>
                <a:chOff x="5021753" y="2927868"/>
                <a:chExt cx="83398" cy="175731"/>
              </a:xfrm>
            </p:grpSpPr>
            <p:sp>
              <p:nvSpPr>
                <p:cNvPr id="173" name="Oval 220">
                  <a:extLst>
                    <a:ext uri="{FF2B5EF4-FFF2-40B4-BE49-F238E27FC236}">
                      <a16:creationId xmlns:a16="http://schemas.microsoft.com/office/drawing/2014/main" id="{6C46A0B8-F680-4795-AF89-99412AEA79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4" name="Freeform 221">
                  <a:extLst>
                    <a:ext uri="{FF2B5EF4-FFF2-40B4-BE49-F238E27FC236}">
                      <a16:creationId xmlns:a16="http://schemas.microsoft.com/office/drawing/2014/main" id="{708D1B78-80F4-4C47-97C7-15D4BA30CF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5" name="Freeform 222">
                  <a:extLst>
                    <a:ext uri="{FF2B5EF4-FFF2-40B4-BE49-F238E27FC236}">
                      <a16:creationId xmlns:a16="http://schemas.microsoft.com/office/drawing/2014/main" id="{9448756A-C6C5-4754-B738-B6D1C8599B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61" name="Group 223">
                <a:extLst>
                  <a:ext uri="{FF2B5EF4-FFF2-40B4-BE49-F238E27FC236}">
                    <a16:creationId xmlns:a16="http://schemas.microsoft.com/office/drawing/2014/main" id="{4F18BB08-3ABC-4EFC-889B-50BD3A3E91F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73820" y="3574936"/>
                <a:ext cx="83389" cy="175252"/>
                <a:chOff x="5021753" y="2927868"/>
                <a:chExt cx="83398" cy="175731"/>
              </a:xfrm>
            </p:grpSpPr>
            <p:sp>
              <p:nvSpPr>
                <p:cNvPr id="170" name="Oval 224">
                  <a:extLst>
                    <a:ext uri="{FF2B5EF4-FFF2-40B4-BE49-F238E27FC236}">
                      <a16:creationId xmlns:a16="http://schemas.microsoft.com/office/drawing/2014/main" id="{2433B7E1-25B8-4D7E-9666-3C053A93AFC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1" name="Freeform 225">
                  <a:extLst>
                    <a:ext uri="{FF2B5EF4-FFF2-40B4-BE49-F238E27FC236}">
                      <a16:creationId xmlns:a16="http://schemas.microsoft.com/office/drawing/2014/main" id="{E1CDBB50-7FFE-48B6-8F53-E2FE2C4070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2" name="Freeform 226">
                  <a:extLst>
                    <a:ext uri="{FF2B5EF4-FFF2-40B4-BE49-F238E27FC236}">
                      <a16:creationId xmlns:a16="http://schemas.microsoft.com/office/drawing/2014/main" id="{39693352-2916-4ACD-80C7-262E464A6C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62" name="Group 380">
                <a:extLst>
                  <a:ext uri="{FF2B5EF4-FFF2-40B4-BE49-F238E27FC236}">
                    <a16:creationId xmlns:a16="http://schemas.microsoft.com/office/drawing/2014/main" id="{82394D45-95AA-425A-8720-A5769D3E6B7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6174545" y="3771474"/>
                <a:ext cx="83389" cy="175252"/>
                <a:chOff x="5021753" y="2927868"/>
                <a:chExt cx="83398" cy="175731"/>
              </a:xfrm>
            </p:grpSpPr>
            <p:sp>
              <p:nvSpPr>
                <p:cNvPr id="167" name="Oval 381">
                  <a:extLst>
                    <a:ext uri="{FF2B5EF4-FFF2-40B4-BE49-F238E27FC236}">
                      <a16:creationId xmlns:a16="http://schemas.microsoft.com/office/drawing/2014/main" id="{D43C0215-D1A9-4BAB-95F7-3ADBB4C4745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8" name="Freeform 382">
                  <a:extLst>
                    <a:ext uri="{FF2B5EF4-FFF2-40B4-BE49-F238E27FC236}">
                      <a16:creationId xmlns:a16="http://schemas.microsoft.com/office/drawing/2014/main" id="{774FE928-0F6D-4BD1-A27B-73AB427D65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9" name="Freeform 383">
                  <a:extLst>
                    <a:ext uri="{FF2B5EF4-FFF2-40B4-BE49-F238E27FC236}">
                      <a16:creationId xmlns:a16="http://schemas.microsoft.com/office/drawing/2014/main" id="{7CCEF6C5-073F-4552-A2D9-93FE7B8CCF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63" name="Group 384">
                <a:extLst>
                  <a:ext uri="{FF2B5EF4-FFF2-40B4-BE49-F238E27FC236}">
                    <a16:creationId xmlns:a16="http://schemas.microsoft.com/office/drawing/2014/main" id="{288E94DE-9232-49D0-94A1-25490C02575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6085199" y="3771474"/>
                <a:ext cx="83389" cy="175252"/>
                <a:chOff x="5021753" y="2927868"/>
                <a:chExt cx="83398" cy="175731"/>
              </a:xfrm>
            </p:grpSpPr>
            <p:sp>
              <p:nvSpPr>
                <p:cNvPr id="164" name="Oval 385">
                  <a:extLst>
                    <a:ext uri="{FF2B5EF4-FFF2-40B4-BE49-F238E27FC236}">
                      <a16:creationId xmlns:a16="http://schemas.microsoft.com/office/drawing/2014/main" id="{D60A9955-5FB2-4390-8195-AF722A40837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5" name="Freeform 386">
                  <a:extLst>
                    <a:ext uri="{FF2B5EF4-FFF2-40B4-BE49-F238E27FC236}">
                      <a16:creationId xmlns:a16="http://schemas.microsoft.com/office/drawing/2014/main" id="{93637C42-2DE5-46E4-9D37-C29FD7D963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6" name="Freeform 387">
                  <a:extLst>
                    <a:ext uri="{FF2B5EF4-FFF2-40B4-BE49-F238E27FC236}">
                      <a16:creationId xmlns:a16="http://schemas.microsoft.com/office/drawing/2014/main" id="{34EA9DA0-2897-428B-B777-496BF5F4C53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64DE5FC9-2A47-4BEC-AC13-5A410491736A}"/>
                </a:ext>
              </a:extLst>
            </p:cNvPr>
            <p:cNvGrpSpPr/>
            <p:nvPr/>
          </p:nvGrpSpPr>
          <p:grpSpPr>
            <a:xfrm>
              <a:off x="8895968" y="2664844"/>
              <a:ext cx="1400248" cy="397677"/>
              <a:chOff x="4890777" y="3558752"/>
              <a:chExt cx="1367157" cy="388279"/>
            </a:xfrm>
          </p:grpSpPr>
          <p:grpSp>
            <p:nvGrpSpPr>
              <p:cNvPr id="14" name="Group 142">
                <a:extLst>
                  <a:ext uri="{FF2B5EF4-FFF2-40B4-BE49-F238E27FC236}">
                    <a16:creationId xmlns:a16="http://schemas.microsoft.com/office/drawing/2014/main" id="{3749B3B2-1C75-47AC-AAE0-AD27161FD90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890777" y="3564691"/>
                <a:ext cx="83389" cy="175252"/>
                <a:chOff x="5021753" y="2927868"/>
                <a:chExt cx="83398" cy="175731"/>
              </a:xfrm>
            </p:grpSpPr>
            <p:sp>
              <p:nvSpPr>
                <p:cNvPr id="131" name="Oval 143">
                  <a:extLst>
                    <a:ext uri="{FF2B5EF4-FFF2-40B4-BE49-F238E27FC236}">
                      <a16:creationId xmlns:a16="http://schemas.microsoft.com/office/drawing/2014/main" id="{A897DFF0-A7E0-4A1B-A1CC-A544B2C22E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" name="Freeform 144">
                  <a:extLst>
                    <a:ext uri="{FF2B5EF4-FFF2-40B4-BE49-F238E27FC236}">
                      <a16:creationId xmlns:a16="http://schemas.microsoft.com/office/drawing/2014/main" id="{8AF420E7-13EA-4CA3-B919-D15301D87B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" name="Freeform 145">
                  <a:extLst>
                    <a:ext uri="{FF2B5EF4-FFF2-40B4-BE49-F238E27FC236}">
                      <a16:creationId xmlns:a16="http://schemas.microsoft.com/office/drawing/2014/main" id="{13ABD0CB-EE0E-4481-AF7C-470B5FDDD6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5" name="Group 146">
                <a:extLst>
                  <a:ext uri="{FF2B5EF4-FFF2-40B4-BE49-F238E27FC236}">
                    <a16:creationId xmlns:a16="http://schemas.microsoft.com/office/drawing/2014/main" id="{70117089-B0F8-4AF3-AEB8-C5027F3D32D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86078" y="3558752"/>
                <a:ext cx="83389" cy="175252"/>
                <a:chOff x="5021753" y="2927868"/>
                <a:chExt cx="83398" cy="175731"/>
              </a:xfrm>
            </p:grpSpPr>
            <p:sp>
              <p:nvSpPr>
                <p:cNvPr id="128" name="Oval 147">
                  <a:extLst>
                    <a:ext uri="{FF2B5EF4-FFF2-40B4-BE49-F238E27FC236}">
                      <a16:creationId xmlns:a16="http://schemas.microsoft.com/office/drawing/2014/main" id="{D3978D0D-7523-42D2-A04D-3926D14217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" name="Freeform 148">
                  <a:extLst>
                    <a:ext uri="{FF2B5EF4-FFF2-40B4-BE49-F238E27FC236}">
                      <a16:creationId xmlns:a16="http://schemas.microsoft.com/office/drawing/2014/main" id="{17E3E4ED-DA9F-482C-BFBE-72BFB33440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" name="Freeform 149">
                  <a:extLst>
                    <a:ext uri="{FF2B5EF4-FFF2-40B4-BE49-F238E27FC236}">
                      <a16:creationId xmlns:a16="http://schemas.microsoft.com/office/drawing/2014/main" id="{04B89D37-B7C5-4BB2-9C39-93B2D1D746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6" name="Group 150">
                <a:extLst>
                  <a:ext uri="{FF2B5EF4-FFF2-40B4-BE49-F238E27FC236}">
                    <a16:creationId xmlns:a16="http://schemas.microsoft.com/office/drawing/2014/main" id="{606C09FA-7892-4613-9F60-5BE848BD869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078402" y="3564692"/>
                <a:ext cx="83389" cy="175252"/>
                <a:chOff x="5021753" y="2927868"/>
                <a:chExt cx="83398" cy="175731"/>
              </a:xfrm>
            </p:grpSpPr>
            <p:sp>
              <p:nvSpPr>
                <p:cNvPr id="125" name="Oval 151">
                  <a:extLst>
                    <a:ext uri="{FF2B5EF4-FFF2-40B4-BE49-F238E27FC236}">
                      <a16:creationId xmlns:a16="http://schemas.microsoft.com/office/drawing/2014/main" id="{C4999086-BF13-4263-AEAF-B1EFABA86BB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6" name="Freeform 152">
                  <a:extLst>
                    <a:ext uri="{FF2B5EF4-FFF2-40B4-BE49-F238E27FC236}">
                      <a16:creationId xmlns:a16="http://schemas.microsoft.com/office/drawing/2014/main" id="{B82B4345-127B-46A7-B7F7-DBA40FFF7B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" name="Freeform 153">
                  <a:extLst>
                    <a:ext uri="{FF2B5EF4-FFF2-40B4-BE49-F238E27FC236}">
                      <a16:creationId xmlns:a16="http://schemas.microsoft.com/office/drawing/2014/main" id="{8B3DEEE0-4D8E-4DF2-A1EA-26488DE0E7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7" name="Group 154">
                <a:extLst>
                  <a:ext uri="{FF2B5EF4-FFF2-40B4-BE49-F238E27FC236}">
                    <a16:creationId xmlns:a16="http://schemas.microsoft.com/office/drawing/2014/main" id="{AF84B89C-9A39-4CCC-825A-D4E049EF0CB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67747" y="3561722"/>
                <a:ext cx="83389" cy="175252"/>
                <a:chOff x="5021753" y="2927868"/>
                <a:chExt cx="83398" cy="175731"/>
              </a:xfrm>
            </p:grpSpPr>
            <p:sp>
              <p:nvSpPr>
                <p:cNvPr id="122" name="Oval 155">
                  <a:extLst>
                    <a:ext uri="{FF2B5EF4-FFF2-40B4-BE49-F238E27FC236}">
                      <a16:creationId xmlns:a16="http://schemas.microsoft.com/office/drawing/2014/main" id="{28823AAC-BE16-45D6-B38A-3CD7861835B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" name="Freeform 156">
                  <a:extLst>
                    <a:ext uri="{FF2B5EF4-FFF2-40B4-BE49-F238E27FC236}">
                      <a16:creationId xmlns:a16="http://schemas.microsoft.com/office/drawing/2014/main" id="{E63A1028-CE43-4051-91E0-1F6D1020FD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" name="Freeform 157">
                  <a:extLst>
                    <a:ext uri="{FF2B5EF4-FFF2-40B4-BE49-F238E27FC236}">
                      <a16:creationId xmlns:a16="http://schemas.microsoft.com/office/drawing/2014/main" id="{D57FB31C-74A9-438C-A6E4-355C84D5C5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8" name="Group 158">
                <a:extLst>
                  <a:ext uri="{FF2B5EF4-FFF2-40B4-BE49-F238E27FC236}">
                    <a16:creationId xmlns:a16="http://schemas.microsoft.com/office/drawing/2014/main" id="{18E5A87D-6812-4B9E-993C-6B090E73A13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260070" y="3564692"/>
                <a:ext cx="83389" cy="175252"/>
                <a:chOff x="5021753" y="2927868"/>
                <a:chExt cx="83398" cy="175731"/>
              </a:xfrm>
            </p:grpSpPr>
            <p:sp>
              <p:nvSpPr>
                <p:cNvPr id="119" name="Oval 159">
                  <a:extLst>
                    <a:ext uri="{FF2B5EF4-FFF2-40B4-BE49-F238E27FC236}">
                      <a16:creationId xmlns:a16="http://schemas.microsoft.com/office/drawing/2014/main" id="{62AA81C3-D731-40BB-B3A0-14CF011F6CA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-711073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" name="Freeform 160">
                  <a:extLst>
                    <a:ext uri="{FF2B5EF4-FFF2-40B4-BE49-F238E27FC236}">
                      <a16:creationId xmlns:a16="http://schemas.microsoft.com/office/drawing/2014/main" id="{ACDBD1D1-EDE9-4DD7-A2FE-54D449185A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" name="Freeform 161">
                  <a:extLst>
                    <a:ext uri="{FF2B5EF4-FFF2-40B4-BE49-F238E27FC236}">
                      <a16:creationId xmlns:a16="http://schemas.microsoft.com/office/drawing/2014/main" id="{837670FE-2B3F-4B02-9082-A2C799DBF5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9" name="Group 215">
                <a:extLst>
                  <a:ext uri="{FF2B5EF4-FFF2-40B4-BE49-F238E27FC236}">
                    <a16:creationId xmlns:a16="http://schemas.microsoft.com/office/drawing/2014/main" id="{2C43C2E9-581D-46B9-A0C3-2C02500E0D0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629826" y="3571130"/>
                <a:ext cx="83389" cy="175252"/>
                <a:chOff x="5021753" y="2927868"/>
                <a:chExt cx="83398" cy="175731"/>
              </a:xfrm>
            </p:grpSpPr>
            <p:sp>
              <p:nvSpPr>
                <p:cNvPr id="116" name="Oval 216">
                  <a:extLst>
                    <a:ext uri="{FF2B5EF4-FFF2-40B4-BE49-F238E27FC236}">
                      <a16:creationId xmlns:a16="http://schemas.microsoft.com/office/drawing/2014/main" id="{2E7E5498-6AE9-4F38-B45E-CE3A2498D24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" name="Freeform 217">
                  <a:extLst>
                    <a:ext uri="{FF2B5EF4-FFF2-40B4-BE49-F238E27FC236}">
                      <a16:creationId xmlns:a16="http://schemas.microsoft.com/office/drawing/2014/main" id="{519E566E-7EB1-4C30-BFDA-4D3BE10899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" name="Freeform 218">
                  <a:extLst>
                    <a:ext uri="{FF2B5EF4-FFF2-40B4-BE49-F238E27FC236}">
                      <a16:creationId xmlns:a16="http://schemas.microsoft.com/office/drawing/2014/main" id="{46ADD010-8AB8-458C-BB54-21660C619B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0" name="Group 219">
                <a:extLst>
                  <a:ext uri="{FF2B5EF4-FFF2-40B4-BE49-F238E27FC236}">
                    <a16:creationId xmlns:a16="http://schemas.microsoft.com/office/drawing/2014/main" id="{4A824EFC-6B01-4A9B-AAD8-CBC5C9CD6CF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537502" y="3571130"/>
                <a:ext cx="83389" cy="175252"/>
                <a:chOff x="5021753" y="2927868"/>
                <a:chExt cx="83398" cy="175731"/>
              </a:xfrm>
            </p:grpSpPr>
            <p:sp>
              <p:nvSpPr>
                <p:cNvPr id="113" name="Oval 220">
                  <a:extLst>
                    <a:ext uri="{FF2B5EF4-FFF2-40B4-BE49-F238E27FC236}">
                      <a16:creationId xmlns:a16="http://schemas.microsoft.com/office/drawing/2014/main" id="{7117D944-3CFC-477A-919C-F1FE9C084D6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" name="Freeform 221">
                  <a:extLst>
                    <a:ext uri="{FF2B5EF4-FFF2-40B4-BE49-F238E27FC236}">
                      <a16:creationId xmlns:a16="http://schemas.microsoft.com/office/drawing/2014/main" id="{AC671CDF-BBA3-40F5-9B06-E43C435CA4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" name="Freeform 222">
                  <a:extLst>
                    <a:ext uri="{FF2B5EF4-FFF2-40B4-BE49-F238E27FC236}">
                      <a16:creationId xmlns:a16="http://schemas.microsoft.com/office/drawing/2014/main" id="{70A848A5-F98D-489B-8B90-B52AB7D1A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1" name="Group 223">
                <a:extLst>
                  <a:ext uri="{FF2B5EF4-FFF2-40B4-BE49-F238E27FC236}">
                    <a16:creationId xmlns:a16="http://schemas.microsoft.com/office/drawing/2014/main" id="{373D39E7-78BE-42D6-8467-1EC6F32F01A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448158" y="3571130"/>
                <a:ext cx="83389" cy="175252"/>
                <a:chOff x="5021753" y="2927868"/>
                <a:chExt cx="83398" cy="175731"/>
              </a:xfrm>
            </p:grpSpPr>
            <p:sp>
              <p:nvSpPr>
                <p:cNvPr id="110" name="Oval 224">
                  <a:extLst>
                    <a:ext uri="{FF2B5EF4-FFF2-40B4-BE49-F238E27FC236}">
                      <a16:creationId xmlns:a16="http://schemas.microsoft.com/office/drawing/2014/main" id="{D8A49A0E-4C12-4A05-BFC5-CF37CDFA7B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" name="Freeform 225">
                  <a:extLst>
                    <a:ext uri="{FF2B5EF4-FFF2-40B4-BE49-F238E27FC236}">
                      <a16:creationId xmlns:a16="http://schemas.microsoft.com/office/drawing/2014/main" id="{17708A9B-6C10-409A-B676-08ABE0A825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" name="Freeform 226">
                  <a:extLst>
                    <a:ext uri="{FF2B5EF4-FFF2-40B4-BE49-F238E27FC236}">
                      <a16:creationId xmlns:a16="http://schemas.microsoft.com/office/drawing/2014/main" id="{AB0F6434-8CF0-4AC3-B45B-F069F255AF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2" name="Group 227">
                <a:extLst>
                  <a:ext uri="{FF2B5EF4-FFF2-40B4-BE49-F238E27FC236}">
                    <a16:creationId xmlns:a16="http://schemas.microsoft.com/office/drawing/2014/main" id="{0383FAE1-E581-4385-A406-7AD3637CE01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52856" y="3571130"/>
                <a:ext cx="83389" cy="175252"/>
                <a:chOff x="5021753" y="2927868"/>
                <a:chExt cx="83398" cy="175731"/>
              </a:xfrm>
            </p:grpSpPr>
            <p:sp>
              <p:nvSpPr>
                <p:cNvPr id="107" name="Oval 228">
                  <a:extLst>
                    <a:ext uri="{FF2B5EF4-FFF2-40B4-BE49-F238E27FC236}">
                      <a16:creationId xmlns:a16="http://schemas.microsoft.com/office/drawing/2014/main" id="{E58A923E-441B-4812-9A8E-10463978910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Freeform 229">
                  <a:extLst>
                    <a:ext uri="{FF2B5EF4-FFF2-40B4-BE49-F238E27FC236}">
                      <a16:creationId xmlns:a16="http://schemas.microsoft.com/office/drawing/2014/main" id="{DF00479B-003D-461C-B050-B4007C68AE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" name="Freeform 230">
                  <a:extLst>
                    <a:ext uri="{FF2B5EF4-FFF2-40B4-BE49-F238E27FC236}">
                      <a16:creationId xmlns:a16="http://schemas.microsoft.com/office/drawing/2014/main" id="{01860E34-BF61-48A0-BECC-4463B3D0FB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3" name="Group 303">
                <a:extLst>
                  <a:ext uri="{FF2B5EF4-FFF2-40B4-BE49-F238E27FC236}">
                    <a16:creationId xmlns:a16="http://schemas.microsoft.com/office/drawing/2014/main" id="{9DA227A6-4711-4464-9C25-09F7E70AAF7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4891735" y="3756281"/>
                <a:ext cx="83389" cy="175252"/>
                <a:chOff x="5021753" y="2927868"/>
                <a:chExt cx="83398" cy="175731"/>
              </a:xfrm>
            </p:grpSpPr>
            <p:sp>
              <p:nvSpPr>
                <p:cNvPr id="104" name="Oval 304">
                  <a:extLst>
                    <a:ext uri="{FF2B5EF4-FFF2-40B4-BE49-F238E27FC236}">
                      <a16:creationId xmlns:a16="http://schemas.microsoft.com/office/drawing/2014/main" id="{3F4165D8-E7F0-4B8F-8168-D7EE6F98B21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" name="Freeform 305">
                  <a:extLst>
                    <a:ext uri="{FF2B5EF4-FFF2-40B4-BE49-F238E27FC236}">
                      <a16:creationId xmlns:a16="http://schemas.microsoft.com/office/drawing/2014/main" id="{8160FEA1-04A2-4F6B-BEAE-6DBA3620B4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" name="Freeform 306">
                  <a:extLst>
                    <a:ext uri="{FF2B5EF4-FFF2-40B4-BE49-F238E27FC236}">
                      <a16:creationId xmlns:a16="http://schemas.microsoft.com/office/drawing/2014/main" id="{1881CA04-F55C-4429-9277-42FAD6E92F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4" name="Group 307">
                <a:extLst>
                  <a:ext uri="{FF2B5EF4-FFF2-40B4-BE49-F238E27FC236}">
                    <a16:creationId xmlns:a16="http://schemas.microsoft.com/office/drawing/2014/main" id="{0CEC8A00-8C49-4914-8A26-021C3B3B770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4984057" y="3753312"/>
                <a:ext cx="83389" cy="175252"/>
                <a:chOff x="5021753" y="2927868"/>
                <a:chExt cx="83398" cy="175731"/>
              </a:xfrm>
            </p:grpSpPr>
            <p:sp>
              <p:nvSpPr>
                <p:cNvPr id="101" name="Oval 308">
                  <a:extLst>
                    <a:ext uri="{FF2B5EF4-FFF2-40B4-BE49-F238E27FC236}">
                      <a16:creationId xmlns:a16="http://schemas.microsoft.com/office/drawing/2014/main" id="{D8C137CC-CF87-4CAD-85E8-7EC48521DC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" name="Freeform 309">
                  <a:extLst>
                    <a:ext uri="{FF2B5EF4-FFF2-40B4-BE49-F238E27FC236}">
                      <a16:creationId xmlns:a16="http://schemas.microsoft.com/office/drawing/2014/main" id="{776F55B3-0559-4A91-92C8-DFA22D9700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" name="Freeform 310">
                  <a:extLst>
                    <a:ext uri="{FF2B5EF4-FFF2-40B4-BE49-F238E27FC236}">
                      <a16:creationId xmlns:a16="http://schemas.microsoft.com/office/drawing/2014/main" id="{04A08C06-29B5-437C-918B-D804D1B68C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5" name="Group 311">
                <a:extLst>
                  <a:ext uri="{FF2B5EF4-FFF2-40B4-BE49-F238E27FC236}">
                    <a16:creationId xmlns:a16="http://schemas.microsoft.com/office/drawing/2014/main" id="{085CC070-4B18-4074-ABA0-EA445618AE2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5073404" y="3759253"/>
                <a:ext cx="83389" cy="175252"/>
                <a:chOff x="5021753" y="2927868"/>
                <a:chExt cx="83398" cy="175731"/>
              </a:xfrm>
            </p:grpSpPr>
            <p:sp>
              <p:nvSpPr>
                <p:cNvPr id="98" name="Oval 312">
                  <a:extLst>
                    <a:ext uri="{FF2B5EF4-FFF2-40B4-BE49-F238E27FC236}">
                      <a16:creationId xmlns:a16="http://schemas.microsoft.com/office/drawing/2014/main" id="{7EC88E63-8565-422C-B52C-B7F632B109A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" name="Freeform 313">
                  <a:extLst>
                    <a:ext uri="{FF2B5EF4-FFF2-40B4-BE49-F238E27FC236}">
                      <a16:creationId xmlns:a16="http://schemas.microsoft.com/office/drawing/2014/main" id="{BFB6C3AC-B03A-4318-B679-51D687BD94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" name="Freeform 314">
                  <a:extLst>
                    <a:ext uri="{FF2B5EF4-FFF2-40B4-BE49-F238E27FC236}">
                      <a16:creationId xmlns:a16="http://schemas.microsoft.com/office/drawing/2014/main" id="{EB102A14-9EC3-405E-9D06-9D587082D3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6" name="Group 316">
                <a:extLst>
                  <a:ext uri="{FF2B5EF4-FFF2-40B4-BE49-F238E27FC236}">
                    <a16:creationId xmlns:a16="http://schemas.microsoft.com/office/drawing/2014/main" id="{0951E22E-7ADD-463E-842D-B00BD00C963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5166224" y="3762718"/>
                <a:ext cx="83389" cy="175252"/>
                <a:chOff x="5021753" y="2927868"/>
                <a:chExt cx="83398" cy="175731"/>
              </a:xfrm>
            </p:grpSpPr>
            <p:sp>
              <p:nvSpPr>
                <p:cNvPr id="95" name="Oval 317">
                  <a:extLst>
                    <a:ext uri="{FF2B5EF4-FFF2-40B4-BE49-F238E27FC236}">
                      <a16:creationId xmlns:a16="http://schemas.microsoft.com/office/drawing/2014/main" id="{2E6BDEF8-FDE2-47F5-90BC-8A0684447A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" name="Freeform 318">
                  <a:extLst>
                    <a:ext uri="{FF2B5EF4-FFF2-40B4-BE49-F238E27FC236}">
                      <a16:creationId xmlns:a16="http://schemas.microsoft.com/office/drawing/2014/main" id="{58FC0A8D-3FE0-4CE0-AE98-9BD79A9057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" name="Freeform 319">
                  <a:extLst>
                    <a:ext uri="{FF2B5EF4-FFF2-40B4-BE49-F238E27FC236}">
                      <a16:creationId xmlns:a16="http://schemas.microsoft.com/office/drawing/2014/main" id="{E02EAC01-A20E-4760-A77F-3A4D169DD4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7" name="Group 320">
                <a:extLst>
                  <a:ext uri="{FF2B5EF4-FFF2-40B4-BE49-F238E27FC236}">
                    <a16:creationId xmlns:a16="http://schemas.microsoft.com/office/drawing/2014/main" id="{796A9232-AA11-4D4F-AB07-CF5E4918A04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5259041" y="3760243"/>
                <a:ext cx="83389" cy="175252"/>
                <a:chOff x="5021753" y="2927868"/>
                <a:chExt cx="83398" cy="175731"/>
              </a:xfrm>
            </p:grpSpPr>
            <p:sp>
              <p:nvSpPr>
                <p:cNvPr id="92" name="Oval 321">
                  <a:extLst>
                    <a:ext uri="{FF2B5EF4-FFF2-40B4-BE49-F238E27FC236}">
                      <a16:creationId xmlns:a16="http://schemas.microsoft.com/office/drawing/2014/main" id="{B9D07420-3C1D-4EE1-81BF-23D95E34C25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" name="Freeform 322">
                  <a:extLst>
                    <a:ext uri="{FF2B5EF4-FFF2-40B4-BE49-F238E27FC236}">
                      <a16:creationId xmlns:a16="http://schemas.microsoft.com/office/drawing/2014/main" id="{3D27F74A-FC07-4B3F-BD8A-578D244663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" name="Freeform 323">
                  <a:extLst>
                    <a:ext uri="{FF2B5EF4-FFF2-40B4-BE49-F238E27FC236}">
                      <a16:creationId xmlns:a16="http://schemas.microsoft.com/office/drawing/2014/main" id="{BFBBE4A1-7A5B-42AA-A72F-7DEC0B7AA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8" name="Group 376">
                <a:extLst>
                  <a:ext uri="{FF2B5EF4-FFF2-40B4-BE49-F238E27FC236}">
                    <a16:creationId xmlns:a16="http://schemas.microsoft.com/office/drawing/2014/main" id="{6AF40909-20F4-4166-8757-4AD822EF0C2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638226" y="3767667"/>
                <a:ext cx="83389" cy="175252"/>
                <a:chOff x="5021753" y="2927868"/>
                <a:chExt cx="83398" cy="175731"/>
              </a:xfrm>
            </p:grpSpPr>
            <p:sp>
              <p:nvSpPr>
                <p:cNvPr id="89" name="Oval 377">
                  <a:extLst>
                    <a:ext uri="{FF2B5EF4-FFF2-40B4-BE49-F238E27FC236}">
                      <a16:creationId xmlns:a16="http://schemas.microsoft.com/office/drawing/2014/main" id="{E26E063F-BB24-4517-9568-08E1A426FF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" name="Freeform 378">
                  <a:extLst>
                    <a:ext uri="{FF2B5EF4-FFF2-40B4-BE49-F238E27FC236}">
                      <a16:creationId xmlns:a16="http://schemas.microsoft.com/office/drawing/2014/main" id="{2BDCC96E-6668-4A23-A74B-0E09CECFFB3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" name="Freeform 379">
                  <a:extLst>
                    <a:ext uri="{FF2B5EF4-FFF2-40B4-BE49-F238E27FC236}">
                      <a16:creationId xmlns:a16="http://schemas.microsoft.com/office/drawing/2014/main" id="{22FAB0F8-C4D9-427D-8A03-1863346F91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29" name="Group 380">
                <a:extLst>
                  <a:ext uri="{FF2B5EF4-FFF2-40B4-BE49-F238E27FC236}">
                    <a16:creationId xmlns:a16="http://schemas.microsoft.com/office/drawing/2014/main" id="{403CFA25-7147-482C-9116-7C8AF16BD00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548882" y="3767667"/>
                <a:ext cx="83389" cy="175252"/>
                <a:chOff x="5021753" y="2927868"/>
                <a:chExt cx="83398" cy="175731"/>
              </a:xfrm>
            </p:grpSpPr>
            <p:sp>
              <p:nvSpPr>
                <p:cNvPr id="86" name="Oval 381">
                  <a:extLst>
                    <a:ext uri="{FF2B5EF4-FFF2-40B4-BE49-F238E27FC236}">
                      <a16:creationId xmlns:a16="http://schemas.microsoft.com/office/drawing/2014/main" id="{904577D5-BED4-4DA4-AE01-8A8EA6C217A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7" name="Freeform 382">
                  <a:extLst>
                    <a:ext uri="{FF2B5EF4-FFF2-40B4-BE49-F238E27FC236}">
                      <a16:creationId xmlns:a16="http://schemas.microsoft.com/office/drawing/2014/main" id="{8D2ED7E2-5CEA-4EFA-A635-CE5172753B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" name="Freeform 383">
                  <a:extLst>
                    <a:ext uri="{FF2B5EF4-FFF2-40B4-BE49-F238E27FC236}">
                      <a16:creationId xmlns:a16="http://schemas.microsoft.com/office/drawing/2014/main" id="{EB696E89-1DB7-4DDB-971D-43250792D1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0" name="Group 384">
                <a:extLst>
                  <a:ext uri="{FF2B5EF4-FFF2-40B4-BE49-F238E27FC236}">
                    <a16:creationId xmlns:a16="http://schemas.microsoft.com/office/drawing/2014/main" id="{64C8DD91-28B2-4305-A397-E5CA4D42AC5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459538" y="3767667"/>
                <a:ext cx="83389" cy="175252"/>
                <a:chOff x="5021753" y="2927868"/>
                <a:chExt cx="83398" cy="175731"/>
              </a:xfrm>
            </p:grpSpPr>
            <p:sp>
              <p:nvSpPr>
                <p:cNvPr id="83" name="Oval 385">
                  <a:extLst>
                    <a:ext uri="{FF2B5EF4-FFF2-40B4-BE49-F238E27FC236}">
                      <a16:creationId xmlns:a16="http://schemas.microsoft.com/office/drawing/2014/main" id="{FD04788E-E1FF-4E18-BB7D-9A7E14D9BF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" name="Freeform 386">
                  <a:extLst>
                    <a:ext uri="{FF2B5EF4-FFF2-40B4-BE49-F238E27FC236}">
                      <a16:creationId xmlns:a16="http://schemas.microsoft.com/office/drawing/2014/main" id="{C4F5479E-A029-4FCC-9C39-DEE0CB8BEB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" name="Freeform 387">
                  <a:extLst>
                    <a:ext uri="{FF2B5EF4-FFF2-40B4-BE49-F238E27FC236}">
                      <a16:creationId xmlns:a16="http://schemas.microsoft.com/office/drawing/2014/main" id="{4A011A84-A549-48E5-AFBB-CDCA9435A0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1" name="Group 388">
                <a:extLst>
                  <a:ext uri="{FF2B5EF4-FFF2-40B4-BE49-F238E27FC236}">
                    <a16:creationId xmlns:a16="http://schemas.microsoft.com/office/drawing/2014/main" id="{4787BAB8-B47B-4048-8B91-0484B2792E8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361258" y="3767667"/>
                <a:ext cx="83389" cy="175252"/>
                <a:chOff x="5021753" y="2927868"/>
                <a:chExt cx="83398" cy="175731"/>
              </a:xfrm>
            </p:grpSpPr>
            <p:sp>
              <p:nvSpPr>
                <p:cNvPr id="80" name="Oval 389">
                  <a:extLst>
                    <a:ext uri="{FF2B5EF4-FFF2-40B4-BE49-F238E27FC236}">
                      <a16:creationId xmlns:a16="http://schemas.microsoft.com/office/drawing/2014/main" id="{4B0E5531-0EB9-419E-AC80-7C3C2F4E688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" name="Freeform 390">
                  <a:extLst>
                    <a:ext uri="{FF2B5EF4-FFF2-40B4-BE49-F238E27FC236}">
                      <a16:creationId xmlns:a16="http://schemas.microsoft.com/office/drawing/2014/main" id="{FCD52801-A16F-454D-90C8-EA0642B02F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" name="Freeform 391">
                  <a:extLst>
                    <a:ext uri="{FF2B5EF4-FFF2-40B4-BE49-F238E27FC236}">
                      <a16:creationId xmlns:a16="http://schemas.microsoft.com/office/drawing/2014/main" id="{69F01888-F011-4DB8-B738-F162A4F9C8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2" name="Group 215">
                <a:extLst>
                  <a:ext uri="{FF2B5EF4-FFF2-40B4-BE49-F238E27FC236}">
                    <a16:creationId xmlns:a16="http://schemas.microsoft.com/office/drawing/2014/main" id="{018E46FC-EA0B-4258-8CBD-4745F0D7C7B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984734" y="3575242"/>
                <a:ext cx="83389" cy="175252"/>
                <a:chOff x="5021753" y="2927868"/>
                <a:chExt cx="83398" cy="175731"/>
              </a:xfrm>
            </p:grpSpPr>
            <p:sp>
              <p:nvSpPr>
                <p:cNvPr id="77" name="Oval 216">
                  <a:extLst>
                    <a:ext uri="{FF2B5EF4-FFF2-40B4-BE49-F238E27FC236}">
                      <a16:creationId xmlns:a16="http://schemas.microsoft.com/office/drawing/2014/main" id="{D4555D98-BBD6-455A-80DE-3E84E15792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" name="Freeform 217">
                  <a:extLst>
                    <a:ext uri="{FF2B5EF4-FFF2-40B4-BE49-F238E27FC236}">
                      <a16:creationId xmlns:a16="http://schemas.microsoft.com/office/drawing/2014/main" id="{6358D28C-BBB5-45C0-927F-1A234A3CCA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" name="Freeform 218">
                  <a:extLst>
                    <a:ext uri="{FF2B5EF4-FFF2-40B4-BE49-F238E27FC236}">
                      <a16:creationId xmlns:a16="http://schemas.microsoft.com/office/drawing/2014/main" id="{759BE8DC-8AF8-43F4-B75B-D5E6EB9DBD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3" name="Group 219">
                <a:extLst>
                  <a:ext uri="{FF2B5EF4-FFF2-40B4-BE49-F238E27FC236}">
                    <a16:creationId xmlns:a16="http://schemas.microsoft.com/office/drawing/2014/main" id="{C19AD43B-BB82-4E39-A2A5-1485B89518B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892410" y="3575242"/>
                <a:ext cx="83389" cy="175252"/>
                <a:chOff x="5021753" y="2927868"/>
                <a:chExt cx="83398" cy="175731"/>
              </a:xfrm>
            </p:grpSpPr>
            <p:sp>
              <p:nvSpPr>
                <p:cNvPr id="74" name="Oval 220">
                  <a:extLst>
                    <a:ext uri="{FF2B5EF4-FFF2-40B4-BE49-F238E27FC236}">
                      <a16:creationId xmlns:a16="http://schemas.microsoft.com/office/drawing/2014/main" id="{49FEC58B-4270-4865-B3A1-3156D4033E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" name="Freeform 221">
                  <a:extLst>
                    <a:ext uri="{FF2B5EF4-FFF2-40B4-BE49-F238E27FC236}">
                      <a16:creationId xmlns:a16="http://schemas.microsoft.com/office/drawing/2014/main" id="{20222C43-2650-4B85-98EF-03FB7BA3D1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" name="Freeform 222">
                  <a:extLst>
                    <a:ext uri="{FF2B5EF4-FFF2-40B4-BE49-F238E27FC236}">
                      <a16:creationId xmlns:a16="http://schemas.microsoft.com/office/drawing/2014/main" id="{FE5853E0-DA7A-48C1-AB0A-D7BBB42845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4" name="Group 223">
                <a:extLst>
                  <a:ext uri="{FF2B5EF4-FFF2-40B4-BE49-F238E27FC236}">
                    <a16:creationId xmlns:a16="http://schemas.microsoft.com/office/drawing/2014/main" id="{439CA7A6-878C-4AC9-B05E-FAFE1142DEA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803065" y="3575242"/>
                <a:ext cx="83389" cy="175252"/>
                <a:chOff x="5021753" y="2927868"/>
                <a:chExt cx="83398" cy="175731"/>
              </a:xfrm>
            </p:grpSpPr>
            <p:sp>
              <p:nvSpPr>
                <p:cNvPr id="71" name="Oval 224">
                  <a:extLst>
                    <a:ext uri="{FF2B5EF4-FFF2-40B4-BE49-F238E27FC236}">
                      <a16:creationId xmlns:a16="http://schemas.microsoft.com/office/drawing/2014/main" id="{1E12DB75-D309-4A7E-B1FC-3D076768EF7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Freeform 225">
                  <a:extLst>
                    <a:ext uri="{FF2B5EF4-FFF2-40B4-BE49-F238E27FC236}">
                      <a16:creationId xmlns:a16="http://schemas.microsoft.com/office/drawing/2014/main" id="{FB654D70-7762-4330-B52A-0A0873A23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" name="Freeform 226">
                  <a:extLst>
                    <a:ext uri="{FF2B5EF4-FFF2-40B4-BE49-F238E27FC236}">
                      <a16:creationId xmlns:a16="http://schemas.microsoft.com/office/drawing/2014/main" id="{B53AF97D-6667-4CED-AC0B-A9A0785C75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5" name="Group 227">
                <a:extLst>
                  <a:ext uri="{FF2B5EF4-FFF2-40B4-BE49-F238E27FC236}">
                    <a16:creationId xmlns:a16="http://schemas.microsoft.com/office/drawing/2014/main" id="{B95E8B75-391C-4FFC-BE35-62DE7F445F0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707764" y="3575242"/>
                <a:ext cx="83389" cy="175252"/>
                <a:chOff x="5021753" y="2927868"/>
                <a:chExt cx="83398" cy="175731"/>
              </a:xfrm>
            </p:grpSpPr>
            <p:sp>
              <p:nvSpPr>
                <p:cNvPr id="68" name="Oval 228">
                  <a:extLst>
                    <a:ext uri="{FF2B5EF4-FFF2-40B4-BE49-F238E27FC236}">
                      <a16:creationId xmlns:a16="http://schemas.microsoft.com/office/drawing/2014/main" id="{50F1E539-C749-4A8E-B264-B6D93E9F25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" name="Freeform 229">
                  <a:extLst>
                    <a:ext uri="{FF2B5EF4-FFF2-40B4-BE49-F238E27FC236}">
                      <a16:creationId xmlns:a16="http://schemas.microsoft.com/office/drawing/2014/main" id="{03D01AEF-EE44-4764-8251-9458DE5F80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" name="Freeform 230">
                  <a:extLst>
                    <a:ext uri="{FF2B5EF4-FFF2-40B4-BE49-F238E27FC236}">
                      <a16:creationId xmlns:a16="http://schemas.microsoft.com/office/drawing/2014/main" id="{C399DC5C-AFDA-4143-A59B-87F21D8803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6" name="Group 376">
                <a:extLst>
                  <a:ext uri="{FF2B5EF4-FFF2-40B4-BE49-F238E27FC236}">
                    <a16:creationId xmlns:a16="http://schemas.microsoft.com/office/drawing/2014/main" id="{D9EDBB80-6D2B-4AAC-AD7B-B9E7778E72F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993134" y="3771779"/>
                <a:ext cx="83389" cy="175252"/>
                <a:chOff x="5021753" y="2927868"/>
                <a:chExt cx="83398" cy="175731"/>
              </a:xfrm>
            </p:grpSpPr>
            <p:sp>
              <p:nvSpPr>
                <p:cNvPr id="65" name="Oval 377">
                  <a:extLst>
                    <a:ext uri="{FF2B5EF4-FFF2-40B4-BE49-F238E27FC236}">
                      <a16:creationId xmlns:a16="http://schemas.microsoft.com/office/drawing/2014/main" id="{AFB4B1DD-A97F-4836-961A-D98B3064142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" name="Freeform 378">
                  <a:extLst>
                    <a:ext uri="{FF2B5EF4-FFF2-40B4-BE49-F238E27FC236}">
                      <a16:creationId xmlns:a16="http://schemas.microsoft.com/office/drawing/2014/main" id="{B2FBE058-53DC-41C2-AE5F-21BD8DE63E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" name="Freeform 379">
                  <a:extLst>
                    <a:ext uri="{FF2B5EF4-FFF2-40B4-BE49-F238E27FC236}">
                      <a16:creationId xmlns:a16="http://schemas.microsoft.com/office/drawing/2014/main" id="{A1DC021B-A86F-4660-A559-4122636302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7" name="Group 380">
                <a:extLst>
                  <a:ext uri="{FF2B5EF4-FFF2-40B4-BE49-F238E27FC236}">
                    <a16:creationId xmlns:a16="http://schemas.microsoft.com/office/drawing/2014/main" id="{878FAE8B-B906-4637-BA1D-AFD5827F0F5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903791" y="3771779"/>
                <a:ext cx="83389" cy="175252"/>
                <a:chOff x="5021753" y="2927868"/>
                <a:chExt cx="83398" cy="175731"/>
              </a:xfrm>
            </p:grpSpPr>
            <p:sp>
              <p:nvSpPr>
                <p:cNvPr id="62" name="Oval 381">
                  <a:extLst>
                    <a:ext uri="{FF2B5EF4-FFF2-40B4-BE49-F238E27FC236}">
                      <a16:creationId xmlns:a16="http://schemas.microsoft.com/office/drawing/2014/main" id="{39B96816-4BED-4656-8AF9-283024DE1A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" name="Freeform 382">
                  <a:extLst>
                    <a:ext uri="{FF2B5EF4-FFF2-40B4-BE49-F238E27FC236}">
                      <a16:creationId xmlns:a16="http://schemas.microsoft.com/office/drawing/2014/main" id="{D62C2768-EE0C-4B41-9F13-5B81E2F64D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" name="Freeform 383">
                  <a:extLst>
                    <a:ext uri="{FF2B5EF4-FFF2-40B4-BE49-F238E27FC236}">
                      <a16:creationId xmlns:a16="http://schemas.microsoft.com/office/drawing/2014/main" id="{A97DE19B-62F9-403A-AE3A-325A9CBB18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8" name="Group 384">
                <a:extLst>
                  <a:ext uri="{FF2B5EF4-FFF2-40B4-BE49-F238E27FC236}">
                    <a16:creationId xmlns:a16="http://schemas.microsoft.com/office/drawing/2014/main" id="{91B9F2BF-77E5-446D-AFDB-1B0787B683E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814446" y="3771779"/>
                <a:ext cx="83389" cy="175252"/>
                <a:chOff x="5021753" y="2927868"/>
                <a:chExt cx="83398" cy="175731"/>
              </a:xfrm>
            </p:grpSpPr>
            <p:sp>
              <p:nvSpPr>
                <p:cNvPr id="59" name="Oval 385">
                  <a:extLst>
                    <a:ext uri="{FF2B5EF4-FFF2-40B4-BE49-F238E27FC236}">
                      <a16:creationId xmlns:a16="http://schemas.microsoft.com/office/drawing/2014/main" id="{ED41CF82-B956-4317-B6BF-3859E0027F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" name="Freeform 386">
                  <a:extLst>
                    <a:ext uri="{FF2B5EF4-FFF2-40B4-BE49-F238E27FC236}">
                      <a16:creationId xmlns:a16="http://schemas.microsoft.com/office/drawing/2014/main" id="{9F136196-EC82-4611-801B-73EC51EFF9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" name="Freeform 387">
                  <a:extLst>
                    <a:ext uri="{FF2B5EF4-FFF2-40B4-BE49-F238E27FC236}">
                      <a16:creationId xmlns:a16="http://schemas.microsoft.com/office/drawing/2014/main" id="{FCC9A5EF-38E0-4681-8F66-BC4989609F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39" name="Group 388">
                <a:extLst>
                  <a:ext uri="{FF2B5EF4-FFF2-40B4-BE49-F238E27FC236}">
                    <a16:creationId xmlns:a16="http://schemas.microsoft.com/office/drawing/2014/main" id="{F5C87B02-673C-407D-B548-28B15149E8D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5716166" y="3771779"/>
                <a:ext cx="83389" cy="175252"/>
                <a:chOff x="5021753" y="2927868"/>
                <a:chExt cx="83398" cy="175731"/>
              </a:xfrm>
            </p:grpSpPr>
            <p:sp>
              <p:nvSpPr>
                <p:cNvPr id="56" name="Oval 389">
                  <a:extLst>
                    <a:ext uri="{FF2B5EF4-FFF2-40B4-BE49-F238E27FC236}">
                      <a16:creationId xmlns:a16="http://schemas.microsoft.com/office/drawing/2014/main" id="{56728CD8-2B09-4CFC-AA78-7C948175CB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" name="Freeform 390">
                  <a:extLst>
                    <a:ext uri="{FF2B5EF4-FFF2-40B4-BE49-F238E27FC236}">
                      <a16:creationId xmlns:a16="http://schemas.microsoft.com/office/drawing/2014/main" id="{C3FC06D8-A2D6-4124-B5B3-D93E732819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Freeform 391">
                  <a:extLst>
                    <a:ext uri="{FF2B5EF4-FFF2-40B4-BE49-F238E27FC236}">
                      <a16:creationId xmlns:a16="http://schemas.microsoft.com/office/drawing/2014/main" id="{7544F61F-5FD8-4817-9AFB-05C13BE0DF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0" name="Group 219">
                <a:extLst>
                  <a:ext uri="{FF2B5EF4-FFF2-40B4-BE49-F238E27FC236}">
                    <a16:creationId xmlns:a16="http://schemas.microsoft.com/office/drawing/2014/main" id="{A860BA0E-46C9-4F10-A795-30A33336E4B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163165" y="3574936"/>
                <a:ext cx="83389" cy="175252"/>
                <a:chOff x="5021753" y="2927868"/>
                <a:chExt cx="83398" cy="175731"/>
              </a:xfrm>
            </p:grpSpPr>
            <p:sp>
              <p:nvSpPr>
                <p:cNvPr id="53" name="Oval 220">
                  <a:extLst>
                    <a:ext uri="{FF2B5EF4-FFF2-40B4-BE49-F238E27FC236}">
                      <a16:creationId xmlns:a16="http://schemas.microsoft.com/office/drawing/2014/main" id="{3FDE258E-13A6-4BB6-A4A2-6B366FE982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4" name="Freeform 221">
                  <a:extLst>
                    <a:ext uri="{FF2B5EF4-FFF2-40B4-BE49-F238E27FC236}">
                      <a16:creationId xmlns:a16="http://schemas.microsoft.com/office/drawing/2014/main" id="{EBDA76B6-1EDB-4248-B48C-E1F41B575C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5" name="Freeform 222">
                  <a:extLst>
                    <a:ext uri="{FF2B5EF4-FFF2-40B4-BE49-F238E27FC236}">
                      <a16:creationId xmlns:a16="http://schemas.microsoft.com/office/drawing/2014/main" id="{99842619-0190-4CDC-8813-99F6CDEC08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1" name="Group 223">
                <a:extLst>
                  <a:ext uri="{FF2B5EF4-FFF2-40B4-BE49-F238E27FC236}">
                    <a16:creationId xmlns:a16="http://schemas.microsoft.com/office/drawing/2014/main" id="{210A6814-45A4-4975-85B3-14A5927C7E9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073820" y="3574936"/>
                <a:ext cx="83389" cy="175252"/>
                <a:chOff x="5021753" y="2927868"/>
                <a:chExt cx="83398" cy="175731"/>
              </a:xfrm>
            </p:grpSpPr>
            <p:sp>
              <p:nvSpPr>
                <p:cNvPr id="50" name="Oval 224">
                  <a:extLst>
                    <a:ext uri="{FF2B5EF4-FFF2-40B4-BE49-F238E27FC236}">
                      <a16:creationId xmlns:a16="http://schemas.microsoft.com/office/drawing/2014/main" id="{D7C7826C-C48D-483D-901B-665DF86167E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Freeform 225">
                  <a:extLst>
                    <a:ext uri="{FF2B5EF4-FFF2-40B4-BE49-F238E27FC236}">
                      <a16:creationId xmlns:a16="http://schemas.microsoft.com/office/drawing/2014/main" id="{E9A44CDE-EE05-48AD-BBA3-9BA3661895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2" name="Freeform 226">
                  <a:extLst>
                    <a:ext uri="{FF2B5EF4-FFF2-40B4-BE49-F238E27FC236}">
                      <a16:creationId xmlns:a16="http://schemas.microsoft.com/office/drawing/2014/main" id="{681476C4-294B-4689-9F3D-72A58DB91B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2" name="Group 380">
                <a:extLst>
                  <a:ext uri="{FF2B5EF4-FFF2-40B4-BE49-F238E27FC236}">
                    <a16:creationId xmlns:a16="http://schemas.microsoft.com/office/drawing/2014/main" id="{10C251D8-729C-4AB5-A845-63F91B49810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6174545" y="3771474"/>
                <a:ext cx="83389" cy="175252"/>
                <a:chOff x="5021753" y="2927868"/>
                <a:chExt cx="83398" cy="175731"/>
              </a:xfrm>
            </p:grpSpPr>
            <p:sp>
              <p:nvSpPr>
                <p:cNvPr id="47" name="Oval 381">
                  <a:extLst>
                    <a:ext uri="{FF2B5EF4-FFF2-40B4-BE49-F238E27FC236}">
                      <a16:creationId xmlns:a16="http://schemas.microsoft.com/office/drawing/2014/main" id="{99E3BAEA-A3FE-42B7-966D-A2143ED536F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8" name="Freeform 382">
                  <a:extLst>
                    <a:ext uri="{FF2B5EF4-FFF2-40B4-BE49-F238E27FC236}">
                      <a16:creationId xmlns:a16="http://schemas.microsoft.com/office/drawing/2014/main" id="{2FB7589C-9E4B-4435-94C1-B7BFBD5A7C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9" name="Freeform 383">
                  <a:extLst>
                    <a:ext uri="{FF2B5EF4-FFF2-40B4-BE49-F238E27FC236}">
                      <a16:creationId xmlns:a16="http://schemas.microsoft.com/office/drawing/2014/main" id="{AD60A8AB-5101-4741-83FE-0B076C170B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3" name="Group 384">
                <a:extLst>
                  <a:ext uri="{FF2B5EF4-FFF2-40B4-BE49-F238E27FC236}">
                    <a16:creationId xmlns:a16="http://schemas.microsoft.com/office/drawing/2014/main" id="{B62AE512-777B-44F2-9791-410EB7E9F79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1349086" flipH="1">
                <a:off x="6085199" y="3771474"/>
                <a:ext cx="83389" cy="175252"/>
                <a:chOff x="5021753" y="2927868"/>
                <a:chExt cx="83398" cy="175731"/>
              </a:xfrm>
            </p:grpSpPr>
            <p:sp>
              <p:nvSpPr>
                <p:cNvPr id="44" name="Oval 385">
                  <a:extLst>
                    <a:ext uri="{FF2B5EF4-FFF2-40B4-BE49-F238E27FC236}">
                      <a16:creationId xmlns:a16="http://schemas.microsoft.com/office/drawing/2014/main" id="{41EBF988-12D8-41F9-8C09-9FC015A46B5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335885">
                  <a:off x="5021753" y="2927868"/>
                  <a:ext cx="83398" cy="51676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Wingdings" panose="05000000000000000000" pitchFamily="2" charset="2"/>
                    <a:buChar char="§"/>
                    <a:defRPr sz="24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2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20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lnSpc>
                      <a:spcPct val="90000"/>
                    </a:lnSpc>
                    <a:spcBef>
                      <a:spcPts val="1000"/>
                    </a:spcBef>
                    <a:spcAft>
                      <a:spcPts val="700"/>
                    </a:spcAft>
                    <a:buClr>
                      <a:srgbClr val="8B3D9A"/>
                    </a:buClr>
                    <a:buFont typeface="Arial" panose="020B0604020202020204" pitchFamily="34" charset="0"/>
                    <a:buChar char="–"/>
                    <a:defRPr sz="1600">
                      <a:solidFill>
                        <a:srgbClr val="FEFDDE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90000"/>
                    </a:lnSpc>
                    <a:spcBef>
                      <a:spcPct val="35000"/>
                    </a:spcBef>
                    <a:spcAft>
                      <a:spcPct val="25000"/>
                    </a:spcAft>
                    <a:buClr>
                      <a:srgbClr val="8B3D9A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5" name="Freeform 386">
                  <a:extLst>
                    <a:ext uri="{FF2B5EF4-FFF2-40B4-BE49-F238E27FC236}">
                      <a16:creationId xmlns:a16="http://schemas.microsoft.com/office/drawing/2014/main" id="{2F833748-692D-429E-852F-6ACE2C251D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2178" y="2954674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6" name="Freeform 387">
                  <a:extLst>
                    <a:ext uri="{FF2B5EF4-FFF2-40B4-BE49-F238E27FC236}">
                      <a16:creationId xmlns:a16="http://schemas.microsoft.com/office/drawing/2014/main" id="{26973496-09A0-4F3A-AD9F-17D13CC87A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460" y="2952192"/>
                  <a:ext cx="31274" cy="148925"/>
                </a:xfrm>
                <a:custGeom>
                  <a:avLst/>
                  <a:gdLst>
                    <a:gd name="T0" fmla="*/ 31274 w 31274"/>
                    <a:gd name="T1" fmla="*/ 0 h 148925"/>
                    <a:gd name="T2" fmla="*/ 1489 w 31274"/>
                    <a:gd name="T3" fmla="*/ 53613 h 148925"/>
                    <a:gd name="T4" fmla="*/ 22339 w 31274"/>
                    <a:gd name="T5" fmla="*/ 101269 h 148925"/>
                    <a:gd name="T6" fmla="*/ 1489 w 31274"/>
                    <a:gd name="T7" fmla="*/ 148925 h 14892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274"/>
                    <a:gd name="T13" fmla="*/ 0 h 148925"/>
                    <a:gd name="T14" fmla="*/ 31274 w 31274"/>
                    <a:gd name="T15" fmla="*/ 148925 h 14892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274" h="148925">
                      <a:moveTo>
                        <a:pt x="31274" y="0"/>
                      </a:moveTo>
                      <a:cubicBezTo>
                        <a:pt x="17126" y="18367"/>
                        <a:pt x="2978" y="36735"/>
                        <a:pt x="1489" y="53613"/>
                      </a:cubicBezTo>
                      <a:cubicBezTo>
                        <a:pt x="0" y="70491"/>
                        <a:pt x="22339" y="85384"/>
                        <a:pt x="22339" y="101269"/>
                      </a:cubicBezTo>
                      <a:cubicBezTo>
                        <a:pt x="22339" y="117154"/>
                        <a:pt x="11914" y="133039"/>
                        <a:pt x="1489" y="148925"/>
                      </a:cubicBezTo>
                    </a:path>
                  </a:pathLst>
                </a:custGeom>
                <a:noFill/>
                <a:ln w="12700" algn="ctr">
                  <a:solidFill>
                    <a:schemeClr val="bg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anchor="ctr"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392" name="Group 391">
            <a:extLst>
              <a:ext uri="{FF2B5EF4-FFF2-40B4-BE49-F238E27FC236}">
                <a16:creationId xmlns:a16="http://schemas.microsoft.com/office/drawing/2014/main" id="{8307BD7E-9C57-4579-A0CA-BDA1A0F2896D}"/>
              </a:ext>
            </a:extLst>
          </p:cNvPr>
          <p:cNvGrpSpPr/>
          <p:nvPr/>
        </p:nvGrpSpPr>
        <p:grpSpPr>
          <a:xfrm>
            <a:off x="8071625" y="1742665"/>
            <a:ext cx="698886" cy="777923"/>
            <a:chOff x="8071625" y="1899977"/>
            <a:chExt cx="698886" cy="777923"/>
          </a:xfrm>
        </p:grpSpPr>
        <p:grpSp>
          <p:nvGrpSpPr>
            <p:cNvPr id="375" name="Group 374">
              <a:extLst>
                <a:ext uri="{FF2B5EF4-FFF2-40B4-BE49-F238E27FC236}">
                  <a16:creationId xmlns:a16="http://schemas.microsoft.com/office/drawing/2014/main" id="{3E7EAF3D-4354-4263-B843-FACDB3CFA4A3}"/>
                </a:ext>
              </a:extLst>
            </p:cNvPr>
            <p:cNvGrpSpPr/>
            <p:nvPr/>
          </p:nvGrpSpPr>
          <p:grpSpPr>
            <a:xfrm flipH="1">
              <a:off x="8468776" y="1899977"/>
              <a:ext cx="301735" cy="569010"/>
              <a:chOff x="4718406" y="2037150"/>
              <a:chExt cx="221106" cy="416961"/>
            </a:xfrm>
          </p:grpSpPr>
          <p:cxnSp>
            <p:nvCxnSpPr>
              <p:cNvPr id="389" name="Straight Connector 388">
                <a:extLst>
                  <a:ext uri="{FF2B5EF4-FFF2-40B4-BE49-F238E27FC236}">
                    <a16:creationId xmlns:a16="http://schemas.microsoft.com/office/drawing/2014/main" id="{17F8A465-144E-4E43-9706-E20D305CC2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935599" y="2260023"/>
                <a:ext cx="0" cy="194088"/>
              </a:xfrm>
              <a:prstGeom prst="line">
                <a:avLst/>
              </a:prstGeom>
              <a:noFill/>
              <a:ln w="88900" cap="flat" cmpd="sng" algn="ctr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0" name="Straight Connector 389">
                <a:extLst>
                  <a:ext uri="{FF2B5EF4-FFF2-40B4-BE49-F238E27FC236}">
                    <a16:creationId xmlns:a16="http://schemas.microsoft.com/office/drawing/2014/main" id="{C0AFC22F-18B9-4FEC-AD66-933B70F591F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718406" y="2037150"/>
                <a:ext cx="205515" cy="191427"/>
              </a:xfrm>
              <a:prstGeom prst="line">
                <a:avLst/>
              </a:prstGeom>
              <a:noFill/>
              <a:ln w="88900" cap="flat" cmpd="sng" algn="ctr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91" name="Straight Connector 390">
                <a:extLst>
                  <a:ext uri="{FF2B5EF4-FFF2-40B4-BE49-F238E27FC236}">
                    <a16:creationId xmlns:a16="http://schemas.microsoft.com/office/drawing/2014/main" id="{9575A415-CD3F-4CB8-A0FD-C74EB6FE845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912616" y="2208400"/>
                <a:ext cx="26896" cy="69044"/>
              </a:xfrm>
              <a:prstGeom prst="line">
                <a:avLst/>
              </a:prstGeom>
              <a:noFill/>
              <a:ln w="88900" cap="flat" cmpd="sng" algn="ctr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56F4ACB8-85D6-4F45-A4E2-942FB2BA3BB7}"/>
                </a:ext>
              </a:extLst>
            </p:cNvPr>
            <p:cNvSpPr/>
            <p:nvPr/>
          </p:nvSpPr>
          <p:spPr bwMode="auto">
            <a:xfrm>
              <a:off x="8159858" y="1901890"/>
              <a:ext cx="525207" cy="209502"/>
            </a:xfrm>
            <a:custGeom>
              <a:avLst/>
              <a:gdLst>
                <a:gd name="connsiteX0" fmla="*/ 0 w 644769"/>
                <a:gd name="connsiteY0" fmla="*/ 0 h 259861"/>
                <a:gd name="connsiteX1" fmla="*/ 644769 w 644769"/>
                <a:gd name="connsiteY1" fmla="*/ 0 h 259861"/>
                <a:gd name="connsiteX2" fmla="*/ 384908 w 644769"/>
                <a:gd name="connsiteY2" fmla="*/ 259861 h 259861"/>
                <a:gd name="connsiteX3" fmla="*/ 255954 w 644769"/>
                <a:gd name="connsiteY3" fmla="*/ 259861 h 259861"/>
                <a:gd name="connsiteX4" fmla="*/ 0 w 644769"/>
                <a:gd name="connsiteY4" fmla="*/ 0 h 259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4769" h="259861">
                  <a:moveTo>
                    <a:pt x="0" y="0"/>
                  </a:moveTo>
                  <a:lnTo>
                    <a:pt x="644769" y="0"/>
                  </a:lnTo>
                  <a:lnTo>
                    <a:pt x="384908" y="259861"/>
                  </a:lnTo>
                  <a:lnTo>
                    <a:pt x="255954" y="2598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/>
                <a:sym typeface="Arial"/>
              </a:endParaRPr>
            </a:p>
          </p:txBody>
        </p:sp>
        <p:grpSp>
          <p:nvGrpSpPr>
            <p:cNvPr id="384" name="Group 383">
              <a:extLst>
                <a:ext uri="{FF2B5EF4-FFF2-40B4-BE49-F238E27FC236}">
                  <a16:creationId xmlns:a16="http://schemas.microsoft.com/office/drawing/2014/main" id="{1E82C8CC-8AF6-4155-94FA-DD7AA21704D2}"/>
                </a:ext>
              </a:extLst>
            </p:cNvPr>
            <p:cNvGrpSpPr/>
            <p:nvPr/>
          </p:nvGrpSpPr>
          <p:grpSpPr>
            <a:xfrm>
              <a:off x="8071625" y="1901891"/>
              <a:ext cx="289046" cy="566018"/>
              <a:chOff x="4727704" y="2039343"/>
              <a:chExt cx="211808" cy="414768"/>
            </a:xfrm>
          </p:grpSpPr>
          <p:cxnSp>
            <p:nvCxnSpPr>
              <p:cNvPr id="386" name="Straight Connector 385">
                <a:extLst>
                  <a:ext uri="{FF2B5EF4-FFF2-40B4-BE49-F238E27FC236}">
                    <a16:creationId xmlns:a16="http://schemas.microsoft.com/office/drawing/2014/main" id="{6F6C6692-BA81-4A72-81FB-02481F47672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935604" y="2260023"/>
                <a:ext cx="0" cy="194088"/>
              </a:xfrm>
              <a:prstGeom prst="line">
                <a:avLst/>
              </a:prstGeom>
              <a:noFill/>
              <a:ln w="88900" cap="flat" cmpd="sng" algn="ctr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7" name="Straight Connector 386">
                <a:extLst>
                  <a:ext uri="{FF2B5EF4-FFF2-40B4-BE49-F238E27FC236}">
                    <a16:creationId xmlns:a16="http://schemas.microsoft.com/office/drawing/2014/main" id="{5D1B0F53-51A4-4B54-BFFD-D3BBBCA1A31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727704" y="2039343"/>
                <a:ext cx="190212" cy="189234"/>
              </a:xfrm>
              <a:prstGeom prst="line">
                <a:avLst/>
              </a:prstGeom>
              <a:noFill/>
              <a:ln w="88900" cap="flat" cmpd="sng" algn="ctr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8" name="Straight Connector 387">
                <a:extLst>
                  <a:ext uri="{FF2B5EF4-FFF2-40B4-BE49-F238E27FC236}">
                    <a16:creationId xmlns:a16="http://schemas.microsoft.com/office/drawing/2014/main" id="{20A6B997-F9F0-4EE0-B6D1-37E33099C31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4912616" y="2208400"/>
                <a:ext cx="26896" cy="69044"/>
              </a:xfrm>
              <a:prstGeom prst="line">
                <a:avLst/>
              </a:prstGeom>
              <a:noFill/>
              <a:ln w="88900" cap="flat" cmpd="sng" algn="ctr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4C245F0C-225D-4B96-8061-D425782ECAFF}"/>
                </a:ext>
              </a:extLst>
            </p:cNvPr>
            <p:cNvGrpSpPr/>
            <p:nvPr/>
          </p:nvGrpSpPr>
          <p:grpSpPr>
            <a:xfrm>
              <a:off x="8355543" y="2469749"/>
              <a:ext cx="120921" cy="208151"/>
              <a:chOff x="8355341" y="2460931"/>
              <a:chExt cx="118775" cy="628029"/>
            </a:xfrm>
          </p:grpSpPr>
          <p:cxnSp>
            <p:nvCxnSpPr>
              <p:cNvPr id="377" name="Straight Connector 376">
                <a:extLst>
                  <a:ext uri="{FF2B5EF4-FFF2-40B4-BE49-F238E27FC236}">
                    <a16:creationId xmlns:a16="http://schemas.microsoft.com/office/drawing/2014/main" id="{C953AE6C-68B2-4C54-B69D-5C9793AC1EB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474116" y="2461595"/>
                <a:ext cx="0" cy="627365"/>
              </a:xfrm>
              <a:prstGeom prst="line">
                <a:avLst/>
              </a:prstGeom>
              <a:noFill/>
              <a:ln w="8890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5" name="Straight Connector 384">
                <a:extLst>
                  <a:ext uri="{FF2B5EF4-FFF2-40B4-BE49-F238E27FC236}">
                    <a16:creationId xmlns:a16="http://schemas.microsoft.com/office/drawing/2014/main" id="{60F8228D-E3DB-413E-9002-92AAE5CEE6D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355341" y="2460931"/>
                <a:ext cx="0" cy="627365"/>
              </a:xfrm>
              <a:prstGeom prst="line">
                <a:avLst/>
              </a:prstGeom>
              <a:noFill/>
              <a:ln w="88900" cap="flat" cmpd="sng" algn="ctr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393" name="Arc 392">
            <a:extLst>
              <a:ext uri="{FF2B5EF4-FFF2-40B4-BE49-F238E27FC236}">
                <a16:creationId xmlns:a16="http://schemas.microsoft.com/office/drawing/2014/main" id="{9752E5E5-76C6-46AB-8F3D-48352AA6D9BA}"/>
              </a:ext>
            </a:extLst>
          </p:cNvPr>
          <p:cNvSpPr/>
          <p:nvPr/>
        </p:nvSpPr>
        <p:spPr bwMode="auto">
          <a:xfrm rot="5186328">
            <a:off x="7697862" y="2231311"/>
            <a:ext cx="643418" cy="700546"/>
          </a:xfrm>
          <a:prstGeom prst="arc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4" name="Arc 393">
            <a:extLst>
              <a:ext uri="{FF2B5EF4-FFF2-40B4-BE49-F238E27FC236}">
                <a16:creationId xmlns:a16="http://schemas.microsoft.com/office/drawing/2014/main" id="{A67DE587-4249-45D2-AE25-01413DD744AA}"/>
              </a:ext>
            </a:extLst>
          </p:cNvPr>
          <p:cNvSpPr/>
          <p:nvPr/>
        </p:nvSpPr>
        <p:spPr bwMode="auto">
          <a:xfrm rot="16413672" flipH="1">
            <a:off x="8502672" y="2231311"/>
            <a:ext cx="643418" cy="700546"/>
          </a:xfrm>
          <a:prstGeom prst="arc">
            <a:avLst/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5" name="Text Box 56">
            <a:extLst>
              <a:ext uri="{FF2B5EF4-FFF2-40B4-BE49-F238E27FC236}">
                <a16:creationId xmlns:a16="http://schemas.microsoft.com/office/drawing/2014/main" id="{1992EE2C-8F9B-49B1-B1A8-EF153FFE49F6}"/>
              </a:ext>
            </a:extLst>
          </p:cNvPr>
          <p:cNvSpPr txBox="1">
            <a:spLocks noChangeArrowheads="1"/>
          </p:cNvSpPr>
          <p:nvPr/>
        </p:nvSpPr>
        <p:spPr bwMode="invGray">
          <a:xfrm>
            <a:off x="7421205" y="1718354"/>
            <a:ext cx="6708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l" defTabSz="6095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EGFR</a:t>
            </a:r>
          </a:p>
        </p:txBody>
      </p:sp>
      <p:sp>
        <p:nvSpPr>
          <p:cNvPr id="399" name="Freeform: Shape 398">
            <a:extLst>
              <a:ext uri="{FF2B5EF4-FFF2-40B4-BE49-F238E27FC236}">
                <a16:creationId xmlns:a16="http://schemas.microsoft.com/office/drawing/2014/main" id="{8E97CBB8-779A-458B-BEF3-DAB0E6674B01}"/>
              </a:ext>
            </a:extLst>
          </p:cNvPr>
          <p:cNvSpPr/>
          <p:nvPr/>
        </p:nvSpPr>
        <p:spPr bwMode="auto">
          <a:xfrm>
            <a:off x="6892413" y="4837825"/>
            <a:ext cx="4670322" cy="1317169"/>
          </a:xfrm>
          <a:custGeom>
            <a:avLst/>
            <a:gdLst>
              <a:gd name="connsiteX0" fmla="*/ 0 w 4670322"/>
              <a:gd name="connsiteY0" fmla="*/ 501445 h 1170039"/>
              <a:gd name="connsiteX1" fmla="*/ 0 w 4670322"/>
              <a:gd name="connsiteY1" fmla="*/ 1170039 h 1170039"/>
              <a:gd name="connsiteX2" fmla="*/ 4670322 w 4670322"/>
              <a:gd name="connsiteY2" fmla="*/ 1170039 h 1170039"/>
              <a:gd name="connsiteX3" fmla="*/ 4670322 w 4670322"/>
              <a:gd name="connsiteY3" fmla="*/ 334297 h 1170039"/>
              <a:gd name="connsiteX4" fmla="*/ 2359742 w 4670322"/>
              <a:gd name="connsiteY4" fmla="*/ 0 h 1170039"/>
              <a:gd name="connsiteX5" fmla="*/ 0 w 4670322"/>
              <a:gd name="connsiteY5" fmla="*/ 501445 h 1170039"/>
              <a:gd name="connsiteX0" fmla="*/ 0 w 4670322"/>
              <a:gd name="connsiteY0" fmla="*/ 501445 h 1170039"/>
              <a:gd name="connsiteX1" fmla="*/ 0 w 4670322"/>
              <a:gd name="connsiteY1" fmla="*/ 1170039 h 1170039"/>
              <a:gd name="connsiteX2" fmla="*/ 4670322 w 4670322"/>
              <a:gd name="connsiteY2" fmla="*/ 1170039 h 1170039"/>
              <a:gd name="connsiteX3" fmla="*/ 4670322 w 4670322"/>
              <a:gd name="connsiteY3" fmla="*/ 334297 h 1170039"/>
              <a:gd name="connsiteX4" fmla="*/ 2359742 w 4670322"/>
              <a:gd name="connsiteY4" fmla="*/ 0 h 1170039"/>
              <a:gd name="connsiteX5" fmla="*/ 0 w 4670322"/>
              <a:gd name="connsiteY5" fmla="*/ 501445 h 1170039"/>
              <a:gd name="connsiteX0" fmla="*/ 0 w 4670322"/>
              <a:gd name="connsiteY0" fmla="*/ 501445 h 1170039"/>
              <a:gd name="connsiteX1" fmla="*/ 0 w 4670322"/>
              <a:gd name="connsiteY1" fmla="*/ 1170039 h 1170039"/>
              <a:gd name="connsiteX2" fmla="*/ 4670322 w 4670322"/>
              <a:gd name="connsiteY2" fmla="*/ 1170039 h 1170039"/>
              <a:gd name="connsiteX3" fmla="*/ 4670322 w 4670322"/>
              <a:gd name="connsiteY3" fmla="*/ 334297 h 1170039"/>
              <a:gd name="connsiteX4" fmla="*/ 2359742 w 4670322"/>
              <a:gd name="connsiteY4" fmla="*/ 0 h 1170039"/>
              <a:gd name="connsiteX5" fmla="*/ 0 w 4670322"/>
              <a:gd name="connsiteY5" fmla="*/ 501445 h 1170039"/>
              <a:gd name="connsiteX0" fmla="*/ 0 w 4670322"/>
              <a:gd name="connsiteY0" fmla="*/ 501445 h 1170039"/>
              <a:gd name="connsiteX1" fmla="*/ 0 w 4670322"/>
              <a:gd name="connsiteY1" fmla="*/ 1170039 h 1170039"/>
              <a:gd name="connsiteX2" fmla="*/ 4670322 w 4670322"/>
              <a:gd name="connsiteY2" fmla="*/ 1170039 h 1170039"/>
              <a:gd name="connsiteX3" fmla="*/ 4670322 w 4670322"/>
              <a:gd name="connsiteY3" fmla="*/ 334297 h 1170039"/>
              <a:gd name="connsiteX4" fmla="*/ 2359742 w 4670322"/>
              <a:gd name="connsiteY4" fmla="*/ 0 h 1170039"/>
              <a:gd name="connsiteX5" fmla="*/ 0 w 4670322"/>
              <a:gd name="connsiteY5" fmla="*/ 501445 h 1170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70322" h="1170039">
                <a:moveTo>
                  <a:pt x="0" y="501445"/>
                </a:moveTo>
                <a:lnTo>
                  <a:pt x="0" y="1170039"/>
                </a:lnTo>
                <a:lnTo>
                  <a:pt x="4670322" y="1170039"/>
                </a:lnTo>
                <a:lnTo>
                  <a:pt x="4670322" y="334297"/>
                </a:lnTo>
                <a:cubicBezTo>
                  <a:pt x="3900129" y="222865"/>
                  <a:pt x="4585109" y="209754"/>
                  <a:pt x="2359742" y="0"/>
                </a:cubicBezTo>
                <a:cubicBezTo>
                  <a:pt x="-9832" y="206478"/>
                  <a:pt x="786581" y="334297"/>
                  <a:pt x="0" y="501445"/>
                </a:cubicBezTo>
                <a:close/>
              </a:path>
            </a:pathLst>
          </a:custGeom>
          <a:solidFill>
            <a:srgbClr val="D9D9D9">
              <a:alpha val="38824"/>
            </a:srgbClr>
          </a:solidFill>
          <a:ln w="0">
            <a:noFill/>
            <a:miter lim="800000"/>
            <a:headEnd/>
            <a:tailEnd/>
          </a:ln>
        </p:spPr>
        <p:txBody>
          <a:bodyPr rtlCol="0" anchor="b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35000"/>
              </a:spcBef>
              <a:spcAft>
                <a:spcPct val="25000"/>
              </a:spcAft>
              <a:buClr>
                <a:srgbClr val="015873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8" name="Freeform: Shape 397">
            <a:extLst>
              <a:ext uri="{FF2B5EF4-FFF2-40B4-BE49-F238E27FC236}">
                <a16:creationId xmlns:a16="http://schemas.microsoft.com/office/drawing/2014/main" id="{B150CFD8-D5B1-4C81-BA2F-D1AFCCCF3ED5}"/>
              </a:ext>
            </a:extLst>
          </p:cNvPr>
          <p:cNvSpPr/>
          <p:nvPr/>
        </p:nvSpPr>
        <p:spPr bwMode="auto">
          <a:xfrm rot="528896">
            <a:off x="6952754" y="4786233"/>
            <a:ext cx="4546846" cy="958102"/>
          </a:xfrm>
          <a:custGeom>
            <a:avLst/>
            <a:gdLst>
              <a:gd name="connsiteX0" fmla="*/ 2346475 w 2988991"/>
              <a:gd name="connsiteY0" fmla="*/ 65 h 1345455"/>
              <a:gd name="connsiteX1" fmla="*/ 2771642 w 2988991"/>
              <a:gd name="connsiteY1" fmla="*/ 40834 h 1345455"/>
              <a:gd name="connsiteX2" fmla="*/ 2964205 w 2988991"/>
              <a:gd name="connsiteY2" fmla="*/ 83788 h 1345455"/>
              <a:gd name="connsiteX3" fmla="*/ 2988991 w 2988991"/>
              <a:gd name="connsiteY3" fmla="*/ 90614 h 1345455"/>
              <a:gd name="connsiteX4" fmla="*/ 2988991 w 2988991"/>
              <a:gd name="connsiteY4" fmla="*/ 1345455 h 1345455"/>
              <a:gd name="connsiteX5" fmla="*/ 0 w 2988991"/>
              <a:gd name="connsiteY5" fmla="*/ 1345455 h 1345455"/>
              <a:gd name="connsiteX6" fmla="*/ 65207 w 2988991"/>
              <a:gd name="connsiteY6" fmla="*/ 1232976 h 1345455"/>
              <a:gd name="connsiteX7" fmla="*/ 197344 w 2988991"/>
              <a:gd name="connsiteY7" fmla="*/ 1036773 h 1345455"/>
              <a:gd name="connsiteX8" fmla="*/ 546797 w 2988991"/>
              <a:gd name="connsiteY8" fmla="*/ 634903 h 1345455"/>
              <a:gd name="connsiteX9" fmla="*/ 942842 w 2988991"/>
              <a:gd name="connsiteY9" fmla="*/ 366990 h 1345455"/>
              <a:gd name="connsiteX10" fmla="*/ 1385482 w 2988991"/>
              <a:gd name="connsiteY10" fmla="*/ 157319 h 1345455"/>
              <a:gd name="connsiteX11" fmla="*/ 1833946 w 2988991"/>
              <a:gd name="connsiteY11" fmla="*/ 35010 h 1345455"/>
              <a:gd name="connsiteX12" fmla="*/ 2346475 w 2988991"/>
              <a:gd name="connsiteY12" fmla="*/ 65 h 1345455"/>
              <a:gd name="connsiteX0" fmla="*/ 2346475 w 2988991"/>
              <a:gd name="connsiteY0" fmla="*/ 65 h 1345455"/>
              <a:gd name="connsiteX1" fmla="*/ 2771642 w 2988991"/>
              <a:gd name="connsiteY1" fmla="*/ 40834 h 1345455"/>
              <a:gd name="connsiteX2" fmla="*/ 2964205 w 2988991"/>
              <a:gd name="connsiteY2" fmla="*/ 83788 h 1345455"/>
              <a:gd name="connsiteX3" fmla="*/ 2988991 w 2988991"/>
              <a:gd name="connsiteY3" fmla="*/ 90614 h 1345455"/>
              <a:gd name="connsiteX4" fmla="*/ 2988991 w 2988991"/>
              <a:gd name="connsiteY4" fmla="*/ 1345455 h 1345455"/>
              <a:gd name="connsiteX5" fmla="*/ 0 w 2988991"/>
              <a:gd name="connsiteY5" fmla="*/ 1345455 h 1345455"/>
              <a:gd name="connsiteX6" fmla="*/ 65207 w 2988991"/>
              <a:gd name="connsiteY6" fmla="*/ 1232976 h 1345455"/>
              <a:gd name="connsiteX7" fmla="*/ 197344 w 2988991"/>
              <a:gd name="connsiteY7" fmla="*/ 1036773 h 1345455"/>
              <a:gd name="connsiteX8" fmla="*/ 546797 w 2988991"/>
              <a:gd name="connsiteY8" fmla="*/ 634903 h 1345455"/>
              <a:gd name="connsiteX9" fmla="*/ 942842 w 2988991"/>
              <a:gd name="connsiteY9" fmla="*/ 366990 h 1345455"/>
              <a:gd name="connsiteX10" fmla="*/ 1385482 w 2988991"/>
              <a:gd name="connsiteY10" fmla="*/ 157319 h 1345455"/>
              <a:gd name="connsiteX11" fmla="*/ 1833946 w 2988991"/>
              <a:gd name="connsiteY11" fmla="*/ 35010 h 1345455"/>
              <a:gd name="connsiteX12" fmla="*/ 2346475 w 2988991"/>
              <a:gd name="connsiteY12" fmla="*/ 65 h 1345455"/>
              <a:gd name="connsiteX0" fmla="*/ 2346475 w 2988991"/>
              <a:gd name="connsiteY0" fmla="*/ 65 h 1345455"/>
              <a:gd name="connsiteX1" fmla="*/ 2771642 w 2988991"/>
              <a:gd name="connsiteY1" fmla="*/ 40834 h 1345455"/>
              <a:gd name="connsiteX2" fmla="*/ 2964205 w 2988991"/>
              <a:gd name="connsiteY2" fmla="*/ 83788 h 1345455"/>
              <a:gd name="connsiteX3" fmla="*/ 2988991 w 2988991"/>
              <a:gd name="connsiteY3" fmla="*/ 90614 h 1345455"/>
              <a:gd name="connsiteX4" fmla="*/ 2988991 w 2988991"/>
              <a:gd name="connsiteY4" fmla="*/ 1345455 h 1345455"/>
              <a:gd name="connsiteX5" fmla="*/ 0 w 2988991"/>
              <a:gd name="connsiteY5" fmla="*/ 1345455 h 1345455"/>
              <a:gd name="connsiteX6" fmla="*/ 65207 w 2988991"/>
              <a:gd name="connsiteY6" fmla="*/ 1232976 h 1345455"/>
              <a:gd name="connsiteX7" fmla="*/ 197344 w 2988991"/>
              <a:gd name="connsiteY7" fmla="*/ 1036773 h 1345455"/>
              <a:gd name="connsiteX8" fmla="*/ 942842 w 2988991"/>
              <a:gd name="connsiteY8" fmla="*/ 366990 h 1345455"/>
              <a:gd name="connsiteX9" fmla="*/ 1385482 w 2988991"/>
              <a:gd name="connsiteY9" fmla="*/ 157319 h 1345455"/>
              <a:gd name="connsiteX10" fmla="*/ 1833946 w 2988991"/>
              <a:gd name="connsiteY10" fmla="*/ 35010 h 1345455"/>
              <a:gd name="connsiteX11" fmla="*/ 2346475 w 2988991"/>
              <a:gd name="connsiteY11" fmla="*/ 65 h 1345455"/>
              <a:gd name="connsiteX0" fmla="*/ 2346475 w 2988991"/>
              <a:gd name="connsiteY0" fmla="*/ 65 h 1345455"/>
              <a:gd name="connsiteX1" fmla="*/ 2771642 w 2988991"/>
              <a:gd name="connsiteY1" fmla="*/ 40834 h 1345455"/>
              <a:gd name="connsiteX2" fmla="*/ 2964205 w 2988991"/>
              <a:gd name="connsiteY2" fmla="*/ 83788 h 1345455"/>
              <a:gd name="connsiteX3" fmla="*/ 2988991 w 2988991"/>
              <a:gd name="connsiteY3" fmla="*/ 90614 h 1345455"/>
              <a:gd name="connsiteX4" fmla="*/ 2988991 w 2988991"/>
              <a:gd name="connsiteY4" fmla="*/ 1345455 h 1345455"/>
              <a:gd name="connsiteX5" fmla="*/ 0 w 2988991"/>
              <a:gd name="connsiteY5" fmla="*/ 1345455 h 1345455"/>
              <a:gd name="connsiteX6" fmla="*/ 197344 w 2988991"/>
              <a:gd name="connsiteY6" fmla="*/ 1036773 h 1345455"/>
              <a:gd name="connsiteX7" fmla="*/ 942842 w 2988991"/>
              <a:gd name="connsiteY7" fmla="*/ 366990 h 1345455"/>
              <a:gd name="connsiteX8" fmla="*/ 1385482 w 2988991"/>
              <a:gd name="connsiteY8" fmla="*/ 157319 h 1345455"/>
              <a:gd name="connsiteX9" fmla="*/ 1833946 w 2988991"/>
              <a:gd name="connsiteY9" fmla="*/ 35010 h 1345455"/>
              <a:gd name="connsiteX10" fmla="*/ 2346475 w 2988991"/>
              <a:gd name="connsiteY10" fmla="*/ 65 h 1345455"/>
              <a:gd name="connsiteX0" fmla="*/ 2346475 w 2988991"/>
              <a:gd name="connsiteY0" fmla="*/ 65 h 1345455"/>
              <a:gd name="connsiteX1" fmla="*/ 2771642 w 2988991"/>
              <a:gd name="connsiteY1" fmla="*/ 40834 h 1345455"/>
              <a:gd name="connsiteX2" fmla="*/ 2964205 w 2988991"/>
              <a:gd name="connsiteY2" fmla="*/ 83788 h 1345455"/>
              <a:gd name="connsiteX3" fmla="*/ 2988991 w 2988991"/>
              <a:gd name="connsiteY3" fmla="*/ 90614 h 1345455"/>
              <a:gd name="connsiteX4" fmla="*/ 2988991 w 2988991"/>
              <a:gd name="connsiteY4" fmla="*/ 1345455 h 1345455"/>
              <a:gd name="connsiteX5" fmla="*/ 0 w 2988991"/>
              <a:gd name="connsiteY5" fmla="*/ 1345455 h 1345455"/>
              <a:gd name="connsiteX6" fmla="*/ 197344 w 2988991"/>
              <a:gd name="connsiteY6" fmla="*/ 1036773 h 1345455"/>
              <a:gd name="connsiteX7" fmla="*/ 942842 w 2988991"/>
              <a:gd name="connsiteY7" fmla="*/ 366990 h 1345455"/>
              <a:gd name="connsiteX8" fmla="*/ 1385482 w 2988991"/>
              <a:gd name="connsiteY8" fmla="*/ 157319 h 1345455"/>
              <a:gd name="connsiteX9" fmla="*/ 1833946 w 2988991"/>
              <a:gd name="connsiteY9" fmla="*/ 35010 h 1345455"/>
              <a:gd name="connsiteX10" fmla="*/ 2346475 w 2988991"/>
              <a:gd name="connsiteY10" fmla="*/ 65 h 1345455"/>
              <a:gd name="connsiteX0" fmla="*/ 2346475 w 2988991"/>
              <a:gd name="connsiteY0" fmla="*/ 65 h 1345455"/>
              <a:gd name="connsiteX1" fmla="*/ 2771642 w 2988991"/>
              <a:gd name="connsiteY1" fmla="*/ 40834 h 1345455"/>
              <a:gd name="connsiteX2" fmla="*/ 2964205 w 2988991"/>
              <a:gd name="connsiteY2" fmla="*/ 83788 h 1345455"/>
              <a:gd name="connsiteX3" fmla="*/ 2988991 w 2988991"/>
              <a:gd name="connsiteY3" fmla="*/ 90614 h 1345455"/>
              <a:gd name="connsiteX4" fmla="*/ 2988991 w 2988991"/>
              <a:gd name="connsiteY4" fmla="*/ 1345455 h 1345455"/>
              <a:gd name="connsiteX5" fmla="*/ 0 w 2988991"/>
              <a:gd name="connsiteY5" fmla="*/ 1345455 h 1345455"/>
              <a:gd name="connsiteX6" fmla="*/ 197344 w 2988991"/>
              <a:gd name="connsiteY6" fmla="*/ 1036773 h 1345455"/>
              <a:gd name="connsiteX7" fmla="*/ 942842 w 2988991"/>
              <a:gd name="connsiteY7" fmla="*/ 366990 h 1345455"/>
              <a:gd name="connsiteX8" fmla="*/ 1385482 w 2988991"/>
              <a:gd name="connsiteY8" fmla="*/ 157319 h 1345455"/>
              <a:gd name="connsiteX9" fmla="*/ 1833946 w 2988991"/>
              <a:gd name="connsiteY9" fmla="*/ 35010 h 1345455"/>
              <a:gd name="connsiteX10" fmla="*/ 2346475 w 2988991"/>
              <a:gd name="connsiteY10" fmla="*/ 65 h 1345455"/>
              <a:gd name="connsiteX0" fmla="*/ 2346475 w 2988991"/>
              <a:gd name="connsiteY0" fmla="*/ 65 h 1345455"/>
              <a:gd name="connsiteX1" fmla="*/ 2771642 w 2988991"/>
              <a:gd name="connsiteY1" fmla="*/ 40834 h 1345455"/>
              <a:gd name="connsiteX2" fmla="*/ 2964205 w 2988991"/>
              <a:gd name="connsiteY2" fmla="*/ 83788 h 1345455"/>
              <a:gd name="connsiteX3" fmla="*/ 2988991 w 2988991"/>
              <a:gd name="connsiteY3" fmla="*/ 90614 h 1345455"/>
              <a:gd name="connsiteX4" fmla="*/ 2988991 w 2988991"/>
              <a:gd name="connsiteY4" fmla="*/ 1345455 h 1345455"/>
              <a:gd name="connsiteX5" fmla="*/ 0 w 2988991"/>
              <a:gd name="connsiteY5" fmla="*/ 1345455 h 1345455"/>
              <a:gd name="connsiteX6" fmla="*/ 197344 w 2988991"/>
              <a:gd name="connsiteY6" fmla="*/ 1036773 h 1345455"/>
              <a:gd name="connsiteX7" fmla="*/ 942842 w 2988991"/>
              <a:gd name="connsiteY7" fmla="*/ 366990 h 1345455"/>
              <a:gd name="connsiteX8" fmla="*/ 1385482 w 2988991"/>
              <a:gd name="connsiteY8" fmla="*/ 157319 h 1345455"/>
              <a:gd name="connsiteX9" fmla="*/ 1833946 w 2988991"/>
              <a:gd name="connsiteY9" fmla="*/ 35010 h 1345455"/>
              <a:gd name="connsiteX10" fmla="*/ 2346475 w 2988991"/>
              <a:gd name="connsiteY10" fmla="*/ 65 h 1345455"/>
              <a:gd name="connsiteX0" fmla="*/ 2988991 w 3080431"/>
              <a:gd name="connsiteY0" fmla="*/ 1345455 h 1436895"/>
              <a:gd name="connsiteX1" fmla="*/ 0 w 3080431"/>
              <a:gd name="connsiteY1" fmla="*/ 1345455 h 1436895"/>
              <a:gd name="connsiteX2" fmla="*/ 197344 w 3080431"/>
              <a:gd name="connsiteY2" fmla="*/ 1036773 h 1436895"/>
              <a:gd name="connsiteX3" fmla="*/ 942842 w 3080431"/>
              <a:gd name="connsiteY3" fmla="*/ 366990 h 1436895"/>
              <a:gd name="connsiteX4" fmla="*/ 1385482 w 3080431"/>
              <a:gd name="connsiteY4" fmla="*/ 157319 h 1436895"/>
              <a:gd name="connsiteX5" fmla="*/ 1833946 w 3080431"/>
              <a:gd name="connsiteY5" fmla="*/ 35010 h 1436895"/>
              <a:gd name="connsiteX6" fmla="*/ 2346475 w 3080431"/>
              <a:gd name="connsiteY6" fmla="*/ 65 h 1436895"/>
              <a:gd name="connsiteX7" fmla="*/ 2771642 w 3080431"/>
              <a:gd name="connsiteY7" fmla="*/ 40834 h 1436895"/>
              <a:gd name="connsiteX8" fmla="*/ 2964205 w 3080431"/>
              <a:gd name="connsiteY8" fmla="*/ 83788 h 1436895"/>
              <a:gd name="connsiteX9" fmla="*/ 2988991 w 3080431"/>
              <a:gd name="connsiteY9" fmla="*/ 90614 h 1436895"/>
              <a:gd name="connsiteX10" fmla="*/ 3080431 w 3080431"/>
              <a:gd name="connsiteY10" fmla="*/ 1436895 h 1436895"/>
              <a:gd name="connsiteX0" fmla="*/ 2988991 w 2988991"/>
              <a:gd name="connsiteY0" fmla="*/ 1345455 h 1345455"/>
              <a:gd name="connsiteX1" fmla="*/ 0 w 2988991"/>
              <a:gd name="connsiteY1" fmla="*/ 1345455 h 1345455"/>
              <a:gd name="connsiteX2" fmla="*/ 197344 w 2988991"/>
              <a:gd name="connsiteY2" fmla="*/ 1036773 h 1345455"/>
              <a:gd name="connsiteX3" fmla="*/ 942842 w 2988991"/>
              <a:gd name="connsiteY3" fmla="*/ 366990 h 1345455"/>
              <a:gd name="connsiteX4" fmla="*/ 1385482 w 2988991"/>
              <a:gd name="connsiteY4" fmla="*/ 157319 h 1345455"/>
              <a:gd name="connsiteX5" fmla="*/ 1833946 w 2988991"/>
              <a:gd name="connsiteY5" fmla="*/ 35010 h 1345455"/>
              <a:gd name="connsiteX6" fmla="*/ 2346475 w 2988991"/>
              <a:gd name="connsiteY6" fmla="*/ 65 h 1345455"/>
              <a:gd name="connsiteX7" fmla="*/ 2771642 w 2988991"/>
              <a:gd name="connsiteY7" fmla="*/ 40834 h 1345455"/>
              <a:gd name="connsiteX8" fmla="*/ 2964205 w 2988991"/>
              <a:gd name="connsiteY8" fmla="*/ 83788 h 1345455"/>
              <a:gd name="connsiteX9" fmla="*/ 2988991 w 2988991"/>
              <a:gd name="connsiteY9" fmla="*/ 90614 h 1345455"/>
              <a:gd name="connsiteX0" fmla="*/ 0 w 2988991"/>
              <a:gd name="connsiteY0" fmla="*/ 1345455 h 1345455"/>
              <a:gd name="connsiteX1" fmla="*/ 197344 w 2988991"/>
              <a:gd name="connsiteY1" fmla="*/ 1036773 h 1345455"/>
              <a:gd name="connsiteX2" fmla="*/ 942842 w 2988991"/>
              <a:gd name="connsiteY2" fmla="*/ 366990 h 1345455"/>
              <a:gd name="connsiteX3" fmla="*/ 1385482 w 2988991"/>
              <a:gd name="connsiteY3" fmla="*/ 157319 h 1345455"/>
              <a:gd name="connsiteX4" fmla="*/ 1833946 w 2988991"/>
              <a:gd name="connsiteY4" fmla="*/ 35010 h 1345455"/>
              <a:gd name="connsiteX5" fmla="*/ 2346475 w 2988991"/>
              <a:gd name="connsiteY5" fmla="*/ 65 h 1345455"/>
              <a:gd name="connsiteX6" fmla="*/ 2771642 w 2988991"/>
              <a:gd name="connsiteY6" fmla="*/ 40834 h 1345455"/>
              <a:gd name="connsiteX7" fmla="*/ 2964205 w 2988991"/>
              <a:gd name="connsiteY7" fmla="*/ 83788 h 1345455"/>
              <a:gd name="connsiteX8" fmla="*/ 2988991 w 2988991"/>
              <a:gd name="connsiteY8" fmla="*/ 90614 h 1345455"/>
              <a:gd name="connsiteX0" fmla="*/ 0 w 2964205"/>
              <a:gd name="connsiteY0" fmla="*/ 1345455 h 1345455"/>
              <a:gd name="connsiteX1" fmla="*/ 197344 w 2964205"/>
              <a:gd name="connsiteY1" fmla="*/ 1036773 h 1345455"/>
              <a:gd name="connsiteX2" fmla="*/ 942842 w 2964205"/>
              <a:gd name="connsiteY2" fmla="*/ 366990 h 1345455"/>
              <a:gd name="connsiteX3" fmla="*/ 1385482 w 2964205"/>
              <a:gd name="connsiteY3" fmla="*/ 157319 h 1345455"/>
              <a:gd name="connsiteX4" fmla="*/ 1833946 w 2964205"/>
              <a:gd name="connsiteY4" fmla="*/ 35010 h 1345455"/>
              <a:gd name="connsiteX5" fmla="*/ 2346475 w 2964205"/>
              <a:gd name="connsiteY5" fmla="*/ 65 h 1345455"/>
              <a:gd name="connsiteX6" fmla="*/ 2771642 w 2964205"/>
              <a:gd name="connsiteY6" fmla="*/ 40834 h 1345455"/>
              <a:gd name="connsiteX7" fmla="*/ 2964205 w 2964205"/>
              <a:gd name="connsiteY7" fmla="*/ 83788 h 13454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64205" h="1345455">
                <a:moveTo>
                  <a:pt x="0" y="1345455"/>
                </a:moveTo>
                <a:cubicBezTo>
                  <a:pt x="65781" y="1242561"/>
                  <a:pt x="85315" y="1176625"/>
                  <a:pt x="197344" y="1036773"/>
                </a:cubicBezTo>
                <a:cubicBezTo>
                  <a:pt x="509582" y="646990"/>
                  <a:pt x="744819" y="513566"/>
                  <a:pt x="942842" y="366990"/>
                </a:cubicBezTo>
                <a:cubicBezTo>
                  <a:pt x="1082623" y="287393"/>
                  <a:pt x="1236965" y="212649"/>
                  <a:pt x="1385482" y="157319"/>
                </a:cubicBezTo>
                <a:cubicBezTo>
                  <a:pt x="1533999" y="101989"/>
                  <a:pt x="1673781" y="61219"/>
                  <a:pt x="1833946" y="35010"/>
                </a:cubicBezTo>
                <a:cubicBezTo>
                  <a:pt x="1994112" y="8801"/>
                  <a:pt x="2190192" y="-906"/>
                  <a:pt x="2346475" y="65"/>
                </a:cubicBezTo>
                <a:cubicBezTo>
                  <a:pt x="2502758" y="1036"/>
                  <a:pt x="2645451" y="20449"/>
                  <a:pt x="2771642" y="40834"/>
                </a:cubicBezTo>
                <a:cubicBezTo>
                  <a:pt x="2834737" y="51027"/>
                  <a:pt x="2903900" y="67771"/>
                  <a:pt x="2964205" y="83788"/>
                </a:cubicBezTo>
              </a:path>
            </a:pathLst>
          </a:custGeom>
          <a:noFill/>
          <a:ln w="57150">
            <a:solidFill>
              <a:schemeClr val="tx1">
                <a:lumMod val="50000"/>
              </a:schemeClr>
            </a:solidFill>
            <a:prstDash val="sysDash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49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CDCDC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/>
              <a:sym typeface="Arial"/>
            </a:endParaRPr>
          </a:p>
        </p:txBody>
      </p:sp>
      <p:grpSp>
        <p:nvGrpSpPr>
          <p:cNvPr id="402" name="Group 401">
            <a:extLst>
              <a:ext uri="{FF2B5EF4-FFF2-40B4-BE49-F238E27FC236}">
                <a16:creationId xmlns:a16="http://schemas.microsoft.com/office/drawing/2014/main" id="{259012A1-871B-48C4-804F-F90721A5838D}"/>
              </a:ext>
            </a:extLst>
          </p:cNvPr>
          <p:cNvGrpSpPr/>
          <p:nvPr/>
        </p:nvGrpSpPr>
        <p:grpSpPr>
          <a:xfrm>
            <a:off x="7047385" y="2500643"/>
            <a:ext cx="1164089" cy="438163"/>
            <a:chOff x="7334192" y="3906315"/>
            <a:chExt cx="1164089" cy="438163"/>
          </a:xfrm>
        </p:grpSpPr>
        <p:sp>
          <p:nvSpPr>
            <p:cNvPr id="400" name="Oval 399">
              <a:extLst>
                <a:ext uri="{FF2B5EF4-FFF2-40B4-BE49-F238E27FC236}">
                  <a16:creationId xmlns:a16="http://schemas.microsoft.com/office/drawing/2014/main" id="{A36B0DEE-3DD1-4971-B28F-92303A648580}"/>
                </a:ext>
              </a:extLst>
            </p:cNvPr>
            <p:cNvSpPr/>
            <p:nvPr/>
          </p:nvSpPr>
          <p:spPr bwMode="auto">
            <a:xfrm>
              <a:off x="7495921" y="3906315"/>
              <a:ext cx="840631" cy="43816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01" name="TextBox 400">
              <a:extLst>
                <a:ext uri="{FF2B5EF4-FFF2-40B4-BE49-F238E27FC236}">
                  <a16:creationId xmlns:a16="http://schemas.microsoft.com/office/drawing/2014/main" id="{C1289FAA-7A81-4E7F-9111-5928CA2FEA57}"/>
                </a:ext>
              </a:extLst>
            </p:cNvPr>
            <p:cNvSpPr txBox="1"/>
            <p:nvPr/>
          </p:nvSpPr>
          <p:spPr>
            <a:xfrm>
              <a:off x="7334192" y="3956368"/>
              <a:ext cx="1164089" cy="36893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60947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I3K</a:t>
              </a:r>
            </a:p>
          </p:txBody>
        </p:sp>
      </p:grpSp>
      <p:grpSp>
        <p:nvGrpSpPr>
          <p:cNvPr id="403" name="Group 402">
            <a:extLst>
              <a:ext uri="{FF2B5EF4-FFF2-40B4-BE49-F238E27FC236}">
                <a16:creationId xmlns:a16="http://schemas.microsoft.com/office/drawing/2014/main" id="{98CB8996-55F5-4976-BE3C-6560A87B8500}"/>
              </a:ext>
            </a:extLst>
          </p:cNvPr>
          <p:cNvGrpSpPr/>
          <p:nvPr/>
        </p:nvGrpSpPr>
        <p:grpSpPr>
          <a:xfrm>
            <a:off x="7053825" y="2937425"/>
            <a:ext cx="1164089" cy="438163"/>
            <a:chOff x="7334192" y="3906315"/>
            <a:chExt cx="1164089" cy="438163"/>
          </a:xfrm>
        </p:grpSpPr>
        <p:sp>
          <p:nvSpPr>
            <p:cNvPr id="404" name="Oval 403">
              <a:extLst>
                <a:ext uri="{FF2B5EF4-FFF2-40B4-BE49-F238E27FC236}">
                  <a16:creationId xmlns:a16="http://schemas.microsoft.com/office/drawing/2014/main" id="{CE638BE3-EC70-431E-BDCB-7F5EECEA505F}"/>
                </a:ext>
              </a:extLst>
            </p:cNvPr>
            <p:cNvSpPr/>
            <p:nvPr/>
          </p:nvSpPr>
          <p:spPr bwMode="auto">
            <a:xfrm>
              <a:off x="7495921" y="3906315"/>
              <a:ext cx="840631" cy="43816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05" name="TextBox 404">
              <a:extLst>
                <a:ext uri="{FF2B5EF4-FFF2-40B4-BE49-F238E27FC236}">
                  <a16:creationId xmlns:a16="http://schemas.microsoft.com/office/drawing/2014/main" id="{211A19E7-33F2-4A79-A639-1C63F3B1A8F4}"/>
                </a:ext>
              </a:extLst>
            </p:cNvPr>
            <p:cNvSpPr txBox="1"/>
            <p:nvPr/>
          </p:nvSpPr>
          <p:spPr>
            <a:xfrm>
              <a:off x="7334192" y="3956368"/>
              <a:ext cx="1164089" cy="36893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60947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AKT</a:t>
              </a:r>
            </a:p>
          </p:txBody>
        </p:sp>
      </p:grpSp>
      <p:grpSp>
        <p:nvGrpSpPr>
          <p:cNvPr id="406" name="Group 405">
            <a:extLst>
              <a:ext uri="{FF2B5EF4-FFF2-40B4-BE49-F238E27FC236}">
                <a16:creationId xmlns:a16="http://schemas.microsoft.com/office/drawing/2014/main" id="{BB7F9627-208D-47B6-BE32-32BF93F82196}"/>
              </a:ext>
            </a:extLst>
          </p:cNvPr>
          <p:cNvGrpSpPr/>
          <p:nvPr/>
        </p:nvGrpSpPr>
        <p:grpSpPr>
          <a:xfrm>
            <a:off x="8716170" y="2656393"/>
            <a:ext cx="1164089" cy="438163"/>
            <a:chOff x="7334192" y="3906315"/>
            <a:chExt cx="1164089" cy="438163"/>
          </a:xfrm>
        </p:grpSpPr>
        <p:sp>
          <p:nvSpPr>
            <p:cNvPr id="407" name="Oval 406">
              <a:extLst>
                <a:ext uri="{FF2B5EF4-FFF2-40B4-BE49-F238E27FC236}">
                  <a16:creationId xmlns:a16="http://schemas.microsoft.com/office/drawing/2014/main" id="{69FA148A-EFE3-4997-9534-3EE2C9AB1BF4}"/>
                </a:ext>
              </a:extLst>
            </p:cNvPr>
            <p:cNvSpPr/>
            <p:nvPr/>
          </p:nvSpPr>
          <p:spPr bwMode="auto">
            <a:xfrm>
              <a:off x="7495921" y="3906315"/>
              <a:ext cx="840631" cy="43816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08" name="TextBox 407">
              <a:extLst>
                <a:ext uri="{FF2B5EF4-FFF2-40B4-BE49-F238E27FC236}">
                  <a16:creationId xmlns:a16="http://schemas.microsoft.com/office/drawing/2014/main" id="{831E1311-2D0D-4473-8E7C-C3A25225A803}"/>
                </a:ext>
              </a:extLst>
            </p:cNvPr>
            <p:cNvSpPr txBox="1"/>
            <p:nvPr/>
          </p:nvSpPr>
          <p:spPr>
            <a:xfrm>
              <a:off x="7334192" y="3956368"/>
              <a:ext cx="1164089" cy="36893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60947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AS</a:t>
              </a:r>
            </a:p>
          </p:txBody>
        </p:sp>
      </p:grpSp>
      <p:grpSp>
        <p:nvGrpSpPr>
          <p:cNvPr id="409" name="Group 408">
            <a:extLst>
              <a:ext uri="{FF2B5EF4-FFF2-40B4-BE49-F238E27FC236}">
                <a16:creationId xmlns:a16="http://schemas.microsoft.com/office/drawing/2014/main" id="{0A7D0149-F5BF-4522-B32E-32C0AA245B70}"/>
              </a:ext>
            </a:extLst>
          </p:cNvPr>
          <p:cNvGrpSpPr/>
          <p:nvPr/>
        </p:nvGrpSpPr>
        <p:grpSpPr>
          <a:xfrm>
            <a:off x="8730523" y="4350676"/>
            <a:ext cx="1164089" cy="438163"/>
            <a:chOff x="7334192" y="3906315"/>
            <a:chExt cx="1164089" cy="438163"/>
          </a:xfrm>
        </p:grpSpPr>
        <p:sp>
          <p:nvSpPr>
            <p:cNvPr id="410" name="Oval 409">
              <a:extLst>
                <a:ext uri="{FF2B5EF4-FFF2-40B4-BE49-F238E27FC236}">
                  <a16:creationId xmlns:a16="http://schemas.microsoft.com/office/drawing/2014/main" id="{C8EA807B-430E-4DA7-A879-C4F4D092BB66}"/>
                </a:ext>
              </a:extLst>
            </p:cNvPr>
            <p:cNvSpPr/>
            <p:nvPr/>
          </p:nvSpPr>
          <p:spPr bwMode="auto">
            <a:xfrm>
              <a:off x="7495921" y="3906315"/>
              <a:ext cx="840631" cy="43816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11" name="TextBox 410">
              <a:extLst>
                <a:ext uri="{FF2B5EF4-FFF2-40B4-BE49-F238E27FC236}">
                  <a16:creationId xmlns:a16="http://schemas.microsoft.com/office/drawing/2014/main" id="{AB9C6BDD-09D5-4BE3-8D8F-65E0F46C16BA}"/>
                </a:ext>
              </a:extLst>
            </p:cNvPr>
            <p:cNvSpPr txBox="1"/>
            <p:nvPr/>
          </p:nvSpPr>
          <p:spPr>
            <a:xfrm>
              <a:off x="7334192" y="3956368"/>
              <a:ext cx="1164089" cy="36893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60947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APK</a:t>
              </a:r>
            </a:p>
          </p:txBody>
        </p:sp>
      </p:grpSp>
      <p:grpSp>
        <p:nvGrpSpPr>
          <p:cNvPr id="412" name="Group 411">
            <a:extLst>
              <a:ext uri="{FF2B5EF4-FFF2-40B4-BE49-F238E27FC236}">
                <a16:creationId xmlns:a16="http://schemas.microsoft.com/office/drawing/2014/main" id="{CE599715-AF47-4814-8645-F084FD675B5C}"/>
              </a:ext>
            </a:extLst>
          </p:cNvPr>
          <p:cNvGrpSpPr/>
          <p:nvPr/>
        </p:nvGrpSpPr>
        <p:grpSpPr>
          <a:xfrm>
            <a:off x="8716170" y="3748937"/>
            <a:ext cx="1164089" cy="438163"/>
            <a:chOff x="7334192" y="3906315"/>
            <a:chExt cx="1164089" cy="438163"/>
          </a:xfrm>
        </p:grpSpPr>
        <p:sp>
          <p:nvSpPr>
            <p:cNvPr id="413" name="Oval 412">
              <a:extLst>
                <a:ext uri="{FF2B5EF4-FFF2-40B4-BE49-F238E27FC236}">
                  <a16:creationId xmlns:a16="http://schemas.microsoft.com/office/drawing/2014/main" id="{89AB832B-5949-4839-94B9-6582BBD33586}"/>
                </a:ext>
              </a:extLst>
            </p:cNvPr>
            <p:cNvSpPr/>
            <p:nvPr/>
          </p:nvSpPr>
          <p:spPr bwMode="auto">
            <a:xfrm>
              <a:off x="7495921" y="3906315"/>
              <a:ext cx="840631" cy="43816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8A2BC6F9-9978-4BE6-AB06-F5BE991CBB6D}"/>
                </a:ext>
              </a:extLst>
            </p:cNvPr>
            <p:cNvSpPr txBox="1"/>
            <p:nvPr/>
          </p:nvSpPr>
          <p:spPr>
            <a:xfrm>
              <a:off x="7334192" y="3956368"/>
              <a:ext cx="1164089" cy="36893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60947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MEK</a:t>
              </a:r>
            </a:p>
          </p:txBody>
        </p:sp>
      </p:grpSp>
      <p:grpSp>
        <p:nvGrpSpPr>
          <p:cNvPr id="415" name="Group 414">
            <a:extLst>
              <a:ext uri="{FF2B5EF4-FFF2-40B4-BE49-F238E27FC236}">
                <a16:creationId xmlns:a16="http://schemas.microsoft.com/office/drawing/2014/main" id="{A4582435-C141-44BB-8C30-B675DD5C104B}"/>
              </a:ext>
            </a:extLst>
          </p:cNvPr>
          <p:cNvGrpSpPr/>
          <p:nvPr/>
        </p:nvGrpSpPr>
        <p:grpSpPr>
          <a:xfrm>
            <a:off x="8284066" y="3271036"/>
            <a:ext cx="1164089" cy="438163"/>
            <a:chOff x="7334192" y="3906315"/>
            <a:chExt cx="1164089" cy="438163"/>
          </a:xfrm>
        </p:grpSpPr>
        <p:sp>
          <p:nvSpPr>
            <p:cNvPr id="416" name="Oval 415">
              <a:extLst>
                <a:ext uri="{FF2B5EF4-FFF2-40B4-BE49-F238E27FC236}">
                  <a16:creationId xmlns:a16="http://schemas.microsoft.com/office/drawing/2014/main" id="{CF1D6153-013B-4AD0-A4E7-05C38AF06EF6}"/>
                </a:ext>
              </a:extLst>
            </p:cNvPr>
            <p:cNvSpPr/>
            <p:nvPr/>
          </p:nvSpPr>
          <p:spPr bwMode="auto">
            <a:xfrm>
              <a:off x="7495921" y="3906315"/>
              <a:ext cx="840631" cy="43816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17" name="TextBox 416">
              <a:extLst>
                <a:ext uri="{FF2B5EF4-FFF2-40B4-BE49-F238E27FC236}">
                  <a16:creationId xmlns:a16="http://schemas.microsoft.com/office/drawing/2014/main" id="{D48FD398-AE86-4B5C-985C-5CC4B7225837}"/>
                </a:ext>
              </a:extLst>
            </p:cNvPr>
            <p:cNvSpPr txBox="1"/>
            <p:nvPr/>
          </p:nvSpPr>
          <p:spPr>
            <a:xfrm>
              <a:off x="7334192" y="3956368"/>
              <a:ext cx="1164089" cy="36893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60947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RAF</a:t>
              </a:r>
            </a:p>
          </p:txBody>
        </p:sp>
      </p:grpSp>
      <p:grpSp>
        <p:nvGrpSpPr>
          <p:cNvPr id="418" name="Group 417">
            <a:extLst>
              <a:ext uri="{FF2B5EF4-FFF2-40B4-BE49-F238E27FC236}">
                <a16:creationId xmlns:a16="http://schemas.microsoft.com/office/drawing/2014/main" id="{5E25695D-091E-4A70-A564-0F648231F71A}"/>
              </a:ext>
            </a:extLst>
          </p:cNvPr>
          <p:cNvGrpSpPr/>
          <p:nvPr/>
        </p:nvGrpSpPr>
        <p:grpSpPr>
          <a:xfrm>
            <a:off x="9147546" y="3285444"/>
            <a:ext cx="1164089" cy="438163"/>
            <a:chOff x="7334192" y="3906315"/>
            <a:chExt cx="1164089" cy="438163"/>
          </a:xfrm>
        </p:grpSpPr>
        <p:sp>
          <p:nvSpPr>
            <p:cNvPr id="419" name="Oval 418">
              <a:extLst>
                <a:ext uri="{FF2B5EF4-FFF2-40B4-BE49-F238E27FC236}">
                  <a16:creationId xmlns:a16="http://schemas.microsoft.com/office/drawing/2014/main" id="{29AE06A3-D2B7-4168-81E8-A8AE89E1F28E}"/>
                </a:ext>
              </a:extLst>
            </p:cNvPr>
            <p:cNvSpPr/>
            <p:nvPr/>
          </p:nvSpPr>
          <p:spPr bwMode="auto">
            <a:xfrm>
              <a:off x="7495921" y="3906315"/>
              <a:ext cx="840631" cy="43816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DCDC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420" name="TextBox 419">
              <a:extLst>
                <a:ext uri="{FF2B5EF4-FFF2-40B4-BE49-F238E27FC236}">
                  <a16:creationId xmlns:a16="http://schemas.microsoft.com/office/drawing/2014/main" id="{2BBBE54A-08DD-493A-ADFE-71F5E7C9A390}"/>
                </a:ext>
              </a:extLst>
            </p:cNvPr>
            <p:cNvSpPr txBox="1"/>
            <p:nvPr/>
          </p:nvSpPr>
          <p:spPr>
            <a:xfrm>
              <a:off x="7334192" y="3956368"/>
              <a:ext cx="1164089" cy="36893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60947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RAF</a:t>
              </a:r>
            </a:p>
          </p:txBody>
        </p:sp>
      </p:grpSp>
      <p:sp>
        <p:nvSpPr>
          <p:cNvPr id="438" name="TextBox 437">
            <a:extLst>
              <a:ext uri="{FF2B5EF4-FFF2-40B4-BE49-F238E27FC236}">
                <a16:creationId xmlns:a16="http://schemas.microsoft.com/office/drawing/2014/main" id="{FFD9D199-D4E0-4E4C-B85C-E95A6097E158}"/>
              </a:ext>
            </a:extLst>
          </p:cNvPr>
          <p:cNvSpPr txBox="1"/>
          <p:nvPr/>
        </p:nvSpPr>
        <p:spPr bwMode="auto">
          <a:xfrm>
            <a:off x="8239077" y="5024777"/>
            <a:ext cx="213052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DA1BB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Transcription factors</a:t>
            </a:r>
          </a:p>
        </p:txBody>
      </p:sp>
      <p:cxnSp>
        <p:nvCxnSpPr>
          <p:cNvPr id="440" name="Straight Arrow Connector 439">
            <a:extLst>
              <a:ext uri="{FF2B5EF4-FFF2-40B4-BE49-F238E27FC236}">
                <a16:creationId xmlns:a16="http://schemas.microsoft.com/office/drawing/2014/main" id="{FA228410-53CF-4B01-899B-E86CD9E7CE02}"/>
              </a:ext>
            </a:extLst>
          </p:cNvPr>
          <p:cNvCxnSpPr/>
          <p:nvPr/>
        </p:nvCxnSpPr>
        <p:spPr bwMode="auto">
          <a:xfrm flipH="1">
            <a:off x="8148087" y="5381974"/>
            <a:ext cx="583500" cy="160005"/>
          </a:xfrm>
          <a:prstGeom prst="straightConnector1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41" name="Straight Arrow Connector 440">
            <a:extLst>
              <a:ext uri="{FF2B5EF4-FFF2-40B4-BE49-F238E27FC236}">
                <a16:creationId xmlns:a16="http://schemas.microsoft.com/office/drawing/2014/main" id="{FE5BD5BD-992A-4E1F-A697-EF1A9E3BF9CF}"/>
              </a:ext>
            </a:extLst>
          </p:cNvPr>
          <p:cNvCxnSpPr>
            <a:cxnSpLocks/>
          </p:cNvCxnSpPr>
          <p:nvPr/>
        </p:nvCxnSpPr>
        <p:spPr bwMode="auto">
          <a:xfrm>
            <a:off x="9915806" y="5377369"/>
            <a:ext cx="467574" cy="169861"/>
          </a:xfrm>
          <a:prstGeom prst="straightConnector1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43" name="Straight Arrow Connector 442">
            <a:extLst>
              <a:ext uri="{FF2B5EF4-FFF2-40B4-BE49-F238E27FC236}">
                <a16:creationId xmlns:a16="http://schemas.microsoft.com/office/drawing/2014/main" id="{E6399936-D1DD-4D1B-BB15-18E47EB40BFA}"/>
              </a:ext>
            </a:extLst>
          </p:cNvPr>
          <p:cNvCxnSpPr>
            <a:cxnSpLocks/>
          </p:cNvCxnSpPr>
          <p:nvPr/>
        </p:nvCxnSpPr>
        <p:spPr bwMode="auto">
          <a:xfrm>
            <a:off x="9419270" y="5371489"/>
            <a:ext cx="195745" cy="167331"/>
          </a:xfrm>
          <a:prstGeom prst="straightConnector1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45" name="Straight Arrow Connector 444">
            <a:extLst>
              <a:ext uri="{FF2B5EF4-FFF2-40B4-BE49-F238E27FC236}">
                <a16:creationId xmlns:a16="http://schemas.microsoft.com/office/drawing/2014/main" id="{975A33C8-6AF4-400C-A83E-3F6A64CE1AF0}"/>
              </a:ext>
            </a:extLst>
          </p:cNvPr>
          <p:cNvCxnSpPr>
            <a:cxnSpLocks/>
          </p:cNvCxnSpPr>
          <p:nvPr/>
        </p:nvCxnSpPr>
        <p:spPr bwMode="auto">
          <a:xfrm flipH="1">
            <a:off x="8898732" y="5367641"/>
            <a:ext cx="210790" cy="182241"/>
          </a:xfrm>
          <a:prstGeom prst="straightConnector1">
            <a:avLst/>
          </a:prstGeom>
          <a:noFill/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47" name="TextBox 446">
            <a:extLst>
              <a:ext uri="{FF2B5EF4-FFF2-40B4-BE49-F238E27FC236}">
                <a16:creationId xmlns:a16="http://schemas.microsoft.com/office/drawing/2014/main" id="{16679F20-A91A-4ADF-B8D1-99B970D5DEFB}"/>
              </a:ext>
            </a:extLst>
          </p:cNvPr>
          <p:cNvSpPr txBox="1"/>
          <p:nvPr/>
        </p:nvSpPr>
        <p:spPr bwMode="auto">
          <a:xfrm>
            <a:off x="10475566" y="5127077"/>
            <a:ext cx="117121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Nucleus</a:t>
            </a:r>
          </a:p>
        </p:txBody>
      </p:sp>
      <p:sp>
        <p:nvSpPr>
          <p:cNvPr id="448" name="TextBox 447">
            <a:extLst>
              <a:ext uri="{FF2B5EF4-FFF2-40B4-BE49-F238E27FC236}">
                <a16:creationId xmlns:a16="http://schemas.microsoft.com/office/drawing/2014/main" id="{333C1A07-71CE-4C61-B38A-8E99E9A6EA02}"/>
              </a:ext>
            </a:extLst>
          </p:cNvPr>
          <p:cNvSpPr txBox="1"/>
          <p:nvPr/>
        </p:nvSpPr>
        <p:spPr bwMode="auto">
          <a:xfrm>
            <a:off x="7188849" y="5419098"/>
            <a:ext cx="117121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Survival</a:t>
            </a:r>
          </a:p>
        </p:txBody>
      </p:sp>
      <p:sp>
        <p:nvSpPr>
          <p:cNvPr id="449" name="TextBox 448">
            <a:extLst>
              <a:ext uri="{FF2B5EF4-FFF2-40B4-BE49-F238E27FC236}">
                <a16:creationId xmlns:a16="http://schemas.microsoft.com/office/drawing/2014/main" id="{01C0888C-7956-432E-8C38-01EAA8A55627}"/>
              </a:ext>
            </a:extLst>
          </p:cNvPr>
          <p:cNvSpPr txBox="1"/>
          <p:nvPr/>
        </p:nvSpPr>
        <p:spPr bwMode="auto">
          <a:xfrm>
            <a:off x="8246467" y="5482734"/>
            <a:ext cx="117121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igration</a:t>
            </a:r>
          </a:p>
        </p:txBody>
      </p:sp>
      <p:sp>
        <p:nvSpPr>
          <p:cNvPr id="450" name="TextBox 449">
            <a:extLst>
              <a:ext uri="{FF2B5EF4-FFF2-40B4-BE49-F238E27FC236}">
                <a16:creationId xmlns:a16="http://schemas.microsoft.com/office/drawing/2014/main" id="{3CC116D1-864B-4DC0-97E7-A8FC834A52F2}"/>
              </a:ext>
            </a:extLst>
          </p:cNvPr>
          <p:cNvSpPr txBox="1"/>
          <p:nvPr/>
        </p:nvSpPr>
        <p:spPr bwMode="auto">
          <a:xfrm>
            <a:off x="9114679" y="5508468"/>
            <a:ext cx="117121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ell growth</a:t>
            </a:r>
          </a:p>
        </p:txBody>
      </p:sp>
      <p:sp>
        <p:nvSpPr>
          <p:cNvPr id="451" name="TextBox 450">
            <a:extLst>
              <a:ext uri="{FF2B5EF4-FFF2-40B4-BE49-F238E27FC236}">
                <a16:creationId xmlns:a16="http://schemas.microsoft.com/office/drawing/2014/main" id="{51472285-ED36-462B-8E72-C8F5D06D8FF3}"/>
              </a:ext>
            </a:extLst>
          </p:cNvPr>
          <p:cNvSpPr txBox="1"/>
          <p:nvPr/>
        </p:nvSpPr>
        <p:spPr bwMode="auto">
          <a:xfrm>
            <a:off x="10185193" y="5493982"/>
            <a:ext cx="134292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Cell cycle progression</a:t>
            </a:r>
          </a:p>
        </p:txBody>
      </p:sp>
      <p:cxnSp>
        <p:nvCxnSpPr>
          <p:cNvPr id="453" name="Straight Arrow Connector 452">
            <a:extLst>
              <a:ext uri="{FF2B5EF4-FFF2-40B4-BE49-F238E27FC236}">
                <a16:creationId xmlns:a16="http://schemas.microsoft.com/office/drawing/2014/main" id="{22F11651-7C50-41D8-90DE-196EE913C39E}"/>
              </a:ext>
            </a:extLst>
          </p:cNvPr>
          <p:cNvCxnSpPr/>
          <p:nvPr/>
        </p:nvCxnSpPr>
        <p:spPr bwMode="auto">
          <a:xfrm>
            <a:off x="9292232" y="3124052"/>
            <a:ext cx="0" cy="281032"/>
          </a:xfrm>
          <a:prstGeom prst="straightConnector1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54" name="Straight Arrow Connector 453">
            <a:extLst>
              <a:ext uri="{FF2B5EF4-FFF2-40B4-BE49-F238E27FC236}">
                <a16:creationId xmlns:a16="http://schemas.microsoft.com/office/drawing/2014/main" id="{D3184C8A-5479-46D2-838C-B2E7FAB6674E}"/>
              </a:ext>
            </a:extLst>
          </p:cNvPr>
          <p:cNvCxnSpPr/>
          <p:nvPr/>
        </p:nvCxnSpPr>
        <p:spPr bwMode="auto">
          <a:xfrm>
            <a:off x="9300405" y="4818335"/>
            <a:ext cx="0" cy="281032"/>
          </a:xfrm>
          <a:prstGeom prst="straightConnector1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55" name="Straight Arrow Connector 454">
            <a:extLst>
              <a:ext uri="{FF2B5EF4-FFF2-40B4-BE49-F238E27FC236}">
                <a16:creationId xmlns:a16="http://schemas.microsoft.com/office/drawing/2014/main" id="{3BFBBA69-DEE1-438D-B20B-5E5FFB12A654}"/>
              </a:ext>
            </a:extLst>
          </p:cNvPr>
          <p:cNvCxnSpPr>
            <a:cxnSpLocks/>
          </p:cNvCxnSpPr>
          <p:nvPr/>
        </p:nvCxnSpPr>
        <p:spPr bwMode="auto">
          <a:xfrm>
            <a:off x="9303448" y="3577749"/>
            <a:ext cx="0" cy="189765"/>
          </a:xfrm>
          <a:prstGeom prst="straightConnector1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56" name="Straight Arrow Connector 455">
            <a:extLst>
              <a:ext uri="{FF2B5EF4-FFF2-40B4-BE49-F238E27FC236}">
                <a16:creationId xmlns:a16="http://schemas.microsoft.com/office/drawing/2014/main" id="{EBC1D1A6-3885-4E81-888D-47AA2FB6FD82}"/>
              </a:ext>
            </a:extLst>
          </p:cNvPr>
          <p:cNvCxnSpPr/>
          <p:nvPr/>
        </p:nvCxnSpPr>
        <p:spPr bwMode="auto">
          <a:xfrm>
            <a:off x="9309112" y="4083816"/>
            <a:ext cx="0" cy="281032"/>
          </a:xfrm>
          <a:prstGeom prst="straightConnector1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461" name="Group 460">
            <a:extLst>
              <a:ext uri="{FF2B5EF4-FFF2-40B4-BE49-F238E27FC236}">
                <a16:creationId xmlns:a16="http://schemas.microsoft.com/office/drawing/2014/main" id="{3C8705B0-32FF-403E-BC0F-E7070C44FF38}"/>
              </a:ext>
            </a:extLst>
          </p:cNvPr>
          <p:cNvGrpSpPr/>
          <p:nvPr/>
        </p:nvGrpSpPr>
        <p:grpSpPr>
          <a:xfrm>
            <a:off x="9418887" y="3137332"/>
            <a:ext cx="1159673" cy="1446804"/>
            <a:chOff x="9418887" y="3291196"/>
            <a:chExt cx="1159673" cy="1322435"/>
          </a:xfrm>
        </p:grpSpPr>
        <p:sp>
          <p:nvSpPr>
            <p:cNvPr id="458" name="Right Bracket 457">
              <a:extLst>
                <a:ext uri="{FF2B5EF4-FFF2-40B4-BE49-F238E27FC236}">
                  <a16:creationId xmlns:a16="http://schemas.microsoft.com/office/drawing/2014/main" id="{0BCC1FBB-A274-4043-966D-738BEEE10D15}"/>
                </a:ext>
              </a:extLst>
            </p:cNvPr>
            <p:cNvSpPr/>
            <p:nvPr/>
          </p:nvSpPr>
          <p:spPr bwMode="auto">
            <a:xfrm>
              <a:off x="9420973" y="3369289"/>
              <a:ext cx="1157587" cy="1244342"/>
            </a:xfrm>
            <a:custGeom>
              <a:avLst/>
              <a:gdLst>
                <a:gd name="connsiteX0" fmla="*/ 0 w 783961"/>
                <a:gd name="connsiteY0" fmla="*/ 0 h 1244342"/>
                <a:gd name="connsiteX1" fmla="*/ 783961 w 783961"/>
                <a:gd name="connsiteY1" fmla="*/ 8 h 1244342"/>
                <a:gd name="connsiteX2" fmla="*/ 783961 w 783961"/>
                <a:gd name="connsiteY2" fmla="*/ 1244334 h 1244342"/>
                <a:gd name="connsiteX3" fmla="*/ 0 w 783961"/>
                <a:gd name="connsiteY3" fmla="*/ 1244342 h 1244342"/>
                <a:gd name="connsiteX4" fmla="*/ 0 w 783961"/>
                <a:gd name="connsiteY4" fmla="*/ 0 h 1244342"/>
                <a:gd name="connsiteX0" fmla="*/ 0 w 783961"/>
                <a:gd name="connsiteY0" fmla="*/ 0 h 1244342"/>
                <a:gd name="connsiteX1" fmla="*/ 783961 w 783961"/>
                <a:gd name="connsiteY1" fmla="*/ 8 h 1244342"/>
                <a:gd name="connsiteX2" fmla="*/ 783961 w 783961"/>
                <a:gd name="connsiteY2" fmla="*/ 1244334 h 1244342"/>
                <a:gd name="connsiteX3" fmla="*/ 0 w 783961"/>
                <a:gd name="connsiteY3" fmla="*/ 1244342 h 1244342"/>
                <a:gd name="connsiteX0" fmla="*/ 373626 w 1157587"/>
                <a:gd name="connsiteY0" fmla="*/ 0 h 1244342"/>
                <a:gd name="connsiteX1" fmla="*/ 1157587 w 1157587"/>
                <a:gd name="connsiteY1" fmla="*/ 8 h 1244342"/>
                <a:gd name="connsiteX2" fmla="*/ 1157587 w 1157587"/>
                <a:gd name="connsiteY2" fmla="*/ 1244334 h 1244342"/>
                <a:gd name="connsiteX3" fmla="*/ 373626 w 1157587"/>
                <a:gd name="connsiteY3" fmla="*/ 1244342 h 1244342"/>
                <a:gd name="connsiteX4" fmla="*/ 373626 w 1157587"/>
                <a:gd name="connsiteY4" fmla="*/ 0 h 1244342"/>
                <a:gd name="connsiteX0" fmla="*/ 0 w 1157587"/>
                <a:gd name="connsiteY0" fmla="*/ 0 h 1244342"/>
                <a:gd name="connsiteX1" fmla="*/ 1157587 w 1157587"/>
                <a:gd name="connsiteY1" fmla="*/ 8 h 1244342"/>
                <a:gd name="connsiteX2" fmla="*/ 1157587 w 1157587"/>
                <a:gd name="connsiteY2" fmla="*/ 1244334 h 1244342"/>
                <a:gd name="connsiteX3" fmla="*/ 373626 w 1157587"/>
                <a:gd name="connsiteY3" fmla="*/ 1244342 h 1244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7587" h="1244342" stroke="0" extrusionOk="0">
                  <a:moveTo>
                    <a:pt x="373626" y="0"/>
                  </a:moveTo>
                  <a:lnTo>
                    <a:pt x="1157587" y="8"/>
                  </a:lnTo>
                  <a:lnTo>
                    <a:pt x="1157587" y="1244334"/>
                  </a:lnTo>
                  <a:cubicBezTo>
                    <a:pt x="1157587" y="1244338"/>
                    <a:pt x="806596" y="1244342"/>
                    <a:pt x="373626" y="1244342"/>
                  </a:cubicBezTo>
                  <a:lnTo>
                    <a:pt x="373626" y="0"/>
                  </a:lnTo>
                  <a:close/>
                </a:path>
                <a:path w="1157587" h="1244342" fill="none">
                  <a:moveTo>
                    <a:pt x="0" y="0"/>
                  </a:moveTo>
                  <a:lnTo>
                    <a:pt x="1157587" y="8"/>
                  </a:lnTo>
                  <a:lnTo>
                    <a:pt x="1157587" y="1244334"/>
                  </a:lnTo>
                  <a:cubicBezTo>
                    <a:pt x="1157587" y="1244338"/>
                    <a:pt x="806596" y="1244342"/>
                    <a:pt x="373626" y="1244342"/>
                  </a:cubicBezTo>
                </a:path>
              </a:pathLst>
            </a:custGeom>
            <a:noFill/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460" name="Straight Connector 459">
              <a:extLst>
                <a:ext uri="{FF2B5EF4-FFF2-40B4-BE49-F238E27FC236}">
                  <a16:creationId xmlns:a16="http://schemas.microsoft.com/office/drawing/2014/main" id="{46C9C8AE-BC6E-4E51-ADBE-786EE2DAFED3}"/>
                </a:ext>
              </a:extLst>
            </p:cNvPr>
            <p:cNvCxnSpPr/>
            <p:nvPr/>
          </p:nvCxnSpPr>
          <p:spPr bwMode="auto">
            <a:xfrm>
              <a:off x="9418887" y="3291196"/>
              <a:ext cx="0" cy="161321"/>
            </a:xfrm>
            <a:prstGeom prst="line">
              <a:avLst/>
            </a:prstGeom>
            <a:noFill/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608536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E620A0-5C1D-4655-8ACB-FDD6397A97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8030840-F526-40FA-AA83-BB4A9DC5D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32224"/>
            <a:ext cx="10944225" cy="615553"/>
          </a:xfrm>
        </p:spPr>
        <p:txBody>
          <a:bodyPr/>
          <a:lstStyle/>
          <a:p>
            <a:r>
              <a:rPr lang="cs-CZ" dirty="0"/>
              <a:t>BEACON: </a:t>
            </a:r>
            <a:r>
              <a:rPr lang="cs-CZ" dirty="0" err="1"/>
              <a:t>multi</a:t>
            </a:r>
            <a:r>
              <a:rPr lang="cs-CZ" dirty="0"/>
              <a:t>-cílená inhibice dráhy EGFR je volbou pro pacienty s BRAF </a:t>
            </a:r>
            <a:r>
              <a:rPr lang="cs-CZ" dirty="0" err="1"/>
              <a:t>mt</a:t>
            </a:r>
            <a:r>
              <a:rPr lang="cs-CZ" dirty="0"/>
              <a:t> </a:t>
            </a:r>
            <a:r>
              <a:rPr lang="cs-CZ" dirty="0" err="1"/>
              <a:t>mCRC</a:t>
            </a:r>
            <a:r>
              <a:rPr lang="cs-CZ" dirty="0"/>
              <a:t> v ≥2L </a:t>
            </a:r>
            <a:r>
              <a:rPr lang="cs-CZ" baseline="30000" dirty="0"/>
              <a:t>26,28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2B03CB9-1014-4C7F-A781-2B591E061A97}"/>
              </a:ext>
            </a:extLst>
          </p:cNvPr>
          <p:cNvSpPr txBox="1">
            <a:spLocks/>
          </p:cNvSpPr>
          <p:nvPr/>
        </p:nvSpPr>
        <p:spPr bwMode="gray">
          <a:xfrm>
            <a:off x="623888" y="891174"/>
            <a:ext cx="10668825" cy="330761"/>
          </a:xfrm>
          <a:prstGeom prst="rect">
            <a:avLst/>
          </a:prstGeom>
        </p:spPr>
        <p:txBody>
          <a:bodyPr vert="horz" lIns="0" tIns="3600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8163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20725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de-DE"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R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andomizovaná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áze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III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ulti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-cílená léčba  -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encorafenib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±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nimetini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+ cetuximab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26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Rounded Rectangle 20">
            <a:extLst>
              <a:ext uri="{FF2B5EF4-FFF2-40B4-BE49-F238E27FC236}">
                <a16:creationId xmlns:a16="http://schemas.microsoft.com/office/drawing/2014/main" id="{95A7906E-AD37-46E1-9368-14E5283D24D8}"/>
              </a:ext>
            </a:extLst>
          </p:cNvPr>
          <p:cNvSpPr/>
          <p:nvPr/>
        </p:nvSpPr>
        <p:spPr bwMode="gray">
          <a:xfrm>
            <a:off x="623888" y="2937626"/>
            <a:ext cx="5723749" cy="3021167"/>
          </a:xfrm>
          <a:prstGeom prst="roundRect">
            <a:avLst>
              <a:gd name="adj" fmla="val 10129"/>
            </a:avLst>
          </a:prstGeom>
          <a:ln w="285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ounded Rectangle 41">
            <a:extLst>
              <a:ext uri="{FF2B5EF4-FFF2-40B4-BE49-F238E27FC236}">
                <a16:creationId xmlns:a16="http://schemas.microsoft.com/office/drawing/2014/main" id="{458D1B2F-AFD2-488C-87DA-95960CEA218F}"/>
              </a:ext>
            </a:extLst>
          </p:cNvPr>
          <p:cNvSpPr/>
          <p:nvPr/>
        </p:nvSpPr>
        <p:spPr bwMode="gray">
          <a:xfrm>
            <a:off x="545285" y="1530942"/>
            <a:ext cx="1927342" cy="1290795"/>
          </a:xfrm>
          <a:prstGeom prst="round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AS </a:t>
            </a:r>
            <a:r>
              <a:rPr kumimoji="0" lang="en-GB" sz="14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t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BRAF V600E mt mCRC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éčených  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</a:t>
            </a: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ředchozími liniemi</a:t>
            </a:r>
            <a:endParaRPr kumimoji="0" lang="en-GB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" name="Freeform 10">
            <a:extLst>
              <a:ext uri="{FF2B5EF4-FFF2-40B4-BE49-F238E27FC236}">
                <a16:creationId xmlns:a16="http://schemas.microsoft.com/office/drawing/2014/main" id="{BC5434B4-A131-4409-B246-F52390D55107}"/>
              </a:ext>
            </a:extLst>
          </p:cNvPr>
          <p:cNvSpPr>
            <a:spLocks/>
          </p:cNvSpPr>
          <p:nvPr/>
        </p:nvSpPr>
        <p:spPr bwMode="auto">
          <a:xfrm rot="5400000">
            <a:off x="6519628" y="-1376421"/>
            <a:ext cx="325643" cy="7233641"/>
          </a:xfrm>
          <a:prstGeom prst="round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vert="vert270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afenib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+ cetuximab* (n=220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" name="Freeform 10">
            <a:extLst>
              <a:ext uri="{FF2B5EF4-FFF2-40B4-BE49-F238E27FC236}">
                <a16:creationId xmlns:a16="http://schemas.microsoft.com/office/drawing/2014/main" id="{D3B280BF-D5D2-40CD-9E79-DC45CB31D60E}"/>
              </a:ext>
            </a:extLst>
          </p:cNvPr>
          <p:cNvSpPr>
            <a:spLocks/>
          </p:cNvSpPr>
          <p:nvPr/>
        </p:nvSpPr>
        <p:spPr bwMode="auto">
          <a:xfrm rot="5400000">
            <a:off x="6517233" y="-1767330"/>
            <a:ext cx="299602" cy="7202804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vert270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rafenib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+ 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inimetinib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+ cetuximab* (n=224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F409193-845E-4F23-B971-88DDDE892B46}"/>
              </a:ext>
            </a:extLst>
          </p:cNvPr>
          <p:cNvSpPr/>
          <p:nvPr/>
        </p:nvSpPr>
        <p:spPr bwMode="gray">
          <a:xfrm>
            <a:off x="2523965" y="2114256"/>
            <a:ext cx="265044" cy="26504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A48FE8E-8378-4222-ADD5-C2AAD076284E}"/>
              </a:ext>
            </a:extLst>
          </p:cNvPr>
          <p:cNvCxnSpPr>
            <a:stCxn id="10" idx="5"/>
            <a:endCxn id="13" idx="2"/>
          </p:cNvCxnSpPr>
          <p:nvPr/>
        </p:nvCxnSpPr>
        <p:spPr>
          <a:xfrm>
            <a:off x="2750194" y="2340485"/>
            <a:ext cx="315436" cy="288134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B09E563-1813-4E29-8A59-6A5DF8481BFE}"/>
              </a:ext>
            </a:extLst>
          </p:cNvPr>
          <p:cNvCxnSpPr>
            <a:cxnSpLocks/>
            <a:stCxn id="10" idx="7"/>
            <a:endCxn id="9" idx="2"/>
          </p:cNvCxnSpPr>
          <p:nvPr/>
        </p:nvCxnSpPr>
        <p:spPr>
          <a:xfrm flipV="1">
            <a:off x="2750194" y="1834072"/>
            <a:ext cx="315438" cy="318999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 10">
            <a:extLst>
              <a:ext uri="{FF2B5EF4-FFF2-40B4-BE49-F238E27FC236}">
                <a16:creationId xmlns:a16="http://schemas.microsoft.com/office/drawing/2014/main" id="{8FF912C5-89B9-4130-AF6A-21F3355D11C7}"/>
              </a:ext>
            </a:extLst>
          </p:cNvPr>
          <p:cNvSpPr>
            <a:spLocks/>
          </p:cNvSpPr>
          <p:nvPr/>
        </p:nvSpPr>
        <p:spPr bwMode="auto">
          <a:xfrm rot="5400000">
            <a:off x="6519628" y="-988202"/>
            <a:ext cx="325643" cy="7233640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vert="vert270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tuximab + FOLFIRI/irinotecan (n=221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EF2CF63B-42D6-4A6A-A378-2AD0114E0283}"/>
              </a:ext>
            </a:extLst>
          </p:cNvPr>
          <p:cNvCxnSpPr>
            <a:stCxn id="10" idx="6"/>
            <a:endCxn id="8" idx="2"/>
          </p:cNvCxnSpPr>
          <p:nvPr/>
        </p:nvCxnSpPr>
        <p:spPr>
          <a:xfrm flipV="1">
            <a:off x="2789009" y="2240400"/>
            <a:ext cx="276620" cy="6378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BC000AA1-0CD1-4311-A39B-E96E2A509722}"/>
              </a:ext>
            </a:extLst>
          </p:cNvPr>
          <p:cNvSpPr txBox="1">
            <a:spLocks/>
          </p:cNvSpPr>
          <p:nvPr/>
        </p:nvSpPr>
        <p:spPr bwMode="gray">
          <a:xfrm>
            <a:off x="6659235" y="2914551"/>
            <a:ext cx="3797762" cy="631532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8163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20725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de-DE"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oprimární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íle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: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OS, triplet vs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ontrola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; and ORR, triplet vs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ontrola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2EBA987-E1C4-48BB-9162-E27B2FB7499E}"/>
              </a:ext>
            </a:extLst>
          </p:cNvPr>
          <p:cNvGrpSpPr/>
          <p:nvPr/>
        </p:nvGrpSpPr>
        <p:grpSpPr>
          <a:xfrm>
            <a:off x="2384598" y="3026364"/>
            <a:ext cx="3743745" cy="2849218"/>
            <a:chOff x="3033189" y="3026364"/>
            <a:chExt cx="3743745" cy="284921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34556E6-2360-4154-B8C9-35156D05A97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67808" y="3026364"/>
              <a:ext cx="2409126" cy="2849218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D2B4A6E2-0C16-48D5-89F1-6B5A53287603}"/>
                </a:ext>
              </a:extLst>
            </p:cNvPr>
            <p:cNvGrpSpPr/>
            <p:nvPr/>
          </p:nvGrpSpPr>
          <p:grpSpPr>
            <a:xfrm>
              <a:off x="3886047" y="4315341"/>
              <a:ext cx="721937" cy="135632"/>
              <a:chOff x="3641201" y="3947914"/>
              <a:chExt cx="721937" cy="135632"/>
            </a:xfrm>
          </p:grpSpPr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BAC42741-77CC-4D8B-9E37-AF0DCB225A6B}"/>
                  </a:ext>
                </a:extLst>
              </p:cNvPr>
              <p:cNvCxnSpPr/>
              <p:nvPr/>
            </p:nvCxnSpPr>
            <p:spPr>
              <a:xfrm>
                <a:off x="3641201" y="4015730"/>
                <a:ext cx="72008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3870B2E5-B632-40A4-B431-C9F034A233BE}"/>
                  </a:ext>
                </a:extLst>
              </p:cNvPr>
              <p:cNvCxnSpPr/>
              <p:nvPr/>
            </p:nvCxnSpPr>
            <p:spPr>
              <a:xfrm flipH="1">
                <a:off x="4361281" y="3947914"/>
                <a:ext cx="1857" cy="13563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8EC6A4A-F4A3-4ACA-A4E3-AECF6F921B61}"/>
                </a:ext>
              </a:extLst>
            </p:cNvPr>
            <p:cNvGrpSpPr/>
            <p:nvPr/>
          </p:nvGrpSpPr>
          <p:grpSpPr>
            <a:xfrm>
              <a:off x="3884190" y="4740996"/>
              <a:ext cx="721937" cy="135632"/>
              <a:chOff x="3641201" y="3947914"/>
              <a:chExt cx="721937" cy="135632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5F281398-1DDD-46CE-BEDE-E89D83618019}"/>
                  </a:ext>
                </a:extLst>
              </p:cNvPr>
              <p:cNvCxnSpPr/>
              <p:nvPr/>
            </p:nvCxnSpPr>
            <p:spPr>
              <a:xfrm>
                <a:off x="3641201" y="4015730"/>
                <a:ext cx="720080" cy="0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1BFE5633-1331-4BB4-8E60-FB3B96617E8C}"/>
                  </a:ext>
                </a:extLst>
              </p:cNvPr>
              <p:cNvCxnSpPr/>
              <p:nvPr/>
            </p:nvCxnSpPr>
            <p:spPr>
              <a:xfrm flipH="1">
                <a:off x="4361281" y="3947914"/>
                <a:ext cx="1857" cy="135632"/>
              </a:xfrm>
              <a:prstGeom prst="line">
                <a:avLst/>
              </a:prstGeom>
              <a:ln w="190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D0A3F1D-86F4-4CE2-894C-F3C9957280F7}"/>
                </a:ext>
              </a:extLst>
            </p:cNvPr>
            <p:cNvSpPr txBox="1"/>
            <p:nvPr/>
          </p:nvSpPr>
          <p:spPr bwMode="gray">
            <a:xfrm>
              <a:off x="3050228" y="4322796"/>
              <a:ext cx="10230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n</a:t>
              </a:r>
              <a:r>
                <a:rPr kumimoji="0" lang="cs-CZ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k</a:t>
              </a:r>
              <a:r>
                <a:rPr kumimoji="0" lang="en-GB" sz="9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rafenib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25D5490-988B-4787-8A7A-15D266BE5D54}"/>
                </a:ext>
              </a:extLst>
            </p:cNvPr>
            <p:cNvSpPr txBox="1"/>
            <p:nvPr/>
          </p:nvSpPr>
          <p:spPr bwMode="gray">
            <a:xfrm>
              <a:off x="3033189" y="4734386"/>
              <a:ext cx="102302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Binimetinib</a:t>
              </a:r>
            </a:p>
          </p:txBody>
        </p:sp>
      </p:grp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9B3759BF-9A06-49B1-80AB-01047991072C}"/>
              </a:ext>
            </a:extLst>
          </p:cNvPr>
          <p:cNvSpPr txBox="1">
            <a:spLocks/>
          </p:cNvSpPr>
          <p:nvPr/>
        </p:nvSpPr>
        <p:spPr bwMode="gray">
          <a:xfrm>
            <a:off x="637723" y="3156859"/>
            <a:ext cx="3195998" cy="631532"/>
          </a:xfrm>
          <a:prstGeom prst="rect">
            <a:avLst/>
          </a:prstGeom>
        </p:spPr>
        <p:txBody>
          <a:bodyPr vert="horz" lIns="0" tIns="36000" rIns="0" bIns="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8163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20725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de-DE"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rojitá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ílená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rapie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ude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inhibovat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dráhu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EGFR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na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GB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více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místech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19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sp>
        <p:nvSpPr>
          <p:cNvPr id="27" name="Rounded Rectangle 2">
            <a:extLst>
              <a:ext uri="{FF2B5EF4-FFF2-40B4-BE49-F238E27FC236}">
                <a16:creationId xmlns:a16="http://schemas.microsoft.com/office/drawing/2014/main" id="{F52FAF2E-E01B-4352-9397-9075497DD03F}"/>
              </a:ext>
            </a:extLst>
          </p:cNvPr>
          <p:cNvSpPr/>
          <p:nvPr/>
        </p:nvSpPr>
        <p:spPr bwMode="gray">
          <a:xfrm>
            <a:off x="6659235" y="3657541"/>
            <a:ext cx="4977537" cy="2166909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imární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nalýza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ředstavená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a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WCGC 2019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otvrdila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že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udie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plnila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vé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oprimární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íle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r>
              <a:rPr kumimoji="0" lang="en-GB" sz="16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6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Na ASCO 2020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ylo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rezentováno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lších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6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ěsíců</a:t>
            </a: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GB" sz="16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</a:t>
            </a:r>
            <a:r>
              <a:rPr kumimoji="0" lang="en-GB" sz="16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8</a:t>
            </a:r>
          </a:p>
        </p:txBody>
      </p:sp>
      <p:sp>
        <p:nvSpPr>
          <p:cNvPr id="28" name="TextBox 8">
            <a:extLst>
              <a:ext uri="{FF2B5EF4-FFF2-40B4-BE49-F238E27FC236}">
                <a16:creationId xmlns:a16="http://schemas.microsoft.com/office/drawing/2014/main" id="{47639CF5-C698-432F-B74A-540F9AD5D4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1" y="6041501"/>
            <a:ext cx="429260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12. Erbitux SmPC, May 2019; 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</a:b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19. Leto SM, et al. J Mol Med 2014;92:709–22; </a:t>
            </a:r>
            <a:b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</a:b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26. Kopetz S, et al. N Engl J Med 2019;1632–1643;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s-IS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28. Kopetz S, et al. ASCO 2020 (Abstract No. 4001)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C980B02-52BE-4A5F-B543-5AFB1DB750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51024" y="6116405"/>
            <a:ext cx="560930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*Cetuximab je v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současné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době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indikován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u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pacientů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s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expres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EGFR, RAS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wt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mCRC v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kombinac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s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chemoterapi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báz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irinotekanu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eb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v 1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L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v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kombinac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s FOLFOX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eb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jak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monoterapi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u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pacientů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, u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ichž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selhal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léčb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báz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oxaliplatiny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a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irinotekanu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a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kteř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etoleruj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irinotecan</a:t>
            </a: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Verdana"/>
              <a:ea typeface="ＭＳ Ｐゴシック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8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Verdana"/>
              <a:ea typeface="ＭＳ Ｐゴシック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ORR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celková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četnost odpověd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; OS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, c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elkové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přežit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; SOC, standard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péče</a:t>
            </a:r>
            <a:endParaRPr kumimoji="0" lang="en-GB" sz="800" b="0" i="0" u="none" strike="noStrike" kern="1200" cap="none" spc="0" normalizeH="0" baseline="3000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Verdana"/>
              <a:ea typeface="ＭＳ Ｐゴシック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7856F21-DE25-4AA8-A78A-495EA4FD01A7}"/>
              </a:ext>
            </a:extLst>
          </p:cNvPr>
          <p:cNvSpPr txBox="1"/>
          <p:nvPr/>
        </p:nvSpPr>
        <p:spPr bwMode="gray">
          <a:xfrm>
            <a:off x="11872141" y="6538953"/>
            <a:ext cx="26996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cs-CZ"/>
            </a:defPPr>
            <a:lvl1pPr marR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9243533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42525E-F3D5-416F-A45D-801A2694E9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C6049F6-BDA5-4074-8224-DDD21F18FD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01" y="783281"/>
            <a:ext cx="10944225" cy="307777"/>
          </a:xfrm>
        </p:spPr>
        <p:txBody>
          <a:bodyPr/>
          <a:lstStyle/>
          <a:p>
            <a:r>
              <a:rPr lang="cs-CZ" dirty="0"/>
              <a:t>BEACON: analýza OS</a:t>
            </a:r>
            <a:endParaRPr lang="cs-CZ" baseline="300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3343D42-7A40-4C53-B8EC-3ED174B44D7D}"/>
              </a:ext>
            </a:extLst>
          </p:cNvPr>
          <p:cNvSpPr/>
          <p:nvPr/>
        </p:nvSpPr>
        <p:spPr>
          <a:xfrm>
            <a:off x="1082063" y="1251731"/>
            <a:ext cx="4733988" cy="307777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l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MS PGothic" panose="020B0600070205080204" pitchFamily="34" charset="-128"/>
                <a:cs typeface="+mn-cs"/>
              </a:rPr>
              <a:t>Koprimární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MS PGothic" panose="020B0600070205080204" pitchFamily="34" charset="-128"/>
                <a:cs typeface="+mn-cs"/>
              </a:rPr>
              <a:t> endpoint: mOS triplet* vs control</a:t>
            </a:r>
            <a:endParaRPr kumimoji="0" lang="en-US" sz="1400" b="1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A24D84F-10CC-4E79-A6C4-0E6838B2F4F8}"/>
              </a:ext>
            </a:extLst>
          </p:cNvPr>
          <p:cNvSpPr/>
          <p:nvPr/>
        </p:nvSpPr>
        <p:spPr>
          <a:xfrm>
            <a:off x="6834821" y="1251731"/>
            <a:ext cx="4855816" cy="307777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l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MS PGothic" panose="020B0600070205080204" pitchFamily="34" charset="-128"/>
                <a:cs typeface="+mn-cs"/>
              </a:rPr>
              <a:t>Sekundární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MS PGothic" panose="020B0600070205080204" pitchFamily="34" charset="-128"/>
                <a:cs typeface="+mn-cs"/>
              </a:rPr>
              <a:t> endpoint: mOS doublet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MS PGothic" panose="020B0600070205080204" pitchFamily="34" charset="-128"/>
                <a:cs typeface="+mn-cs"/>
              </a:rPr>
              <a:t>†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MS PGothic" panose="020B0600070205080204" pitchFamily="34" charset="-128"/>
                <a:cs typeface="+mn-cs"/>
              </a:rPr>
              <a:t> vs control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7" name="TextBox 8">
            <a:extLst>
              <a:ext uri="{FF2B5EF4-FFF2-40B4-BE49-F238E27FC236}">
                <a16:creationId xmlns:a16="http://schemas.microsoft.com/office/drawing/2014/main" id="{43C44DF3-B36C-4542-9F3A-3FDAEA8A71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30182" y="6194741"/>
            <a:ext cx="42926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12. Erbitux SmPC, May 2019;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28. Kopetz S, et al. ASCO 2020 (Abstract No. 4001)</a:t>
            </a:r>
            <a:r>
              <a:rPr kumimoji="0" lang="is-IS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59C25EB-9630-48CE-9E03-CECD51650B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28258" y="6019950"/>
            <a:ext cx="673220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CI, interval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spolehlivost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; HR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pomě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rizik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; m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medián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; ORR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celková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mír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odpověd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; OS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celkové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přežit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; PFS;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přežit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bez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progres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. *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Encorafenib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+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binimetinib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+ cetuximab; †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Encorafenib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+ cetuximab; ‡ Cetuximab je v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současné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době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indikován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u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pacientů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s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expres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EGFR, RAS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wt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mCRC v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kombinac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s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chemoterapi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založenou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irinotekanu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eb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v 1</a:t>
            </a: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L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v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kombinaci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s FOLFOX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eb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jak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monoterapi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u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pacientů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, u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ichž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selhal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léčb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založená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a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oxaliplatině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a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irinotekanu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a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kteř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netoleruj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irinotekan.</a:t>
            </a:r>
            <a:r>
              <a:rPr kumimoji="0" lang="en-GB" sz="800" b="0" i="0" u="none" strike="noStrike" kern="1200" cap="none" spc="0" normalizeH="0" baseline="3000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2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ORR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potvrzen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BICR,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koprimární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byl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 triplet ORR vs. kontrola..</a:t>
            </a:r>
            <a:r>
              <a:rPr kumimoji="0" lang="en-GB" sz="800" b="0" i="0" u="none" strike="noStrike" kern="1200" cap="none" spc="0" normalizeH="0" baseline="3000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/>
                <a:ea typeface="ＭＳ Ｐゴシック" charset="0"/>
              </a:rPr>
              <a:t>12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Verdana"/>
              <a:ea typeface="ＭＳ Ｐゴシック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20E714C-39C1-4A6C-A959-D9513B04D739}"/>
              </a:ext>
            </a:extLst>
          </p:cNvPr>
          <p:cNvGraphicFramePr>
            <a:graphicFrameLocks noGrp="1"/>
          </p:cNvGraphicFramePr>
          <p:nvPr/>
        </p:nvGraphicFramePr>
        <p:xfrm>
          <a:off x="3604235" y="4868097"/>
          <a:ext cx="5806406" cy="10627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84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93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79315">
                  <a:extLst>
                    <a:ext uri="{9D8B030D-6E8A-4147-A177-3AD203B41FA5}">
                      <a16:colId xmlns:a16="http://schemas.microsoft.com/office/drawing/2014/main" val="1186603417"/>
                    </a:ext>
                  </a:extLst>
                </a:gridCol>
                <a:gridCol w="1379315">
                  <a:extLst>
                    <a:ext uri="{9D8B030D-6E8A-4147-A177-3AD203B41FA5}">
                      <a16:colId xmlns:a16="http://schemas.microsoft.com/office/drawing/2014/main" val="3076865254"/>
                    </a:ext>
                  </a:extLst>
                </a:gridCol>
              </a:tblGrid>
              <a:tr h="499033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US" sz="11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+mj-lt"/>
                        </a:rPr>
                        <a:t>Triplet*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+mj-lt"/>
                        </a:rPr>
                        <a:t>(n=224)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+mj-lt"/>
                        </a:rPr>
                        <a:t>Doublet</a:t>
                      </a:r>
                      <a:r>
                        <a:rPr lang="en-US" sz="1200" kern="1200" baseline="30000" dirty="0">
                          <a:solidFill>
                            <a:schemeClr val="bg1"/>
                          </a:solidFill>
                          <a:latin typeface="+mj-lt"/>
                        </a:rPr>
                        <a:t>†</a:t>
                      </a:r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+mj-lt"/>
                        </a:rPr>
                        <a:t> (n=220)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800" marR="5080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rebuchet MS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cs-CZ" sz="1200" kern="1200" dirty="0">
                          <a:solidFill>
                            <a:schemeClr val="bg1"/>
                          </a:solidFill>
                          <a:latin typeface="+mj-lt"/>
                        </a:rPr>
                        <a:t>Kontrola</a:t>
                      </a:r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+mj-lt"/>
                        </a:rPr>
                        <a:t> (n=221)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0800" marR="5080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3735">
                <a:tc>
                  <a:txBody>
                    <a:bodyPr/>
                    <a:lstStyle/>
                    <a:p>
                      <a:pPr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+mj-lt"/>
                        </a:rPr>
                        <a:t>ORR, %</a:t>
                      </a:r>
                    </a:p>
                    <a:p>
                      <a:pPr marL="0" indent="0" algn="l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j-lt"/>
                        </a:rPr>
                        <a:t>95% C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+mj-lt"/>
                        </a:rPr>
                        <a:t>27</a:t>
                      </a:r>
                    </a:p>
                    <a:p>
                      <a:pPr algn="ctr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sz="1200" b="0" dirty="0">
                          <a:effectLst/>
                          <a:latin typeface="+mj-lt"/>
                        </a:rPr>
                        <a:t>(21, 3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4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15, 25)</a:t>
                      </a:r>
                      <a:endParaRPr lang="en-US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br>
                        <a:rPr lang="en-US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&lt;1, 5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EC53F622-7EA1-4F70-8AFA-170CFD1AA846}"/>
              </a:ext>
            </a:extLst>
          </p:cNvPr>
          <p:cNvSpPr txBox="1">
            <a:spLocks/>
          </p:cNvSpPr>
          <p:nvPr/>
        </p:nvSpPr>
        <p:spPr bwMode="gray">
          <a:xfrm>
            <a:off x="4206214" y="4522285"/>
            <a:ext cx="4182777" cy="333163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538163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en-US" sz="1400" kern="12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720725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lang="de-DE"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bg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Koprimární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cíl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: ORR</a:t>
            </a:r>
            <a:r>
              <a:rPr kumimoji="0" lang="en-GB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¶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BDA48EFB-203D-476C-A664-3253E657A2E7}"/>
              </a:ext>
            </a:extLst>
          </p:cNvPr>
          <p:cNvSpPr>
            <a:spLocks/>
          </p:cNvSpPr>
          <p:nvPr/>
        </p:nvSpPr>
        <p:spPr bwMode="auto">
          <a:xfrm>
            <a:off x="1198563" y="2056655"/>
            <a:ext cx="4275138" cy="2100263"/>
          </a:xfrm>
          <a:custGeom>
            <a:avLst/>
            <a:gdLst>
              <a:gd name="T0" fmla="*/ 0 w 2693"/>
              <a:gd name="T1" fmla="*/ 0 h 1323"/>
              <a:gd name="T2" fmla="*/ 0 w 2693"/>
              <a:gd name="T3" fmla="*/ 1323 h 1323"/>
              <a:gd name="T4" fmla="*/ 2693 w 2693"/>
              <a:gd name="T5" fmla="*/ 1323 h 1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693" h="1323">
                <a:moveTo>
                  <a:pt x="0" y="0"/>
                </a:moveTo>
                <a:lnTo>
                  <a:pt x="0" y="1323"/>
                </a:lnTo>
                <a:lnTo>
                  <a:pt x="2693" y="1323"/>
                </a:lnTo>
              </a:path>
            </a:pathLst>
          </a:custGeom>
          <a:noFill/>
          <a:ln w="12700" cap="sq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" name="Line 6">
            <a:extLst>
              <a:ext uri="{FF2B5EF4-FFF2-40B4-BE49-F238E27FC236}">
                <a16:creationId xmlns:a16="http://schemas.microsoft.com/office/drawing/2014/main" id="{9339CACF-A62F-47B3-9555-DCA275B7378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154113" y="2056655"/>
            <a:ext cx="44450" cy="0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" name="Rectangle 7">
            <a:extLst>
              <a:ext uri="{FF2B5EF4-FFF2-40B4-BE49-F238E27FC236}">
                <a16:creationId xmlns:a16="http://schemas.microsoft.com/office/drawing/2014/main" id="{021D45C7-5796-496B-AE82-BA5FF847C9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382" y="1977280"/>
            <a:ext cx="2099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1.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Line 8">
            <a:extLst>
              <a:ext uri="{FF2B5EF4-FFF2-40B4-BE49-F238E27FC236}">
                <a16:creationId xmlns:a16="http://schemas.microsoft.com/office/drawing/2014/main" id="{A4E6F7F6-B6B9-4670-8A36-A2E644A7982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154113" y="2477343"/>
            <a:ext cx="44450" cy="0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" name="Rectangle 9">
            <a:extLst>
              <a:ext uri="{FF2B5EF4-FFF2-40B4-BE49-F238E27FC236}">
                <a16:creationId xmlns:a16="http://schemas.microsoft.com/office/drawing/2014/main" id="{36E2685D-20DE-4F53-A4CD-D8A88E8CFB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382" y="2397968"/>
            <a:ext cx="2099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0.8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Line 10">
            <a:extLst>
              <a:ext uri="{FF2B5EF4-FFF2-40B4-BE49-F238E27FC236}">
                <a16:creationId xmlns:a16="http://schemas.microsoft.com/office/drawing/2014/main" id="{5C1A600F-2D5C-46B3-8A3C-A0D2D0407CB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154113" y="2898030"/>
            <a:ext cx="44450" cy="0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" name="Rectangle 11">
            <a:extLst>
              <a:ext uri="{FF2B5EF4-FFF2-40B4-BE49-F238E27FC236}">
                <a16:creationId xmlns:a16="http://schemas.microsoft.com/office/drawing/2014/main" id="{CAD8DCD3-28BB-4214-A713-29C0E2E18B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382" y="2815480"/>
            <a:ext cx="2099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0.6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Line 12">
            <a:extLst>
              <a:ext uri="{FF2B5EF4-FFF2-40B4-BE49-F238E27FC236}">
                <a16:creationId xmlns:a16="http://schemas.microsoft.com/office/drawing/2014/main" id="{4E3B9F9E-A9E6-442B-9F0A-E5FAFBA5623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154113" y="3318718"/>
            <a:ext cx="44450" cy="0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" name="Rectangle 13">
            <a:extLst>
              <a:ext uri="{FF2B5EF4-FFF2-40B4-BE49-F238E27FC236}">
                <a16:creationId xmlns:a16="http://schemas.microsoft.com/office/drawing/2014/main" id="{C7F7C629-0CDA-4BD9-AAFA-5941FB01A1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382" y="3236168"/>
            <a:ext cx="2099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0.4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Line 14">
            <a:extLst>
              <a:ext uri="{FF2B5EF4-FFF2-40B4-BE49-F238E27FC236}">
                <a16:creationId xmlns:a16="http://schemas.microsoft.com/office/drawing/2014/main" id="{0D4C5914-9B83-4475-B1BC-DD560A32EAF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154113" y="3736230"/>
            <a:ext cx="44450" cy="0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AA02701B-64BB-4DAF-AFBE-F7B5A17CFA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382" y="3656855"/>
            <a:ext cx="2099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0.2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Line 16">
            <a:extLst>
              <a:ext uri="{FF2B5EF4-FFF2-40B4-BE49-F238E27FC236}">
                <a16:creationId xmlns:a16="http://schemas.microsoft.com/office/drawing/2014/main" id="{D335B219-3CAB-40CF-ABE2-BAEBFF7A52E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154113" y="4156918"/>
            <a:ext cx="44450" cy="0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Rectangle 17">
            <a:extLst>
              <a:ext uri="{FF2B5EF4-FFF2-40B4-BE49-F238E27FC236}">
                <a16:creationId xmlns:a16="http://schemas.microsoft.com/office/drawing/2014/main" id="{682C8437-D3CA-4FC4-9C14-191F0AD776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3623" y="4079130"/>
            <a:ext cx="8175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4" name="Line 18">
            <a:extLst>
              <a:ext uri="{FF2B5EF4-FFF2-40B4-BE49-F238E27FC236}">
                <a16:creationId xmlns:a16="http://schemas.microsoft.com/office/drawing/2014/main" id="{27469704-AB99-4019-84E4-B1004D4269A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98563" y="4156918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" name="Rectangle 19">
            <a:extLst>
              <a:ext uri="{FF2B5EF4-FFF2-40B4-BE49-F238E27FC236}">
                <a16:creationId xmlns:a16="http://schemas.microsoft.com/office/drawing/2014/main" id="{3AE66B93-CD16-4EB9-A1CA-DEE5A4E34A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0067" y="4231530"/>
            <a:ext cx="8175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" name="Line 20">
            <a:extLst>
              <a:ext uri="{FF2B5EF4-FFF2-40B4-BE49-F238E27FC236}">
                <a16:creationId xmlns:a16="http://schemas.microsoft.com/office/drawing/2014/main" id="{5F5C248B-2599-4CCB-BCA1-D7B3B4B4ADB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73226" y="4156918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" name="Rectangle 21">
            <a:extLst>
              <a:ext uri="{FF2B5EF4-FFF2-40B4-BE49-F238E27FC236}">
                <a16:creationId xmlns:a16="http://schemas.microsoft.com/office/drawing/2014/main" id="{C69F1632-DA78-4ED3-8611-F8AFD0DA28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3142" y="4231530"/>
            <a:ext cx="8175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3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" name="Line 22">
            <a:extLst>
              <a:ext uri="{FF2B5EF4-FFF2-40B4-BE49-F238E27FC236}">
                <a16:creationId xmlns:a16="http://schemas.microsoft.com/office/drawing/2014/main" id="{919F3ACE-EBE1-4776-8898-290A22DB8C2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22551" y="4156918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" name="Rectangle 23">
            <a:extLst>
              <a:ext uri="{FF2B5EF4-FFF2-40B4-BE49-F238E27FC236}">
                <a16:creationId xmlns:a16="http://schemas.microsoft.com/office/drawing/2014/main" id="{3F392C2D-8EF3-43DE-877F-80134047A1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0880" y="4231530"/>
            <a:ext cx="8175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9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0" name="Line 24">
            <a:extLst>
              <a:ext uri="{FF2B5EF4-FFF2-40B4-BE49-F238E27FC236}">
                <a16:creationId xmlns:a16="http://schemas.microsoft.com/office/drawing/2014/main" id="{0F943810-1F0B-4C94-843A-EFD2BE7C8BC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573463" y="4156918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1" name="Rectangle 25">
            <a:extLst>
              <a:ext uri="{FF2B5EF4-FFF2-40B4-BE49-F238E27FC236}">
                <a16:creationId xmlns:a16="http://schemas.microsoft.com/office/drawing/2014/main" id="{51325A19-BE9E-4E5B-B71D-854370E9B1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0916" y="4231530"/>
            <a:ext cx="163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1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2" name="Line 26">
            <a:extLst>
              <a:ext uri="{FF2B5EF4-FFF2-40B4-BE49-F238E27FC236}">
                <a16:creationId xmlns:a16="http://schemas.microsoft.com/office/drawing/2014/main" id="{F190DF9C-A68B-44FB-8D87-2317ECA3B70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73701" y="4156918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Rectangle 27">
            <a:extLst>
              <a:ext uri="{FF2B5EF4-FFF2-40B4-BE49-F238E27FC236}">
                <a16:creationId xmlns:a16="http://schemas.microsoft.com/office/drawing/2014/main" id="{B5AB716B-695C-49FC-BD5E-884C6A1027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91154" y="4231530"/>
            <a:ext cx="163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27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4" name="Line 28">
            <a:extLst>
              <a:ext uri="{FF2B5EF4-FFF2-40B4-BE49-F238E27FC236}">
                <a16:creationId xmlns:a16="http://schemas.microsoft.com/office/drawing/2014/main" id="{887291CF-6D1E-445E-9D79-4F8A9ABB86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49476" y="4156918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Rectangle 29">
            <a:extLst>
              <a:ext uri="{FF2B5EF4-FFF2-40B4-BE49-F238E27FC236}">
                <a16:creationId xmlns:a16="http://schemas.microsoft.com/office/drawing/2014/main" id="{54343F53-D102-47B7-AC44-EB6EE6D57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0980" y="4231530"/>
            <a:ext cx="8175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6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6" name="Line 30">
            <a:extLst>
              <a:ext uri="{FF2B5EF4-FFF2-40B4-BE49-F238E27FC236}">
                <a16:creationId xmlns:a16="http://schemas.microsoft.com/office/drawing/2014/main" id="{72BD344C-41B8-4892-8CD7-C02648FCDCB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98801" y="4156918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Rectangle 31">
            <a:extLst>
              <a:ext uri="{FF2B5EF4-FFF2-40B4-BE49-F238E27FC236}">
                <a16:creationId xmlns:a16="http://schemas.microsoft.com/office/drawing/2014/main" id="{C7D68F90-1B15-4276-81FA-D3E5D0F587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6254" y="4231530"/>
            <a:ext cx="163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12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8" name="Line 32">
            <a:extLst>
              <a:ext uri="{FF2B5EF4-FFF2-40B4-BE49-F238E27FC236}">
                <a16:creationId xmlns:a16="http://schemas.microsoft.com/office/drawing/2014/main" id="{CAA17E55-559D-483F-ACD3-6B0331FC04D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49713" y="4156918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9" name="Rectangle 33">
            <a:extLst>
              <a:ext uri="{FF2B5EF4-FFF2-40B4-BE49-F238E27FC236}">
                <a16:creationId xmlns:a16="http://schemas.microsoft.com/office/drawing/2014/main" id="{E6E0248F-7CEF-48AD-9467-2813EE07A9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3991" y="4231530"/>
            <a:ext cx="163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18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0" name="Line 34">
            <a:extLst>
              <a:ext uri="{FF2B5EF4-FFF2-40B4-BE49-F238E27FC236}">
                <a16:creationId xmlns:a16="http://schemas.microsoft.com/office/drawing/2014/main" id="{A0E4890A-0679-48B7-AC3A-94338E2586B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95863" y="4156918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Rectangle 35">
            <a:extLst>
              <a:ext uri="{FF2B5EF4-FFF2-40B4-BE49-F238E27FC236}">
                <a16:creationId xmlns:a16="http://schemas.microsoft.com/office/drawing/2014/main" id="{1161969E-0B81-4FD8-9A67-DD526D1565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13316" y="4231530"/>
            <a:ext cx="163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24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2" name="Line 36">
            <a:extLst>
              <a:ext uri="{FF2B5EF4-FFF2-40B4-BE49-F238E27FC236}">
                <a16:creationId xmlns:a16="http://schemas.microsoft.com/office/drawing/2014/main" id="{F39A2425-509F-4C4B-AE96-98693BF56F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522788" y="4156918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Rectangle 37">
            <a:extLst>
              <a:ext uri="{FF2B5EF4-FFF2-40B4-BE49-F238E27FC236}">
                <a16:creationId xmlns:a16="http://schemas.microsoft.com/office/drawing/2014/main" id="{BBDA4C35-E7C8-461B-A588-019294038B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0241" y="4231530"/>
            <a:ext cx="163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21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4" name="Freeform 71">
            <a:extLst>
              <a:ext uri="{FF2B5EF4-FFF2-40B4-BE49-F238E27FC236}">
                <a16:creationId xmlns:a16="http://schemas.microsoft.com/office/drawing/2014/main" id="{EA3178C6-9DD8-4186-837F-6A16F9285703}"/>
              </a:ext>
            </a:extLst>
          </p:cNvPr>
          <p:cNvSpPr>
            <a:spLocks/>
          </p:cNvSpPr>
          <p:nvPr/>
        </p:nvSpPr>
        <p:spPr bwMode="auto">
          <a:xfrm>
            <a:off x="1208088" y="2059830"/>
            <a:ext cx="3470275" cy="2005013"/>
          </a:xfrm>
          <a:custGeom>
            <a:avLst/>
            <a:gdLst>
              <a:gd name="T0" fmla="*/ 10 w 2186"/>
              <a:gd name="T1" fmla="*/ 22 h 1263"/>
              <a:gd name="T2" fmla="*/ 50 w 2186"/>
              <a:gd name="T3" fmla="*/ 34 h 1263"/>
              <a:gd name="T4" fmla="*/ 64 w 2186"/>
              <a:gd name="T5" fmla="*/ 54 h 1263"/>
              <a:gd name="T6" fmla="*/ 86 w 2186"/>
              <a:gd name="T7" fmla="*/ 64 h 1263"/>
              <a:gd name="T8" fmla="*/ 102 w 2186"/>
              <a:gd name="T9" fmla="*/ 89 h 1263"/>
              <a:gd name="T10" fmla="*/ 136 w 2186"/>
              <a:gd name="T11" fmla="*/ 109 h 1263"/>
              <a:gd name="T12" fmla="*/ 146 w 2186"/>
              <a:gd name="T13" fmla="*/ 143 h 1263"/>
              <a:gd name="T14" fmla="*/ 176 w 2186"/>
              <a:gd name="T15" fmla="*/ 157 h 1263"/>
              <a:gd name="T16" fmla="*/ 188 w 2186"/>
              <a:gd name="T17" fmla="*/ 195 h 1263"/>
              <a:gd name="T18" fmla="*/ 212 w 2186"/>
              <a:gd name="T19" fmla="*/ 211 h 1263"/>
              <a:gd name="T20" fmla="*/ 234 w 2186"/>
              <a:gd name="T21" fmla="*/ 243 h 1263"/>
              <a:gd name="T22" fmla="*/ 267 w 2186"/>
              <a:gd name="T23" fmla="*/ 255 h 1263"/>
              <a:gd name="T24" fmla="*/ 291 w 2186"/>
              <a:gd name="T25" fmla="*/ 289 h 1263"/>
              <a:gd name="T26" fmla="*/ 307 w 2186"/>
              <a:gd name="T27" fmla="*/ 319 h 1263"/>
              <a:gd name="T28" fmla="*/ 317 w 2186"/>
              <a:gd name="T29" fmla="*/ 333 h 1263"/>
              <a:gd name="T30" fmla="*/ 347 w 2186"/>
              <a:gd name="T31" fmla="*/ 348 h 1263"/>
              <a:gd name="T32" fmla="*/ 357 w 2186"/>
              <a:gd name="T33" fmla="*/ 388 h 1263"/>
              <a:gd name="T34" fmla="*/ 381 w 2186"/>
              <a:gd name="T35" fmla="*/ 402 h 1263"/>
              <a:gd name="T36" fmla="*/ 389 w 2186"/>
              <a:gd name="T37" fmla="*/ 442 h 1263"/>
              <a:gd name="T38" fmla="*/ 409 w 2186"/>
              <a:gd name="T39" fmla="*/ 452 h 1263"/>
              <a:gd name="T40" fmla="*/ 421 w 2186"/>
              <a:gd name="T41" fmla="*/ 484 h 1263"/>
              <a:gd name="T42" fmla="*/ 443 w 2186"/>
              <a:gd name="T43" fmla="*/ 504 h 1263"/>
              <a:gd name="T44" fmla="*/ 457 w 2186"/>
              <a:gd name="T45" fmla="*/ 534 h 1263"/>
              <a:gd name="T46" fmla="*/ 483 w 2186"/>
              <a:gd name="T47" fmla="*/ 550 h 1263"/>
              <a:gd name="T48" fmla="*/ 499 w 2186"/>
              <a:gd name="T49" fmla="*/ 593 h 1263"/>
              <a:gd name="T50" fmla="*/ 531 w 2186"/>
              <a:gd name="T51" fmla="*/ 599 h 1263"/>
              <a:gd name="T52" fmla="*/ 541 w 2186"/>
              <a:gd name="T53" fmla="*/ 629 h 1263"/>
              <a:gd name="T54" fmla="*/ 569 w 2186"/>
              <a:gd name="T55" fmla="*/ 645 h 1263"/>
              <a:gd name="T56" fmla="*/ 587 w 2186"/>
              <a:gd name="T57" fmla="*/ 679 h 1263"/>
              <a:gd name="T58" fmla="*/ 639 w 2186"/>
              <a:gd name="T59" fmla="*/ 691 h 1263"/>
              <a:gd name="T60" fmla="*/ 673 w 2186"/>
              <a:gd name="T61" fmla="*/ 741 h 1263"/>
              <a:gd name="T62" fmla="*/ 705 w 2186"/>
              <a:gd name="T63" fmla="*/ 759 h 1263"/>
              <a:gd name="T64" fmla="*/ 721 w 2186"/>
              <a:gd name="T65" fmla="*/ 779 h 1263"/>
              <a:gd name="T66" fmla="*/ 759 w 2186"/>
              <a:gd name="T67" fmla="*/ 791 h 1263"/>
              <a:gd name="T68" fmla="*/ 803 w 2186"/>
              <a:gd name="T69" fmla="*/ 811 h 1263"/>
              <a:gd name="T70" fmla="*/ 867 w 2186"/>
              <a:gd name="T71" fmla="*/ 821 h 1263"/>
              <a:gd name="T72" fmla="*/ 879 w 2186"/>
              <a:gd name="T73" fmla="*/ 844 h 1263"/>
              <a:gd name="T74" fmla="*/ 895 w 2186"/>
              <a:gd name="T75" fmla="*/ 854 h 1263"/>
              <a:gd name="T76" fmla="*/ 913 w 2186"/>
              <a:gd name="T77" fmla="*/ 882 h 1263"/>
              <a:gd name="T78" fmla="*/ 943 w 2186"/>
              <a:gd name="T79" fmla="*/ 898 h 1263"/>
              <a:gd name="T80" fmla="*/ 953 w 2186"/>
              <a:gd name="T81" fmla="*/ 928 h 1263"/>
              <a:gd name="T82" fmla="*/ 999 w 2186"/>
              <a:gd name="T83" fmla="*/ 942 h 1263"/>
              <a:gd name="T84" fmla="*/ 1041 w 2186"/>
              <a:gd name="T85" fmla="*/ 962 h 1263"/>
              <a:gd name="T86" fmla="*/ 1115 w 2186"/>
              <a:gd name="T87" fmla="*/ 972 h 1263"/>
              <a:gd name="T88" fmla="*/ 1153 w 2186"/>
              <a:gd name="T89" fmla="*/ 998 h 1263"/>
              <a:gd name="T90" fmla="*/ 1333 w 2186"/>
              <a:gd name="T91" fmla="*/ 1014 h 1263"/>
              <a:gd name="T92" fmla="*/ 1345 w 2186"/>
              <a:gd name="T93" fmla="*/ 1040 h 1263"/>
              <a:gd name="T94" fmla="*/ 1380 w 2186"/>
              <a:gd name="T95" fmla="*/ 1054 h 1263"/>
              <a:gd name="T96" fmla="*/ 1514 w 2186"/>
              <a:gd name="T97" fmla="*/ 1086 h 1263"/>
              <a:gd name="T98" fmla="*/ 1878 w 2186"/>
              <a:gd name="T99" fmla="*/ 1115 h 1263"/>
              <a:gd name="T100" fmla="*/ 2022 w 2186"/>
              <a:gd name="T101" fmla="*/ 1197 h 1263"/>
              <a:gd name="T102" fmla="*/ 2186 w 2186"/>
              <a:gd name="T103" fmla="*/ 1263 h 1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186" h="1263">
                <a:moveTo>
                  <a:pt x="0" y="0"/>
                </a:moveTo>
                <a:lnTo>
                  <a:pt x="10" y="0"/>
                </a:lnTo>
                <a:lnTo>
                  <a:pt x="10" y="22"/>
                </a:lnTo>
                <a:lnTo>
                  <a:pt x="30" y="22"/>
                </a:lnTo>
                <a:lnTo>
                  <a:pt x="30" y="34"/>
                </a:lnTo>
                <a:lnTo>
                  <a:pt x="50" y="34"/>
                </a:lnTo>
                <a:lnTo>
                  <a:pt x="50" y="44"/>
                </a:lnTo>
                <a:lnTo>
                  <a:pt x="64" y="44"/>
                </a:lnTo>
                <a:lnTo>
                  <a:pt x="64" y="54"/>
                </a:lnTo>
                <a:lnTo>
                  <a:pt x="72" y="54"/>
                </a:lnTo>
                <a:lnTo>
                  <a:pt x="72" y="64"/>
                </a:lnTo>
                <a:lnTo>
                  <a:pt x="86" y="64"/>
                </a:lnTo>
                <a:lnTo>
                  <a:pt x="86" y="76"/>
                </a:lnTo>
                <a:lnTo>
                  <a:pt x="102" y="76"/>
                </a:lnTo>
                <a:lnTo>
                  <a:pt x="102" y="89"/>
                </a:lnTo>
                <a:lnTo>
                  <a:pt x="116" y="89"/>
                </a:lnTo>
                <a:lnTo>
                  <a:pt x="116" y="109"/>
                </a:lnTo>
                <a:lnTo>
                  <a:pt x="136" y="109"/>
                </a:lnTo>
                <a:lnTo>
                  <a:pt x="136" y="123"/>
                </a:lnTo>
                <a:lnTo>
                  <a:pt x="146" y="123"/>
                </a:lnTo>
                <a:lnTo>
                  <a:pt x="146" y="143"/>
                </a:lnTo>
                <a:lnTo>
                  <a:pt x="156" y="143"/>
                </a:lnTo>
                <a:lnTo>
                  <a:pt x="156" y="157"/>
                </a:lnTo>
                <a:lnTo>
                  <a:pt x="176" y="157"/>
                </a:lnTo>
                <a:lnTo>
                  <a:pt x="176" y="173"/>
                </a:lnTo>
                <a:lnTo>
                  <a:pt x="188" y="173"/>
                </a:lnTo>
                <a:lnTo>
                  <a:pt x="188" y="195"/>
                </a:lnTo>
                <a:lnTo>
                  <a:pt x="198" y="195"/>
                </a:lnTo>
                <a:lnTo>
                  <a:pt x="198" y="211"/>
                </a:lnTo>
                <a:lnTo>
                  <a:pt x="212" y="211"/>
                </a:lnTo>
                <a:lnTo>
                  <a:pt x="212" y="227"/>
                </a:lnTo>
                <a:lnTo>
                  <a:pt x="234" y="227"/>
                </a:lnTo>
                <a:lnTo>
                  <a:pt x="234" y="243"/>
                </a:lnTo>
                <a:lnTo>
                  <a:pt x="255" y="243"/>
                </a:lnTo>
                <a:lnTo>
                  <a:pt x="255" y="255"/>
                </a:lnTo>
                <a:lnTo>
                  <a:pt x="267" y="255"/>
                </a:lnTo>
                <a:lnTo>
                  <a:pt x="267" y="265"/>
                </a:lnTo>
                <a:lnTo>
                  <a:pt x="291" y="265"/>
                </a:lnTo>
                <a:lnTo>
                  <a:pt x="291" y="289"/>
                </a:lnTo>
                <a:lnTo>
                  <a:pt x="299" y="289"/>
                </a:lnTo>
                <a:lnTo>
                  <a:pt x="299" y="319"/>
                </a:lnTo>
                <a:lnTo>
                  <a:pt x="307" y="319"/>
                </a:lnTo>
                <a:lnTo>
                  <a:pt x="307" y="327"/>
                </a:lnTo>
                <a:lnTo>
                  <a:pt x="317" y="327"/>
                </a:lnTo>
                <a:lnTo>
                  <a:pt x="317" y="333"/>
                </a:lnTo>
                <a:lnTo>
                  <a:pt x="331" y="333"/>
                </a:lnTo>
                <a:lnTo>
                  <a:pt x="331" y="348"/>
                </a:lnTo>
                <a:lnTo>
                  <a:pt x="347" y="348"/>
                </a:lnTo>
                <a:lnTo>
                  <a:pt x="347" y="362"/>
                </a:lnTo>
                <a:lnTo>
                  <a:pt x="357" y="362"/>
                </a:lnTo>
                <a:lnTo>
                  <a:pt x="357" y="388"/>
                </a:lnTo>
                <a:lnTo>
                  <a:pt x="371" y="388"/>
                </a:lnTo>
                <a:lnTo>
                  <a:pt x="371" y="402"/>
                </a:lnTo>
                <a:lnTo>
                  <a:pt x="381" y="402"/>
                </a:lnTo>
                <a:lnTo>
                  <a:pt x="381" y="420"/>
                </a:lnTo>
                <a:lnTo>
                  <a:pt x="389" y="420"/>
                </a:lnTo>
                <a:lnTo>
                  <a:pt x="389" y="442"/>
                </a:lnTo>
                <a:lnTo>
                  <a:pt x="397" y="442"/>
                </a:lnTo>
                <a:lnTo>
                  <a:pt x="397" y="452"/>
                </a:lnTo>
                <a:lnTo>
                  <a:pt x="409" y="452"/>
                </a:lnTo>
                <a:lnTo>
                  <a:pt x="409" y="464"/>
                </a:lnTo>
                <a:lnTo>
                  <a:pt x="421" y="464"/>
                </a:lnTo>
                <a:lnTo>
                  <a:pt x="421" y="484"/>
                </a:lnTo>
                <a:lnTo>
                  <a:pt x="429" y="484"/>
                </a:lnTo>
                <a:lnTo>
                  <a:pt x="429" y="504"/>
                </a:lnTo>
                <a:lnTo>
                  <a:pt x="443" y="504"/>
                </a:lnTo>
                <a:lnTo>
                  <a:pt x="443" y="520"/>
                </a:lnTo>
                <a:lnTo>
                  <a:pt x="457" y="520"/>
                </a:lnTo>
                <a:lnTo>
                  <a:pt x="457" y="534"/>
                </a:lnTo>
                <a:lnTo>
                  <a:pt x="471" y="534"/>
                </a:lnTo>
                <a:lnTo>
                  <a:pt x="471" y="550"/>
                </a:lnTo>
                <a:lnTo>
                  <a:pt x="483" y="550"/>
                </a:lnTo>
                <a:lnTo>
                  <a:pt x="483" y="568"/>
                </a:lnTo>
                <a:lnTo>
                  <a:pt x="499" y="568"/>
                </a:lnTo>
                <a:lnTo>
                  <a:pt x="499" y="593"/>
                </a:lnTo>
                <a:lnTo>
                  <a:pt x="515" y="593"/>
                </a:lnTo>
                <a:lnTo>
                  <a:pt x="515" y="599"/>
                </a:lnTo>
                <a:lnTo>
                  <a:pt x="531" y="599"/>
                </a:lnTo>
                <a:lnTo>
                  <a:pt x="531" y="613"/>
                </a:lnTo>
                <a:lnTo>
                  <a:pt x="541" y="613"/>
                </a:lnTo>
                <a:lnTo>
                  <a:pt x="541" y="629"/>
                </a:lnTo>
                <a:lnTo>
                  <a:pt x="555" y="629"/>
                </a:lnTo>
                <a:lnTo>
                  <a:pt x="555" y="645"/>
                </a:lnTo>
                <a:lnTo>
                  <a:pt x="569" y="645"/>
                </a:lnTo>
                <a:lnTo>
                  <a:pt x="569" y="661"/>
                </a:lnTo>
                <a:lnTo>
                  <a:pt x="587" y="661"/>
                </a:lnTo>
                <a:lnTo>
                  <a:pt x="587" y="679"/>
                </a:lnTo>
                <a:lnTo>
                  <a:pt x="625" y="679"/>
                </a:lnTo>
                <a:lnTo>
                  <a:pt x="625" y="691"/>
                </a:lnTo>
                <a:lnTo>
                  <a:pt x="639" y="691"/>
                </a:lnTo>
                <a:lnTo>
                  <a:pt x="639" y="725"/>
                </a:lnTo>
                <a:lnTo>
                  <a:pt x="673" y="725"/>
                </a:lnTo>
                <a:lnTo>
                  <a:pt x="673" y="741"/>
                </a:lnTo>
                <a:lnTo>
                  <a:pt x="693" y="741"/>
                </a:lnTo>
                <a:lnTo>
                  <a:pt x="693" y="759"/>
                </a:lnTo>
                <a:lnTo>
                  <a:pt x="705" y="759"/>
                </a:lnTo>
                <a:lnTo>
                  <a:pt x="705" y="769"/>
                </a:lnTo>
                <a:lnTo>
                  <a:pt x="721" y="769"/>
                </a:lnTo>
                <a:lnTo>
                  <a:pt x="721" y="779"/>
                </a:lnTo>
                <a:lnTo>
                  <a:pt x="739" y="779"/>
                </a:lnTo>
                <a:lnTo>
                  <a:pt x="739" y="791"/>
                </a:lnTo>
                <a:lnTo>
                  <a:pt x="759" y="791"/>
                </a:lnTo>
                <a:lnTo>
                  <a:pt x="759" y="801"/>
                </a:lnTo>
                <a:lnTo>
                  <a:pt x="803" y="801"/>
                </a:lnTo>
                <a:lnTo>
                  <a:pt x="803" y="811"/>
                </a:lnTo>
                <a:lnTo>
                  <a:pt x="855" y="811"/>
                </a:lnTo>
                <a:lnTo>
                  <a:pt x="855" y="821"/>
                </a:lnTo>
                <a:lnTo>
                  <a:pt x="867" y="821"/>
                </a:lnTo>
                <a:lnTo>
                  <a:pt x="867" y="835"/>
                </a:lnTo>
                <a:lnTo>
                  <a:pt x="879" y="835"/>
                </a:lnTo>
                <a:lnTo>
                  <a:pt x="879" y="844"/>
                </a:lnTo>
                <a:lnTo>
                  <a:pt x="887" y="844"/>
                </a:lnTo>
                <a:lnTo>
                  <a:pt x="887" y="854"/>
                </a:lnTo>
                <a:lnTo>
                  <a:pt x="895" y="854"/>
                </a:lnTo>
                <a:lnTo>
                  <a:pt x="895" y="866"/>
                </a:lnTo>
                <a:lnTo>
                  <a:pt x="913" y="866"/>
                </a:lnTo>
                <a:lnTo>
                  <a:pt x="913" y="882"/>
                </a:lnTo>
                <a:lnTo>
                  <a:pt x="931" y="882"/>
                </a:lnTo>
                <a:lnTo>
                  <a:pt x="931" y="898"/>
                </a:lnTo>
                <a:lnTo>
                  <a:pt x="943" y="898"/>
                </a:lnTo>
                <a:lnTo>
                  <a:pt x="943" y="918"/>
                </a:lnTo>
                <a:lnTo>
                  <a:pt x="953" y="918"/>
                </a:lnTo>
                <a:lnTo>
                  <a:pt x="953" y="928"/>
                </a:lnTo>
                <a:lnTo>
                  <a:pt x="989" y="928"/>
                </a:lnTo>
                <a:lnTo>
                  <a:pt x="989" y="942"/>
                </a:lnTo>
                <a:lnTo>
                  <a:pt x="999" y="942"/>
                </a:lnTo>
                <a:lnTo>
                  <a:pt x="999" y="952"/>
                </a:lnTo>
                <a:lnTo>
                  <a:pt x="1041" y="952"/>
                </a:lnTo>
                <a:lnTo>
                  <a:pt x="1041" y="962"/>
                </a:lnTo>
                <a:lnTo>
                  <a:pt x="1087" y="962"/>
                </a:lnTo>
                <a:lnTo>
                  <a:pt x="1087" y="972"/>
                </a:lnTo>
                <a:lnTo>
                  <a:pt x="1115" y="972"/>
                </a:lnTo>
                <a:lnTo>
                  <a:pt x="1115" y="990"/>
                </a:lnTo>
                <a:lnTo>
                  <a:pt x="1153" y="990"/>
                </a:lnTo>
                <a:lnTo>
                  <a:pt x="1153" y="998"/>
                </a:lnTo>
                <a:lnTo>
                  <a:pt x="1207" y="998"/>
                </a:lnTo>
                <a:lnTo>
                  <a:pt x="1207" y="1014"/>
                </a:lnTo>
                <a:lnTo>
                  <a:pt x="1333" y="1014"/>
                </a:lnTo>
                <a:lnTo>
                  <a:pt x="1333" y="1030"/>
                </a:lnTo>
                <a:lnTo>
                  <a:pt x="1345" y="1030"/>
                </a:lnTo>
                <a:lnTo>
                  <a:pt x="1345" y="1040"/>
                </a:lnTo>
                <a:lnTo>
                  <a:pt x="1360" y="1040"/>
                </a:lnTo>
                <a:lnTo>
                  <a:pt x="1360" y="1054"/>
                </a:lnTo>
                <a:lnTo>
                  <a:pt x="1380" y="1054"/>
                </a:lnTo>
                <a:lnTo>
                  <a:pt x="1380" y="1066"/>
                </a:lnTo>
                <a:lnTo>
                  <a:pt x="1514" y="1066"/>
                </a:lnTo>
                <a:lnTo>
                  <a:pt x="1514" y="1086"/>
                </a:lnTo>
                <a:lnTo>
                  <a:pt x="1698" y="1086"/>
                </a:lnTo>
                <a:lnTo>
                  <a:pt x="1698" y="1115"/>
                </a:lnTo>
                <a:lnTo>
                  <a:pt x="1878" y="1115"/>
                </a:lnTo>
                <a:lnTo>
                  <a:pt x="1878" y="1157"/>
                </a:lnTo>
                <a:lnTo>
                  <a:pt x="2022" y="1157"/>
                </a:lnTo>
                <a:lnTo>
                  <a:pt x="2022" y="1197"/>
                </a:lnTo>
                <a:lnTo>
                  <a:pt x="2164" y="1197"/>
                </a:lnTo>
                <a:lnTo>
                  <a:pt x="2164" y="1263"/>
                </a:lnTo>
                <a:lnTo>
                  <a:pt x="2186" y="1263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5" name="Freeform 73">
            <a:extLst>
              <a:ext uri="{FF2B5EF4-FFF2-40B4-BE49-F238E27FC236}">
                <a16:creationId xmlns:a16="http://schemas.microsoft.com/office/drawing/2014/main" id="{7FDC2267-D056-4E14-A094-DE735F6404E7}"/>
              </a:ext>
            </a:extLst>
          </p:cNvPr>
          <p:cNvSpPr>
            <a:spLocks noEditPoints="1"/>
          </p:cNvSpPr>
          <p:nvPr/>
        </p:nvSpPr>
        <p:spPr bwMode="auto">
          <a:xfrm>
            <a:off x="4633092" y="4016399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Freeform 110">
            <a:extLst>
              <a:ext uri="{FF2B5EF4-FFF2-40B4-BE49-F238E27FC236}">
                <a16:creationId xmlns:a16="http://schemas.microsoft.com/office/drawing/2014/main" id="{498891BC-C902-4BAF-B53A-F2D766BE6350}"/>
              </a:ext>
            </a:extLst>
          </p:cNvPr>
          <p:cNvSpPr>
            <a:spLocks noEditPoints="1"/>
          </p:cNvSpPr>
          <p:nvPr/>
        </p:nvSpPr>
        <p:spPr bwMode="auto">
          <a:xfrm>
            <a:off x="4423543" y="3910087"/>
            <a:ext cx="93716" cy="99962"/>
          </a:xfrm>
          <a:custGeom>
            <a:avLst/>
            <a:gdLst>
              <a:gd name="T0" fmla="*/ 14 w 30"/>
              <a:gd name="T1" fmla="*/ 0 h 32"/>
              <a:gd name="T2" fmla="*/ 14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4" y="0"/>
                </a:moveTo>
                <a:lnTo>
                  <a:pt x="14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Freeform 111">
            <a:extLst>
              <a:ext uri="{FF2B5EF4-FFF2-40B4-BE49-F238E27FC236}">
                <a16:creationId xmlns:a16="http://schemas.microsoft.com/office/drawing/2014/main" id="{12E5DB9B-5367-4D42-857F-718F8B0AF905}"/>
              </a:ext>
            </a:extLst>
          </p:cNvPr>
          <p:cNvSpPr>
            <a:spLocks noEditPoints="1"/>
          </p:cNvSpPr>
          <p:nvPr/>
        </p:nvSpPr>
        <p:spPr bwMode="auto">
          <a:xfrm>
            <a:off x="4090168" y="3779912"/>
            <a:ext cx="93716" cy="99962"/>
          </a:xfrm>
          <a:custGeom>
            <a:avLst/>
            <a:gdLst>
              <a:gd name="T0" fmla="*/ 16 w 30"/>
              <a:gd name="T1" fmla="*/ 0 h 32"/>
              <a:gd name="T2" fmla="*/ 16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6" y="0"/>
                </a:moveTo>
                <a:lnTo>
                  <a:pt x="16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Freeform 112">
            <a:extLst>
              <a:ext uri="{FF2B5EF4-FFF2-40B4-BE49-F238E27FC236}">
                <a16:creationId xmlns:a16="http://schemas.microsoft.com/office/drawing/2014/main" id="{433489A1-207A-4E20-BE0F-FAAE70D15E43}"/>
              </a:ext>
            </a:extLst>
          </p:cNvPr>
          <p:cNvSpPr>
            <a:spLocks noEditPoints="1"/>
          </p:cNvSpPr>
          <p:nvPr/>
        </p:nvSpPr>
        <p:spPr bwMode="auto">
          <a:xfrm>
            <a:off x="3917182" y="3779912"/>
            <a:ext cx="99962" cy="99962"/>
          </a:xfrm>
          <a:custGeom>
            <a:avLst/>
            <a:gdLst>
              <a:gd name="T0" fmla="*/ 16 w 32"/>
              <a:gd name="T1" fmla="*/ 0 h 32"/>
              <a:gd name="T2" fmla="*/ 16 w 32"/>
              <a:gd name="T3" fmla="*/ 32 h 32"/>
              <a:gd name="T4" fmla="*/ 32 w 32"/>
              <a:gd name="T5" fmla="*/ 16 h 32"/>
              <a:gd name="T6" fmla="*/ 0 w 32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2">
                <a:moveTo>
                  <a:pt x="16" y="0"/>
                </a:moveTo>
                <a:lnTo>
                  <a:pt x="16" y="32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Freeform 113">
            <a:extLst>
              <a:ext uri="{FF2B5EF4-FFF2-40B4-BE49-F238E27FC236}">
                <a16:creationId xmlns:a16="http://schemas.microsoft.com/office/drawing/2014/main" id="{AE2B34E4-36E0-4C75-B91D-05D156A0F454}"/>
              </a:ext>
            </a:extLst>
          </p:cNvPr>
          <p:cNvSpPr>
            <a:spLocks noEditPoints="1"/>
          </p:cNvSpPr>
          <p:nvPr/>
        </p:nvSpPr>
        <p:spPr bwMode="auto">
          <a:xfrm>
            <a:off x="3763142" y="3734643"/>
            <a:ext cx="93718" cy="96838"/>
          </a:xfrm>
          <a:custGeom>
            <a:avLst/>
            <a:gdLst>
              <a:gd name="T0" fmla="*/ 14 w 30"/>
              <a:gd name="T1" fmla="*/ 0 h 31"/>
              <a:gd name="T2" fmla="*/ 14 w 30"/>
              <a:gd name="T3" fmla="*/ 31 h 31"/>
              <a:gd name="T4" fmla="*/ 30 w 30"/>
              <a:gd name="T5" fmla="*/ 16 h 31"/>
              <a:gd name="T6" fmla="*/ 0 w 30"/>
              <a:gd name="T7" fmla="*/ 1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1">
                <a:moveTo>
                  <a:pt x="14" y="0"/>
                </a:moveTo>
                <a:lnTo>
                  <a:pt x="14" y="31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0" name="Freeform 114">
            <a:extLst>
              <a:ext uri="{FF2B5EF4-FFF2-40B4-BE49-F238E27FC236}">
                <a16:creationId xmlns:a16="http://schemas.microsoft.com/office/drawing/2014/main" id="{1569435C-6B45-4412-A1DA-920E1EC16FF7}"/>
              </a:ext>
            </a:extLst>
          </p:cNvPr>
          <p:cNvSpPr>
            <a:spLocks noEditPoints="1"/>
          </p:cNvSpPr>
          <p:nvPr/>
        </p:nvSpPr>
        <p:spPr bwMode="auto">
          <a:xfrm>
            <a:off x="3726682" y="3734643"/>
            <a:ext cx="99962" cy="96838"/>
          </a:xfrm>
          <a:custGeom>
            <a:avLst/>
            <a:gdLst>
              <a:gd name="T0" fmla="*/ 16 w 32"/>
              <a:gd name="T1" fmla="*/ 0 h 31"/>
              <a:gd name="T2" fmla="*/ 16 w 32"/>
              <a:gd name="T3" fmla="*/ 31 h 31"/>
              <a:gd name="T4" fmla="*/ 32 w 32"/>
              <a:gd name="T5" fmla="*/ 16 h 31"/>
              <a:gd name="T6" fmla="*/ 0 w 32"/>
              <a:gd name="T7" fmla="*/ 1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1">
                <a:moveTo>
                  <a:pt x="16" y="0"/>
                </a:moveTo>
                <a:lnTo>
                  <a:pt x="16" y="31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1" name="Freeform 115">
            <a:extLst>
              <a:ext uri="{FF2B5EF4-FFF2-40B4-BE49-F238E27FC236}">
                <a16:creationId xmlns:a16="http://schemas.microsoft.com/office/drawing/2014/main" id="{2D593C87-24ED-45A4-AF41-BBE26F741C7E}"/>
              </a:ext>
            </a:extLst>
          </p:cNvPr>
          <p:cNvSpPr>
            <a:spLocks noEditPoints="1"/>
          </p:cNvSpPr>
          <p:nvPr/>
        </p:nvSpPr>
        <p:spPr bwMode="auto">
          <a:xfrm>
            <a:off x="3479031" y="3706836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2" name="Freeform 116">
            <a:extLst>
              <a:ext uri="{FF2B5EF4-FFF2-40B4-BE49-F238E27FC236}">
                <a16:creationId xmlns:a16="http://schemas.microsoft.com/office/drawing/2014/main" id="{B231E8D2-9A23-4BFD-BBC0-F4EE4E6797C1}"/>
              </a:ext>
            </a:extLst>
          </p:cNvPr>
          <p:cNvSpPr>
            <a:spLocks noEditPoints="1"/>
          </p:cNvSpPr>
          <p:nvPr/>
        </p:nvSpPr>
        <p:spPr bwMode="auto">
          <a:xfrm>
            <a:off x="3553592" y="370683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Freeform 117">
            <a:extLst>
              <a:ext uri="{FF2B5EF4-FFF2-40B4-BE49-F238E27FC236}">
                <a16:creationId xmlns:a16="http://schemas.microsoft.com/office/drawing/2014/main" id="{83DED1BE-1BC6-43E5-B6F8-23F1103CB523}"/>
              </a:ext>
            </a:extLst>
          </p:cNvPr>
          <p:cNvSpPr>
            <a:spLocks noEditPoints="1"/>
          </p:cNvSpPr>
          <p:nvPr/>
        </p:nvSpPr>
        <p:spPr bwMode="auto">
          <a:xfrm>
            <a:off x="3448817" y="3706836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" name="Freeform 118">
            <a:extLst>
              <a:ext uri="{FF2B5EF4-FFF2-40B4-BE49-F238E27FC236}">
                <a16:creationId xmlns:a16="http://schemas.microsoft.com/office/drawing/2014/main" id="{96CA1D2C-06CD-41DC-B38A-8B849B9A95D4}"/>
              </a:ext>
            </a:extLst>
          </p:cNvPr>
          <p:cNvSpPr>
            <a:spLocks noEditPoints="1"/>
          </p:cNvSpPr>
          <p:nvPr/>
        </p:nvSpPr>
        <p:spPr bwMode="auto">
          <a:xfrm>
            <a:off x="3330626" y="3687786"/>
            <a:ext cx="103088" cy="93714"/>
          </a:xfrm>
          <a:custGeom>
            <a:avLst/>
            <a:gdLst>
              <a:gd name="T0" fmla="*/ 17 w 33"/>
              <a:gd name="T1" fmla="*/ 0 h 30"/>
              <a:gd name="T2" fmla="*/ 17 w 33"/>
              <a:gd name="T3" fmla="*/ 30 h 30"/>
              <a:gd name="T4" fmla="*/ 33 w 33"/>
              <a:gd name="T5" fmla="*/ 14 h 30"/>
              <a:gd name="T6" fmla="*/ 0 w 33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3" h="30">
                <a:moveTo>
                  <a:pt x="17" y="0"/>
                </a:moveTo>
                <a:lnTo>
                  <a:pt x="17" y="30"/>
                </a:lnTo>
                <a:moveTo>
                  <a:pt x="33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5" name="Freeform 119">
            <a:extLst>
              <a:ext uri="{FF2B5EF4-FFF2-40B4-BE49-F238E27FC236}">
                <a16:creationId xmlns:a16="http://schemas.microsoft.com/office/drawing/2014/main" id="{CD2586D7-84A3-42FF-BB17-04008B0F0A33}"/>
              </a:ext>
            </a:extLst>
          </p:cNvPr>
          <p:cNvSpPr>
            <a:spLocks noEditPoints="1"/>
          </p:cNvSpPr>
          <p:nvPr/>
        </p:nvSpPr>
        <p:spPr bwMode="auto">
          <a:xfrm>
            <a:off x="3190055" y="362111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6" name="Freeform 120">
            <a:extLst>
              <a:ext uri="{FF2B5EF4-FFF2-40B4-BE49-F238E27FC236}">
                <a16:creationId xmlns:a16="http://schemas.microsoft.com/office/drawing/2014/main" id="{EADC53D9-6EDA-4B3A-B327-288B564D8BEC}"/>
              </a:ext>
            </a:extLst>
          </p:cNvPr>
          <p:cNvSpPr>
            <a:spLocks noEditPoints="1"/>
          </p:cNvSpPr>
          <p:nvPr/>
        </p:nvSpPr>
        <p:spPr bwMode="auto">
          <a:xfrm>
            <a:off x="3153594" y="3621111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7" name="Freeform 121">
            <a:extLst>
              <a:ext uri="{FF2B5EF4-FFF2-40B4-BE49-F238E27FC236}">
                <a16:creationId xmlns:a16="http://schemas.microsoft.com/office/drawing/2014/main" id="{4146C9D2-6E30-4251-9FAF-D7DC974C8D34}"/>
              </a:ext>
            </a:extLst>
          </p:cNvPr>
          <p:cNvSpPr>
            <a:spLocks noEditPoints="1"/>
          </p:cNvSpPr>
          <p:nvPr/>
        </p:nvSpPr>
        <p:spPr bwMode="auto">
          <a:xfrm>
            <a:off x="3121844" y="3621111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8" name="Freeform 122">
            <a:extLst>
              <a:ext uri="{FF2B5EF4-FFF2-40B4-BE49-F238E27FC236}">
                <a16:creationId xmlns:a16="http://schemas.microsoft.com/office/drawing/2014/main" id="{A90588FA-20D6-4FA9-AB6C-02477F916246}"/>
              </a:ext>
            </a:extLst>
          </p:cNvPr>
          <p:cNvSpPr>
            <a:spLocks noEditPoints="1"/>
          </p:cNvSpPr>
          <p:nvPr/>
        </p:nvSpPr>
        <p:spPr bwMode="auto">
          <a:xfrm>
            <a:off x="2869381" y="3537024"/>
            <a:ext cx="93716" cy="99962"/>
          </a:xfrm>
          <a:custGeom>
            <a:avLst/>
            <a:gdLst>
              <a:gd name="T0" fmla="*/ 16 w 30"/>
              <a:gd name="T1" fmla="*/ 0 h 32"/>
              <a:gd name="T2" fmla="*/ 16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6" y="0"/>
                </a:moveTo>
                <a:lnTo>
                  <a:pt x="16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Freeform 123">
            <a:extLst>
              <a:ext uri="{FF2B5EF4-FFF2-40B4-BE49-F238E27FC236}">
                <a16:creationId xmlns:a16="http://schemas.microsoft.com/office/drawing/2014/main" id="{B2D69D66-C14B-4704-AB9A-E88C9952E238}"/>
              </a:ext>
            </a:extLst>
          </p:cNvPr>
          <p:cNvSpPr>
            <a:spLocks noEditPoints="1"/>
          </p:cNvSpPr>
          <p:nvPr/>
        </p:nvSpPr>
        <p:spPr bwMode="auto">
          <a:xfrm>
            <a:off x="2761430" y="351951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0" name="Freeform 124">
            <a:extLst>
              <a:ext uri="{FF2B5EF4-FFF2-40B4-BE49-F238E27FC236}">
                <a16:creationId xmlns:a16="http://schemas.microsoft.com/office/drawing/2014/main" id="{39634EF5-8EB2-4584-8899-2A71DDC14FE5}"/>
              </a:ext>
            </a:extLst>
          </p:cNvPr>
          <p:cNvSpPr>
            <a:spLocks noEditPoints="1"/>
          </p:cNvSpPr>
          <p:nvPr/>
        </p:nvSpPr>
        <p:spPr bwMode="auto">
          <a:xfrm>
            <a:off x="2669355" y="346871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1" name="Freeform 125">
            <a:extLst>
              <a:ext uri="{FF2B5EF4-FFF2-40B4-BE49-F238E27FC236}">
                <a16:creationId xmlns:a16="http://schemas.microsoft.com/office/drawing/2014/main" id="{00B12B7C-28D7-4ECE-AB53-D74460694596}"/>
              </a:ext>
            </a:extLst>
          </p:cNvPr>
          <p:cNvSpPr>
            <a:spLocks noEditPoints="1"/>
          </p:cNvSpPr>
          <p:nvPr/>
        </p:nvSpPr>
        <p:spPr bwMode="auto">
          <a:xfrm>
            <a:off x="2501080" y="3298849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Freeform 126">
            <a:extLst>
              <a:ext uri="{FF2B5EF4-FFF2-40B4-BE49-F238E27FC236}">
                <a16:creationId xmlns:a16="http://schemas.microsoft.com/office/drawing/2014/main" id="{72A9EC55-AA29-4C5B-A8F7-F8EAB66244DE}"/>
              </a:ext>
            </a:extLst>
          </p:cNvPr>
          <p:cNvSpPr>
            <a:spLocks noEditPoints="1"/>
          </p:cNvSpPr>
          <p:nvPr/>
        </p:nvSpPr>
        <p:spPr bwMode="auto">
          <a:xfrm>
            <a:off x="2455094" y="3298849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3" name="Freeform 127">
            <a:extLst>
              <a:ext uri="{FF2B5EF4-FFF2-40B4-BE49-F238E27FC236}">
                <a16:creationId xmlns:a16="http://schemas.microsoft.com/office/drawing/2014/main" id="{71A02340-662F-4D13-8FBB-8E1F0F0A9A5C}"/>
              </a:ext>
            </a:extLst>
          </p:cNvPr>
          <p:cNvSpPr>
            <a:spLocks noEditPoints="1"/>
          </p:cNvSpPr>
          <p:nvPr/>
        </p:nvSpPr>
        <p:spPr bwMode="auto">
          <a:xfrm>
            <a:off x="2396305" y="3286149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4" name="Freeform 128">
            <a:extLst>
              <a:ext uri="{FF2B5EF4-FFF2-40B4-BE49-F238E27FC236}">
                <a16:creationId xmlns:a16="http://schemas.microsoft.com/office/drawing/2014/main" id="{57897535-EF49-4800-8445-CF6F9BAFEBF4}"/>
              </a:ext>
            </a:extLst>
          </p:cNvPr>
          <p:cNvSpPr>
            <a:spLocks noEditPoints="1"/>
          </p:cNvSpPr>
          <p:nvPr/>
        </p:nvSpPr>
        <p:spPr bwMode="auto">
          <a:xfrm>
            <a:off x="2350319" y="3273449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Freeform 129">
            <a:extLst>
              <a:ext uri="{FF2B5EF4-FFF2-40B4-BE49-F238E27FC236}">
                <a16:creationId xmlns:a16="http://schemas.microsoft.com/office/drawing/2014/main" id="{EBD3C81F-57AB-48CE-9B55-0DC1C92008C7}"/>
              </a:ext>
            </a:extLst>
          </p:cNvPr>
          <p:cNvSpPr>
            <a:spLocks noEditPoints="1"/>
          </p:cNvSpPr>
          <p:nvPr/>
        </p:nvSpPr>
        <p:spPr bwMode="auto">
          <a:xfrm>
            <a:off x="2329630" y="3257574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6" name="Freeform 130">
            <a:extLst>
              <a:ext uri="{FF2B5EF4-FFF2-40B4-BE49-F238E27FC236}">
                <a16:creationId xmlns:a16="http://schemas.microsoft.com/office/drawing/2014/main" id="{467FC34F-BC4A-443F-9756-8D8234F29BE3}"/>
              </a:ext>
            </a:extLst>
          </p:cNvPr>
          <p:cNvSpPr>
            <a:spLocks noEditPoints="1"/>
          </p:cNvSpPr>
          <p:nvPr/>
        </p:nvSpPr>
        <p:spPr bwMode="auto">
          <a:xfrm>
            <a:off x="2304230" y="3241699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Freeform 131">
            <a:extLst>
              <a:ext uri="{FF2B5EF4-FFF2-40B4-BE49-F238E27FC236}">
                <a16:creationId xmlns:a16="http://schemas.microsoft.com/office/drawing/2014/main" id="{2055EA18-D62F-4109-B1C1-6ECF868703DD}"/>
              </a:ext>
            </a:extLst>
          </p:cNvPr>
          <p:cNvSpPr>
            <a:spLocks noEditPoints="1"/>
          </p:cNvSpPr>
          <p:nvPr/>
        </p:nvSpPr>
        <p:spPr bwMode="auto">
          <a:xfrm>
            <a:off x="2282006" y="3224287"/>
            <a:ext cx="93716" cy="99962"/>
          </a:xfrm>
          <a:custGeom>
            <a:avLst/>
            <a:gdLst>
              <a:gd name="T0" fmla="*/ 14 w 30"/>
              <a:gd name="T1" fmla="*/ 0 h 32"/>
              <a:gd name="T2" fmla="*/ 14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4" y="0"/>
                </a:moveTo>
                <a:lnTo>
                  <a:pt x="14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8" name="Freeform 132">
            <a:extLst>
              <a:ext uri="{FF2B5EF4-FFF2-40B4-BE49-F238E27FC236}">
                <a16:creationId xmlns:a16="http://schemas.microsoft.com/office/drawing/2014/main" id="{D9494C15-BF63-4618-900E-45512A0470B9}"/>
              </a:ext>
            </a:extLst>
          </p:cNvPr>
          <p:cNvSpPr>
            <a:spLocks noEditPoints="1"/>
          </p:cNvSpPr>
          <p:nvPr/>
        </p:nvSpPr>
        <p:spPr bwMode="auto">
          <a:xfrm>
            <a:off x="2266130" y="3213124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9" name="Freeform 133">
            <a:extLst>
              <a:ext uri="{FF2B5EF4-FFF2-40B4-BE49-F238E27FC236}">
                <a16:creationId xmlns:a16="http://schemas.microsoft.com/office/drawing/2014/main" id="{06F0E023-F232-4510-997A-24690E9C116A}"/>
              </a:ext>
            </a:extLst>
          </p:cNvPr>
          <p:cNvSpPr>
            <a:spLocks noEditPoints="1"/>
          </p:cNvSpPr>
          <p:nvPr/>
        </p:nvSpPr>
        <p:spPr bwMode="auto">
          <a:xfrm>
            <a:off x="2101031" y="3087762"/>
            <a:ext cx="93716" cy="99962"/>
          </a:xfrm>
          <a:custGeom>
            <a:avLst/>
            <a:gdLst>
              <a:gd name="T0" fmla="*/ 14 w 30"/>
              <a:gd name="T1" fmla="*/ 0 h 32"/>
              <a:gd name="T2" fmla="*/ 14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4" y="0"/>
                </a:moveTo>
                <a:lnTo>
                  <a:pt x="14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0" name="Freeform 134">
            <a:extLst>
              <a:ext uri="{FF2B5EF4-FFF2-40B4-BE49-F238E27FC236}">
                <a16:creationId xmlns:a16="http://schemas.microsoft.com/office/drawing/2014/main" id="{0BD4C544-80A4-4D95-85BD-1B07C6B82184}"/>
              </a:ext>
            </a:extLst>
          </p:cNvPr>
          <p:cNvSpPr>
            <a:spLocks noEditPoints="1"/>
          </p:cNvSpPr>
          <p:nvPr/>
        </p:nvSpPr>
        <p:spPr bwMode="auto">
          <a:xfrm>
            <a:off x="2075630" y="3060724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" name="Freeform 135">
            <a:extLst>
              <a:ext uri="{FF2B5EF4-FFF2-40B4-BE49-F238E27FC236}">
                <a16:creationId xmlns:a16="http://schemas.microsoft.com/office/drawing/2014/main" id="{D61ED3D4-803A-49D7-8E16-2F7DF34B8BC1}"/>
              </a:ext>
            </a:extLst>
          </p:cNvPr>
          <p:cNvSpPr>
            <a:spLocks noEditPoints="1"/>
          </p:cNvSpPr>
          <p:nvPr/>
        </p:nvSpPr>
        <p:spPr bwMode="auto">
          <a:xfrm>
            <a:off x="2062930" y="3041674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" name="Freeform 136">
            <a:extLst>
              <a:ext uri="{FF2B5EF4-FFF2-40B4-BE49-F238E27FC236}">
                <a16:creationId xmlns:a16="http://schemas.microsoft.com/office/drawing/2014/main" id="{DA06F0FD-8596-403A-96C1-DDC8CDF30F05}"/>
              </a:ext>
            </a:extLst>
          </p:cNvPr>
          <p:cNvSpPr>
            <a:spLocks noEditPoints="1"/>
          </p:cNvSpPr>
          <p:nvPr/>
        </p:nvSpPr>
        <p:spPr bwMode="auto">
          <a:xfrm>
            <a:off x="2039169" y="3022624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3" name="Freeform 137">
            <a:extLst>
              <a:ext uri="{FF2B5EF4-FFF2-40B4-BE49-F238E27FC236}">
                <a16:creationId xmlns:a16="http://schemas.microsoft.com/office/drawing/2014/main" id="{67311CB7-7F1B-49A2-8BAA-FC86B40D730B}"/>
              </a:ext>
            </a:extLst>
          </p:cNvPr>
          <p:cNvSpPr>
            <a:spLocks noEditPoints="1"/>
          </p:cNvSpPr>
          <p:nvPr/>
        </p:nvSpPr>
        <p:spPr bwMode="auto">
          <a:xfrm>
            <a:off x="2016944" y="2987699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4" name="Freeform 138">
            <a:extLst>
              <a:ext uri="{FF2B5EF4-FFF2-40B4-BE49-F238E27FC236}">
                <a16:creationId xmlns:a16="http://schemas.microsoft.com/office/drawing/2014/main" id="{DED68587-72FA-499E-9FAF-0B3A5E102379}"/>
              </a:ext>
            </a:extLst>
          </p:cNvPr>
          <p:cNvSpPr>
            <a:spLocks noEditPoints="1"/>
          </p:cNvSpPr>
          <p:nvPr/>
        </p:nvSpPr>
        <p:spPr bwMode="auto">
          <a:xfrm>
            <a:off x="1885130" y="284641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5" name="Freeform 139">
            <a:extLst>
              <a:ext uri="{FF2B5EF4-FFF2-40B4-BE49-F238E27FC236}">
                <a16:creationId xmlns:a16="http://schemas.microsoft.com/office/drawing/2014/main" id="{169B8252-3B94-4D50-85B9-D2CD28E205D6}"/>
              </a:ext>
            </a:extLst>
          </p:cNvPr>
          <p:cNvSpPr>
            <a:spLocks noEditPoints="1"/>
          </p:cNvSpPr>
          <p:nvPr/>
        </p:nvSpPr>
        <p:spPr bwMode="auto">
          <a:xfrm>
            <a:off x="1839145" y="2803599"/>
            <a:ext cx="99962" cy="99962"/>
          </a:xfrm>
          <a:custGeom>
            <a:avLst/>
            <a:gdLst>
              <a:gd name="T0" fmla="*/ 16 w 32"/>
              <a:gd name="T1" fmla="*/ 0 h 32"/>
              <a:gd name="T2" fmla="*/ 16 w 32"/>
              <a:gd name="T3" fmla="*/ 32 h 32"/>
              <a:gd name="T4" fmla="*/ 32 w 32"/>
              <a:gd name="T5" fmla="*/ 16 h 32"/>
              <a:gd name="T6" fmla="*/ 0 w 32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2">
                <a:moveTo>
                  <a:pt x="16" y="0"/>
                </a:moveTo>
                <a:lnTo>
                  <a:pt x="16" y="32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6" name="Freeform 140">
            <a:extLst>
              <a:ext uri="{FF2B5EF4-FFF2-40B4-BE49-F238E27FC236}">
                <a16:creationId xmlns:a16="http://schemas.microsoft.com/office/drawing/2014/main" id="{A943C589-F5A9-4D69-9CD9-E0AA32CEED2D}"/>
              </a:ext>
            </a:extLst>
          </p:cNvPr>
          <p:cNvSpPr>
            <a:spLocks noEditPoints="1"/>
          </p:cNvSpPr>
          <p:nvPr/>
        </p:nvSpPr>
        <p:spPr bwMode="auto">
          <a:xfrm>
            <a:off x="1437506" y="2270149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7" name="Freeform 141">
            <a:extLst>
              <a:ext uri="{FF2B5EF4-FFF2-40B4-BE49-F238E27FC236}">
                <a16:creationId xmlns:a16="http://schemas.microsoft.com/office/drawing/2014/main" id="{CCC89D39-C1CF-44D4-9748-F848B8B0D1AD}"/>
              </a:ext>
            </a:extLst>
          </p:cNvPr>
          <p:cNvSpPr>
            <a:spLocks noEditPoints="1"/>
          </p:cNvSpPr>
          <p:nvPr/>
        </p:nvSpPr>
        <p:spPr bwMode="auto">
          <a:xfrm>
            <a:off x="1394592" y="2228874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8" name="Freeform 142">
            <a:extLst>
              <a:ext uri="{FF2B5EF4-FFF2-40B4-BE49-F238E27FC236}">
                <a16:creationId xmlns:a16="http://schemas.microsoft.com/office/drawing/2014/main" id="{AB2DBBD1-E4E2-4F41-A09C-1479A82F5846}"/>
              </a:ext>
            </a:extLst>
          </p:cNvPr>
          <p:cNvSpPr>
            <a:spLocks noEditPoints="1"/>
          </p:cNvSpPr>
          <p:nvPr/>
        </p:nvSpPr>
        <p:spPr bwMode="auto">
          <a:xfrm>
            <a:off x="1375542" y="2193949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9" name="Freeform 143">
            <a:extLst>
              <a:ext uri="{FF2B5EF4-FFF2-40B4-BE49-F238E27FC236}">
                <a16:creationId xmlns:a16="http://schemas.microsoft.com/office/drawing/2014/main" id="{9AE1A7DD-8089-4E2E-9CE9-A3087F55EE95}"/>
              </a:ext>
            </a:extLst>
          </p:cNvPr>
          <p:cNvSpPr>
            <a:spLocks noEditPoints="1"/>
          </p:cNvSpPr>
          <p:nvPr/>
        </p:nvSpPr>
        <p:spPr bwMode="auto">
          <a:xfrm>
            <a:off x="1223142" y="206536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0" name="Freeform 144">
            <a:extLst>
              <a:ext uri="{FF2B5EF4-FFF2-40B4-BE49-F238E27FC236}">
                <a16:creationId xmlns:a16="http://schemas.microsoft.com/office/drawing/2014/main" id="{56240B11-A842-46A3-91FE-3F1BB71CA422}"/>
              </a:ext>
            </a:extLst>
          </p:cNvPr>
          <p:cNvSpPr>
            <a:spLocks noEditPoints="1"/>
          </p:cNvSpPr>
          <p:nvPr/>
        </p:nvSpPr>
        <p:spPr bwMode="auto">
          <a:xfrm>
            <a:off x="1194567" y="204948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1" name="Freeform 145">
            <a:extLst>
              <a:ext uri="{FF2B5EF4-FFF2-40B4-BE49-F238E27FC236}">
                <a16:creationId xmlns:a16="http://schemas.microsoft.com/office/drawing/2014/main" id="{6643CB10-FA28-4DC1-9766-69E905EE05D2}"/>
              </a:ext>
            </a:extLst>
          </p:cNvPr>
          <p:cNvSpPr>
            <a:spLocks noEditPoints="1"/>
          </p:cNvSpPr>
          <p:nvPr/>
        </p:nvSpPr>
        <p:spPr bwMode="auto">
          <a:xfrm>
            <a:off x="1531117" y="2387624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2" name="Freeform 146">
            <a:extLst>
              <a:ext uri="{FF2B5EF4-FFF2-40B4-BE49-F238E27FC236}">
                <a16:creationId xmlns:a16="http://schemas.microsoft.com/office/drawing/2014/main" id="{7BD48B0C-81E0-41EB-AB2E-076A422B4067}"/>
              </a:ext>
            </a:extLst>
          </p:cNvPr>
          <p:cNvSpPr>
            <a:spLocks/>
          </p:cNvSpPr>
          <p:nvPr/>
        </p:nvSpPr>
        <p:spPr bwMode="auto">
          <a:xfrm>
            <a:off x="1204913" y="2056655"/>
            <a:ext cx="4205288" cy="1720850"/>
          </a:xfrm>
          <a:custGeom>
            <a:avLst/>
            <a:gdLst>
              <a:gd name="T0" fmla="*/ 20 w 2649"/>
              <a:gd name="T1" fmla="*/ 10 h 1084"/>
              <a:gd name="T2" fmla="*/ 88 w 2649"/>
              <a:gd name="T3" fmla="*/ 18 h 1084"/>
              <a:gd name="T4" fmla="*/ 112 w 2649"/>
              <a:gd name="T5" fmla="*/ 32 h 1084"/>
              <a:gd name="T6" fmla="*/ 138 w 2649"/>
              <a:gd name="T7" fmla="*/ 48 h 1084"/>
              <a:gd name="T8" fmla="*/ 146 w 2649"/>
              <a:gd name="T9" fmla="*/ 68 h 1084"/>
              <a:gd name="T10" fmla="*/ 198 w 2649"/>
              <a:gd name="T11" fmla="*/ 76 h 1084"/>
              <a:gd name="T12" fmla="*/ 224 w 2649"/>
              <a:gd name="T13" fmla="*/ 93 h 1084"/>
              <a:gd name="T14" fmla="*/ 240 w 2649"/>
              <a:gd name="T15" fmla="*/ 99 h 1084"/>
              <a:gd name="T16" fmla="*/ 246 w 2649"/>
              <a:gd name="T17" fmla="*/ 127 h 1084"/>
              <a:gd name="T18" fmla="*/ 275 w 2649"/>
              <a:gd name="T19" fmla="*/ 131 h 1084"/>
              <a:gd name="T20" fmla="*/ 283 w 2649"/>
              <a:gd name="T21" fmla="*/ 145 h 1084"/>
              <a:gd name="T22" fmla="*/ 351 w 2649"/>
              <a:gd name="T23" fmla="*/ 153 h 1084"/>
              <a:gd name="T24" fmla="*/ 379 w 2649"/>
              <a:gd name="T25" fmla="*/ 191 h 1084"/>
              <a:gd name="T26" fmla="*/ 409 w 2649"/>
              <a:gd name="T27" fmla="*/ 197 h 1084"/>
              <a:gd name="T28" fmla="*/ 445 w 2649"/>
              <a:gd name="T29" fmla="*/ 225 h 1084"/>
              <a:gd name="T30" fmla="*/ 463 w 2649"/>
              <a:gd name="T31" fmla="*/ 235 h 1084"/>
              <a:gd name="T32" fmla="*/ 479 w 2649"/>
              <a:gd name="T33" fmla="*/ 259 h 1084"/>
              <a:gd name="T34" fmla="*/ 529 w 2649"/>
              <a:gd name="T35" fmla="*/ 275 h 1084"/>
              <a:gd name="T36" fmla="*/ 539 w 2649"/>
              <a:gd name="T37" fmla="*/ 299 h 1084"/>
              <a:gd name="T38" fmla="*/ 555 w 2649"/>
              <a:gd name="T39" fmla="*/ 329 h 1084"/>
              <a:gd name="T40" fmla="*/ 571 w 2649"/>
              <a:gd name="T41" fmla="*/ 362 h 1084"/>
              <a:gd name="T42" fmla="*/ 593 w 2649"/>
              <a:gd name="T43" fmla="*/ 372 h 1084"/>
              <a:gd name="T44" fmla="*/ 601 w 2649"/>
              <a:gd name="T45" fmla="*/ 388 h 1084"/>
              <a:gd name="T46" fmla="*/ 623 w 2649"/>
              <a:gd name="T47" fmla="*/ 396 h 1084"/>
              <a:gd name="T48" fmla="*/ 633 w 2649"/>
              <a:gd name="T49" fmla="*/ 416 h 1084"/>
              <a:gd name="T50" fmla="*/ 657 w 2649"/>
              <a:gd name="T51" fmla="*/ 426 h 1084"/>
              <a:gd name="T52" fmla="*/ 669 w 2649"/>
              <a:gd name="T53" fmla="*/ 442 h 1084"/>
              <a:gd name="T54" fmla="*/ 705 w 2649"/>
              <a:gd name="T55" fmla="*/ 456 h 1084"/>
              <a:gd name="T56" fmla="*/ 717 w 2649"/>
              <a:gd name="T57" fmla="*/ 476 h 1084"/>
              <a:gd name="T58" fmla="*/ 737 w 2649"/>
              <a:gd name="T59" fmla="*/ 492 h 1084"/>
              <a:gd name="T60" fmla="*/ 749 w 2649"/>
              <a:gd name="T61" fmla="*/ 518 h 1084"/>
              <a:gd name="T62" fmla="*/ 775 w 2649"/>
              <a:gd name="T63" fmla="*/ 526 h 1084"/>
              <a:gd name="T64" fmla="*/ 787 w 2649"/>
              <a:gd name="T65" fmla="*/ 556 h 1084"/>
              <a:gd name="T66" fmla="*/ 807 w 2649"/>
              <a:gd name="T67" fmla="*/ 570 h 1084"/>
              <a:gd name="T68" fmla="*/ 815 w 2649"/>
              <a:gd name="T69" fmla="*/ 593 h 1084"/>
              <a:gd name="T70" fmla="*/ 833 w 2649"/>
              <a:gd name="T71" fmla="*/ 603 h 1084"/>
              <a:gd name="T72" fmla="*/ 841 w 2649"/>
              <a:gd name="T73" fmla="*/ 625 h 1084"/>
              <a:gd name="T74" fmla="*/ 883 w 2649"/>
              <a:gd name="T75" fmla="*/ 633 h 1084"/>
              <a:gd name="T76" fmla="*/ 897 w 2649"/>
              <a:gd name="T77" fmla="*/ 663 h 1084"/>
              <a:gd name="T78" fmla="*/ 927 w 2649"/>
              <a:gd name="T79" fmla="*/ 677 h 1084"/>
              <a:gd name="T80" fmla="*/ 943 w 2649"/>
              <a:gd name="T81" fmla="*/ 695 h 1084"/>
              <a:gd name="T82" fmla="*/ 971 w 2649"/>
              <a:gd name="T83" fmla="*/ 703 h 1084"/>
              <a:gd name="T84" fmla="*/ 979 w 2649"/>
              <a:gd name="T85" fmla="*/ 723 h 1084"/>
              <a:gd name="T86" fmla="*/ 1001 w 2649"/>
              <a:gd name="T87" fmla="*/ 735 h 1084"/>
              <a:gd name="T88" fmla="*/ 1017 w 2649"/>
              <a:gd name="T89" fmla="*/ 755 h 1084"/>
              <a:gd name="T90" fmla="*/ 1129 w 2649"/>
              <a:gd name="T91" fmla="*/ 765 h 1084"/>
              <a:gd name="T92" fmla="*/ 1139 w 2649"/>
              <a:gd name="T93" fmla="*/ 787 h 1084"/>
              <a:gd name="T94" fmla="*/ 1239 w 2649"/>
              <a:gd name="T95" fmla="*/ 803 h 1084"/>
              <a:gd name="T96" fmla="*/ 1253 w 2649"/>
              <a:gd name="T97" fmla="*/ 823 h 1084"/>
              <a:gd name="T98" fmla="*/ 1327 w 2649"/>
              <a:gd name="T99" fmla="*/ 833 h 1084"/>
              <a:gd name="T100" fmla="*/ 1374 w 2649"/>
              <a:gd name="T101" fmla="*/ 858 h 1084"/>
              <a:gd name="T102" fmla="*/ 1472 w 2649"/>
              <a:gd name="T103" fmla="*/ 872 h 1084"/>
              <a:gd name="T104" fmla="*/ 1484 w 2649"/>
              <a:gd name="T105" fmla="*/ 894 h 1084"/>
              <a:gd name="T106" fmla="*/ 1512 w 2649"/>
              <a:gd name="T107" fmla="*/ 910 h 1084"/>
              <a:gd name="T108" fmla="*/ 1530 w 2649"/>
              <a:gd name="T109" fmla="*/ 934 h 1084"/>
              <a:gd name="T110" fmla="*/ 1628 w 2649"/>
              <a:gd name="T111" fmla="*/ 950 h 1084"/>
              <a:gd name="T112" fmla="*/ 1648 w 2649"/>
              <a:gd name="T113" fmla="*/ 972 h 1084"/>
              <a:gd name="T114" fmla="*/ 1764 w 2649"/>
              <a:gd name="T115" fmla="*/ 988 h 1084"/>
              <a:gd name="T116" fmla="*/ 1780 w 2649"/>
              <a:gd name="T117" fmla="*/ 1010 h 1084"/>
              <a:gd name="T118" fmla="*/ 2270 w 2649"/>
              <a:gd name="T119" fmla="*/ 1036 h 10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649" h="1084">
                <a:moveTo>
                  <a:pt x="0" y="0"/>
                </a:moveTo>
                <a:lnTo>
                  <a:pt x="20" y="0"/>
                </a:lnTo>
                <a:lnTo>
                  <a:pt x="20" y="10"/>
                </a:lnTo>
                <a:lnTo>
                  <a:pt x="52" y="10"/>
                </a:lnTo>
                <a:lnTo>
                  <a:pt x="52" y="18"/>
                </a:lnTo>
                <a:lnTo>
                  <a:pt x="88" y="18"/>
                </a:lnTo>
                <a:lnTo>
                  <a:pt x="88" y="24"/>
                </a:lnTo>
                <a:lnTo>
                  <a:pt x="112" y="24"/>
                </a:lnTo>
                <a:lnTo>
                  <a:pt x="112" y="32"/>
                </a:lnTo>
                <a:lnTo>
                  <a:pt x="122" y="32"/>
                </a:lnTo>
                <a:lnTo>
                  <a:pt x="122" y="48"/>
                </a:lnTo>
                <a:lnTo>
                  <a:pt x="138" y="48"/>
                </a:lnTo>
                <a:lnTo>
                  <a:pt x="138" y="54"/>
                </a:lnTo>
                <a:lnTo>
                  <a:pt x="146" y="54"/>
                </a:lnTo>
                <a:lnTo>
                  <a:pt x="146" y="68"/>
                </a:lnTo>
                <a:lnTo>
                  <a:pt x="182" y="68"/>
                </a:lnTo>
                <a:lnTo>
                  <a:pt x="182" y="76"/>
                </a:lnTo>
                <a:lnTo>
                  <a:pt x="198" y="76"/>
                </a:lnTo>
                <a:lnTo>
                  <a:pt x="198" y="85"/>
                </a:lnTo>
                <a:lnTo>
                  <a:pt x="224" y="85"/>
                </a:lnTo>
                <a:lnTo>
                  <a:pt x="224" y="93"/>
                </a:lnTo>
                <a:lnTo>
                  <a:pt x="234" y="93"/>
                </a:lnTo>
                <a:lnTo>
                  <a:pt x="234" y="99"/>
                </a:lnTo>
                <a:lnTo>
                  <a:pt x="240" y="99"/>
                </a:lnTo>
                <a:lnTo>
                  <a:pt x="240" y="115"/>
                </a:lnTo>
                <a:lnTo>
                  <a:pt x="246" y="115"/>
                </a:lnTo>
                <a:lnTo>
                  <a:pt x="246" y="127"/>
                </a:lnTo>
                <a:lnTo>
                  <a:pt x="259" y="127"/>
                </a:lnTo>
                <a:lnTo>
                  <a:pt x="259" y="131"/>
                </a:lnTo>
                <a:lnTo>
                  <a:pt x="275" y="131"/>
                </a:lnTo>
                <a:lnTo>
                  <a:pt x="275" y="137"/>
                </a:lnTo>
                <a:lnTo>
                  <a:pt x="283" y="137"/>
                </a:lnTo>
                <a:lnTo>
                  <a:pt x="283" y="145"/>
                </a:lnTo>
                <a:lnTo>
                  <a:pt x="299" y="145"/>
                </a:lnTo>
                <a:lnTo>
                  <a:pt x="299" y="153"/>
                </a:lnTo>
                <a:lnTo>
                  <a:pt x="351" y="153"/>
                </a:lnTo>
                <a:lnTo>
                  <a:pt x="351" y="173"/>
                </a:lnTo>
                <a:lnTo>
                  <a:pt x="379" y="173"/>
                </a:lnTo>
                <a:lnTo>
                  <a:pt x="379" y="191"/>
                </a:lnTo>
                <a:lnTo>
                  <a:pt x="403" y="191"/>
                </a:lnTo>
                <a:lnTo>
                  <a:pt x="403" y="197"/>
                </a:lnTo>
                <a:lnTo>
                  <a:pt x="409" y="197"/>
                </a:lnTo>
                <a:lnTo>
                  <a:pt x="409" y="209"/>
                </a:lnTo>
                <a:lnTo>
                  <a:pt x="445" y="209"/>
                </a:lnTo>
                <a:lnTo>
                  <a:pt x="445" y="225"/>
                </a:lnTo>
                <a:lnTo>
                  <a:pt x="455" y="225"/>
                </a:lnTo>
                <a:lnTo>
                  <a:pt x="455" y="235"/>
                </a:lnTo>
                <a:lnTo>
                  <a:pt x="463" y="235"/>
                </a:lnTo>
                <a:lnTo>
                  <a:pt x="463" y="245"/>
                </a:lnTo>
                <a:lnTo>
                  <a:pt x="479" y="245"/>
                </a:lnTo>
                <a:lnTo>
                  <a:pt x="479" y="259"/>
                </a:lnTo>
                <a:lnTo>
                  <a:pt x="503" y="259"/>
                </a:lnTo>
                <a:lnTo>
                  <a:pt x="503" y="275"/>
                </a:lnTo>
                <a:lnTo>
                  <a:pt x="529" y="275"/>
                </a:lnTo>
                <a:lnTo>
                  <a:pt x="529" y="289"/>
                </a:lnTo>
                <a:lnTo>
                  <a:pt x="539" y="289"/>
                </a:lnTo>
                <a:lnTo>
                  <a:pt x="539" y="299"/>
                </a:lnTo>
                <a:lnTo>
                  <a:pt x="549" y="299"/>
                </a:lnTo>
                <a:lnTo>
                  <a:pt x="549" y="329"/>
                </a:lnTo>
                <a:lnTo>
                  <a:pt x="555" y="329"/>
                </a:lnTo>
                <a:lnTo>
                  <a:pt x="555" y="350"/>
                </a:lnTo>
                <a:lnTo>
                  <a:pt x="571" y="350"/>
                </a:lnTo>
                <a:lnTo>
                  <a:pt x="571" y="362"/>
                </a:lnTo>
                <a:lnTo>
                  <a:pt x="581" y="362"/>
                </a:lnTo>
                <a:lnTo>
                  <a:pt x="581" y="372"/>
                </a:lnTo>
                <a:lnTo>
                  <a:pt x="593" y="372"/>
                </a:lnTo>
                <a:lnTo>
                  <a:pt x="593" y="380"/>
                </a:lnTo>
                <a:lnTo>
                  <a:pt x="601" y="380"/>
                </a:lnTo>
                <a:lnTo>
                  <a:pt x="601" y="388"/>
                </a:lnTo>
                <a:lnTo>
                  <a:pt x="615" y="388"/>
                </a:lnTo>
                <a:lnTo>
                  <a:pt x="615" y="396"/>
                </a:lnTo>
                <a:lnTo>
                  <a:pt x="623" y="396"/>
                </a:lnTo>
                <a:lnTo>
                  <a:pt x="623" y="402"/>
                </a:lnTo>
                <a:lnTo>
                  <a:pt x="633" y="402"/>
                </a:lnTo>
                <a:lnTo>
                  <a:pt x="633" y="416"/>
                </a:lnTo>
                <a:lnTo>
                  <a:pt x="641" y="416"/>
                </a:lnTo>
                <a:lnTo>
                  <a:pt x="641" y="426"/>
                </a:lnTo>
                <a:lnTo>
                  <a:pt x="657" y="426"/>
                </a:lnTo>
                <a:lnTo>
                  <a:pt x="657" y="432"/>
                </a:lnTo>
                <a:lnTo>
                  <a:pt x="669" y="432"/>
                </a:lnTo>
                <a:lnTo>
                  <a:pt x="669" y="442"/>
                </a:lnTo>
                <a:lnTo>
                  <a:pt x="697" y="442"/>
                </a:lnTo>
                <a:lnTo>
                  <a:pt x="697" y="456"/>
                </a:lnTo>
                <a:lnTo>
                  <a:pt x="705" y="456"/>
                </a:lnTo>
                <a:lnTo>
                  <a:pt x="705" y="464"/>
                </a:lnTo>
                <a:lnTo>
                  <a:pt x="717" y="464"/>
                </a:lnTo>
                <a:lnTo>
                  <a:pt x="717" y="476"/>
                </a:lnTo>
                <a:lnTo>
                  <a:pt x="729" y="476"/>
                </a:lnTo>
                <a:lnTo>
                  <a:pt x="729" y="492"/>
                </a:lnTo>
                <a:lnTo>
                  <a:pt x="737" y="492"/>
                </a:lnTo>
                <a:lnTo>
                  <a:pt x="737" y="506"/>
                </a:lnTo>
                <a:lnTo>
                  <a:pt x="749" y="506"/>
                </a:lnTo>
                <a:lnTo>
                  <a:pt x="749" y="518"/>
                </a:lnTo>
                <a:lnTo>
                  <a:pt x="761" y="518"/>
                </a:lnTo>
                <a:lnTo>
                  <a:pt x="761" y="526"/>
                </a:lnTo>
                <a:lnTo>
                  <a:pt x="775" y="526"/>
                </a:lnTo>
                <a:lnTo>
                  <a:pt x="775" y="542"/>
                </a:lnTo>
                <a:lnTo>
                  <a:pt x="787" y="542"/>
                </a:lnTo>
                <a:lnTo>
                  <a:pt x="787" y="556"/>
                </a:lnTo>
                <a:lnTo>
                  <a:pt x="795" y="556"/>
                </a:lnTo>
                <a:lnTo>
                  <a:pt x="795" y="570"/>
                </a:lnTo>
                <a:lnTo>
                  <a:pt x="807" y="570"/>
                </a:lnTo>
                <a:lnTo>
                  <a:pt x="807" y="580"/>
                </a:lnTo>
                <a:lnTo>
                  <a:pt x="815" y="580"/>
                </a:lnTo>
                <a:lnTo>
                  <a:pt x="815" y="593"/>
                </a:lnTo>
                <a:lnTo>
                  <a:pt x="821" y="593"/>
                </a:lnTo>
                <a:lnTo>
                  <a:pt x="821" y="603"/>
                </a:lnTo>
                <a:lnTo>
                  <a:pt x="833" y="603"/>
                </a:lnTo>
                <a:lnTo>
                  <a:pt x="833" y="617"/>
                </a:lnTo>
                <a:lnTo>
                  <a:pt x="841" y="617"/>
                </a:lnTo>
                <a:lnTo>
                  <a:pt x="841" y="625"/>
                </a:lnTo>
                <a:lnTo>
                  <a:pt x="863" y="625"/>
                </a:lnTo>
                <a:lnTo>
                  <a:pt x="863" y="633"/>
                </a:lnTo>
                <a:lnTo>
                  <a:pt x="883" y="633"/>
                </a:lnTo>
                <a:lnTo>
                  <a:pt x="883" y="655"/>
                </a:lnTo>
                <a:lnTo>
                  <a:pt x="897" y="655"/>
                </a:lnTo>
                <a:lnTo>
                  <a:pt x="897" y="663"/>
                </a:lnTo>
                <a:lnTo>
                  <a:pt x="913" y="663"/>
                </a:lnTo>
                <a:lnTo>
                  <a:pt x="913" y="677"/>
                </a:lnTo>
                <a:lnTo>
                  <a:pt x="927" y="677"/>
                </a:lnTo>
                <a:lnTo>
                  <a:pt x="927" y="685"/>
                </a:lnTo>
                <a:lnTo>
                  <a:pt x="943" y="685"/>
                </a:lnTo>
                <a:lnTo>
                  <a:pt x="943" y="695"/>
                </a:lnTo>
                <a:lnTo>
                  <a:pt x="955" y="695"/>
                </a:lnTo>
                <a:lnTo>
                  <a:pt x="955" y="703"/>
                </a:lnTo>
                <a:lnTo>
                  <a:pt x="971" y="703"/>
                </a:lnTo>
                <a:lnTo>
                  <a:pt x="971" y="713"/>
                </a:lnTo>
                <a:lnTo>
                  <a:pt x="979" y="713"/>
                </a:lnTo>
                <a:lnTo>
                  <a:pt x="979" y="723"/>
                </a:lnTo>
                <a:lnTo>
                  <a:pt x="989" y="723"/>
                </a:lnTo>
                <a:lnTo>
                  <a:pt x="989" y="735"/>
                </a:lnTo>
                <a:lnTo>
                  <a:pt x="1001" y="735"/>
                </a:lnTo>
                <a:lnTo>
                  <a:pt x="1001" y="745"/>
                </a:lnTo>
                <a:lnTo>
                  <a:pt x="1017" y="745"/>
                </a:lnTo>
                <a:lnTo>
                  <a:pt x="1017" y="755"/>
                </a:lnTo>
                <a:lnTo>
                  <a:pt x="1073" y="755"/>
                </a:lnTo>
                <a:lnTo>
                  <a:pt x="1073" y="765"/>
                </a:lnTo>
                <a:lnTo>
                  <a:pt x="1129" y="765"/>
                </a:lnTo>
                <a:lnTo>
                  <a:pt x="1129" y="779"/>
                </a:lnTo>
                <a:lnTo>
                  <a:pt x="1139" y="779"/>
                </a:lnTo>
                <a:lnTo>
                  <a:pt x="1139" y="787"/>
                </a:lnTo>
                <a:lnTo>
                  <a:pt x="1179" y="787"/>
                </a:lnTo>
                <a:lnTo>
                  <a:pt x="1179" y="803"/>
                </a:lnTo>
                <a:lnTo>
                  <a:pt x="1239" y="803"/>
                </a:lnTo>
                <a:lnTo>
                  <a:pt x="1239" y="811"/>
                </a:lnTo>
                <a:lnTo>
                  <a:pt x="1253" y="811"/>
                </a:lnTo>
                <a:lnTo>
                  <a:pt x="1253" y="823"/>
                </a:lnTo>
                <a:lnTo>
                  <a:pt x="1303" y="823"/>
                </a:lnTo>
                <a:lnTo>
                  <a:pt x="1303" y="833"/>
                </a:lnTo>
                <a:lnTo>
                  <a:pt x="1327" y="833"/>
                </a:lnTo>
                <a:lnTo>
                  <a:pt x="1327" y="846"/>
                </a:lnTo>
                <a:lnTo>
                  <a:pt x="1374" y="846"/>
                </a:lnTo>
                <a:lnTo>
                  <a:pt x="1374" y="858"/>
                </a:lnTo>
                <a:lnTo>
                  <a:pt x="1398" y="858"/>
                </a:lnTo>
                <a:lnTo>
                  <a:pt x="1398" y="872"/>
                </a:lnTo>
                <a:lnTo>
                  <a:pt x="1472" y="872"/>
                </a:lnTo>
                <a:lnTo>
                  <a:pt x="1472" y="884"/>
                </a:lnTo>
                <a:lnTo>
                  <a:pt x="1484" y="884"/>
                </a:lnTo>
                <a:lnTo>
                  <a:pt x="1484" y="894"/>
                </a:lnTo>
                <a:lnTo>
                  <a:pt x="1498" y="894"/>
                </a:lnTo>
                <a:lnTo>
                  <a:pt x="1498" y="910"/>
                </a:lnTo>
                <a:lnTo>
                  <a:pt x="1512" y="910"/>
                </a:lnTo>
                <a:lnTo>
                  <a:pt x="1512" y="922"/>
                </a:lnTo>
                <a:lnTo>
                  <a:pt x="1530" y="922"/>
                </a:lnTo>
                <a:lnTo>
                  <a:pt x="1530" y="934"/>
                </a:lnTo>
                <a:lnTo>
                  <a:pt x="1606" y="934"/>
                </a:lnTo>
                <a:lnTo>
                  <a:pt x="1606" y="950"/>
                </a:lnTo>
                <a:lnTo>
                  <a:pt x="1628" y="950"/>
                </a:lnTo>
                <a:lnTo>
                  <a:pt x="1628" y="962"/>
                </a:lnTo>
                <a:lnTo>
                  <a:pt x="1648" y="962"/>
                </a:lnTo>
                <a:lnTo>
                  <a:pt x="1648" y="972"/>
                </a:lnTo>
                <a:lnTo>
                  <a:pt x="1754" y="972"/>
                </a:lnTo>
                <a:lnTo>
                  <a:pt x="1754" y="988"/>
                </a:lnTo>
                <a:lnTo>
                  <a:pt x="1764" y="988"/>
                </a:lnTo>
                <a:lnTo>
                  <a:pt x="1764" y="1000"/>
                </a:lnTo>
                <a:lnTo>
                  <a:pt x="1780" y="1000"/>
                </a:lnTo>
                <a:lnTo>
                  <a:pt x="1780" y="1010"/>
                </a:lnTo>
                <a:lnTo>
                  <a:pt x="1972" y="1010"/>
                </a:lnTo>
                <a:lnTo>
                  <a:pt x="1972" y="1036"/>
                </a:lnTo>
                <a:lnTo>
                  <a:pt x="2270" y="1036"/>
                </a:lnTo>
                <a:lnTo>
                  <a:pt x="2270" y="1084"/>
                </a:lnTo>
                <a:lnTo>
                  <a:pt x="2649" y="108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3" name="Freeform 148">
            <a:extLst>
              <a:ext uri="{FF2B5EF4-FFF2-40B4-BE49-F238E27FC236}">
                <a16:creationId xmlns:a16="http://schemas.microsoft.com/office/drawing/2014/main" id="{73278BF5-23DF-4CE2-BDE0-2142563D5D86}"/>
              </a:ext>
            </a:extLst>
          </p:cNvPr>
          <p:cNvSpPr>
            <a:spLocks noEditPoints="1"/>
          </p:cNvSpPr>
          <p:nvPr/>
        </p:nvSpPr>
        <p:spPr bwMode="auto">
          <a:xfrm>
            <a:off x="5360220" y="3731468"/>
            <a:ext cx="99962" cy="96838"/>
          </a:xfrm>
          <a:custGeom>
            <a:avLst/>
            <a:gdLst>
              <a:gd name="T0" fmla="*/ 16 w 32"/>
              <a:gd name="T1" fmla="*/ 0 h 31"/>
              <a:gd name="T2" fmla="*/ 16 w 32"/>
              <a:gd name="T3" fmla="*/ 31 h 31"/>
              <a:gd name="T4" fmla="*/ 32 w 32"/>
              <a:gd name="T5" fmla="*/ 14 h 31"/>
              <a:gd name="T6" fmla="*/ 0 w 32"/>
              <a:gd name="T7" fmla="*/ 14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1">
                <a:moveTo>
                  <a:pt x="16" y="0"/>
                </a:moveTo>
                <a:lnTo>
                  <a:pt x="16" y="31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4" name="Freeform 149">
            <a:extLst>
              <a:ext uri="{FF2B5EF4-FFF2-40B4-BE49-F238E27FC236}">
                <a16:creationId xmlns:a16="http://schemas.microsoft.com/office/drawing/2014/main" id="{DF5EB14A-DAB1-486F-AF14-8EE8153D2A00}"/>
              </a:ext>
            </a:extLst>
          </p:cNvPr>
          <p:cNvSpPr>
            <a:spLocks noEditPoints="1"/>
          </p:cNvSpPr>
          <p:nvPr/>
        </p:nvSpPr>
        <p:spPr bwMode="auto">
          <a:xfrm>
            <a:off x="5282380" y="3731468"/>
            <a:ext cx="93718" cy="96838"/>
          </a:xfrm>
          <a:custGeom>
            <a:avLst/>
            <a:gdLst>
              <a:gd name="T0" fmla="*/ 14 w 30"/>
              <a:gd name="T1" fmla="*/ 0 h 31"/>
              <a:gd name="T2" fmla="*/ 14 w 30"/>
              <a:gd name="T3" fmla="*/ 31 h 31"/>
              <a:gd name="T4" fmla="*/ 30 w 30"/>
              <a:gd name="T5" fmla="*/ 14 h 31"/>
              <a:gd name="T6" fmla="*/ 0 w 30"/>
              <a:gd name="T7" fmla="*/ 14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1">
                <a:moveTo>
                  <a:pt x="14" y="0"/>
                </a:moveTo>
                <a:lnTo>
                  <a:pt x="14" y="31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5" name="Freeform 150">
            <a:extLst>
              <a:ext uri="{FF2B5EF4-FFF2-40B4-BE49-F238E27FC236}">
                <a16:creationId xmlns:a16="http://schemas.microsoft.com/office/drawing/2014/main" id="{BCF6FD8A-6FE5-424D-B03A-E73D200AAB37}"/>
              </a:ext>
            </a:extLst>
          </p:cNvPr>
          <p:cNvSpPr>
            <a:spLocks noEditPoints="1"/>
          </p:cNvSpPr>
          <p:nvPr/>
        </p:nvSpPr>
        <p:spPr bwMode="auto">
          <a:xfrm>
            <a:off x="5134795" y="3731468"/>
            <a:ext cx="99962" cy="96838"/>
          </a:xfrm>
          <a:custGeom>
            <a:avLst/>
            <a:gdLst>
              <a:gd name="T0" fmla="*/ 16 w 32"/>
              <a:gd name="T1" fmla="*/ 0 h 31"/>
              <a:gd name="T2" fmla="*/ 16 w 32"/>
              <a:gd name="T3" fmla="*/ 31 h 31"/>
              <a:gd name="T4" fmla="*/ 32 w 32"/>
              <a:gd name="T5" fmla="*/ 14 h 31"/>
              <a:gd name="T6" fmla="*/ 0 w 32"/>
              <a:gd name="T7" fmla="*/ 14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1">
                <a:moveTo>
                  <a:pt x="16" y="0"/>
                </a:moveTo>
                <a:lnTo>
                  <a:pt x="16" y="31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6" name="Freeform 151">
            <a:extLst>
              <a:ext uri="{FF2B5EF4-FFF2-40B4-BE49-F238E27FC236}">
                <a16:creationId xmlns:a16="http://schemas.microsoft.com/office/drawing/2014/main" id="{CF6C48E9-AFEE-4D7A-9AA6-DD2AD9E57A84}"/>
              </a:ext>
            </a:extLst>
          </p:cNvPr>
          <p:cNvSpPr>
            <a:spLocks noEditPoints="1"/>
          </p:cNvSpPr>
          <p:nvPr/>
        </p:nvSpPr>
        <p:spPr bwMode="auto">
          <a:xfrm>
            <a:off x="4944242" y="3731468"/>
            <a:ext cx="93718" cy="96838"/>
          </a:xfrm>
          <a:custGeom>
            <a:avLst/>
            <a:gdLst>
              <a:gd name="T0" fmla="*/ 14 w 30"/>
              <a:gd name="T1" fmla="*/ 0 h 31"/>
              <a:gd name="T2" fmla="*/ 14 w 30"/>
              <a:gd name="T3" fmla="*/ 31 h 31"/>
              <a:gd name="T4" fmla="*/ 30 w 30"/>
              <a:gd name="T5" fmla="*/ 14 h 31"/>
              <a:gd name="T6" fmla="*/ 0 w 30"/>
              <a:gd name="T7" fmla="*/ 14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1">
                <a:moveTo>
                  <a:pt x="14" y="0"/>
                </a:moveTo>
                <a:lnTo>
                  <a:pt x="14" y="31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7" name="Freeform 152">
            <a:extLst>
              <a:ext uri="{FF2B5EF4-FFF2-40B4-BE49-F238E27FC236}">
                <a16:creationId xmlns:a16="http://schemas.microsoft.com/office/drawing/2014/main" id="{6D380691-9AC3-4319-AAC5-93D4C6EA03E3}"/>
              </a:ext>
            </a:extLst>
          </p:cNvPr>
          <p:cNvSpPr>
            <a:spLocks noEditPoints="1"/>
          </p:cNvSpPr>
          <p:nvPr/>
        </p:nvSpPr>
        <p:spPr bwMode="auto">
          <a:xfrm>
            <a:off x="4693417" y="365603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8" name="Freeform 153">
            <a:extLst>
              <a:ext uri="{FF2B5EF4-FFF2-40B4-BE49-F238E27FC236}">
                <a16:creationId xmlns:a16="http://schemas.microsoft.com/office/drawing/2014/main" id="{D99ED4FF-9025-44F0-BBFB-628824DF59E3}"/>
              </a:ext>
            </a:extLst>
          </p:cNvPr>
          <p:cNvSpPr>
            <a:spLocks noEditPoints="1"/>
          </p:cNvSpPr>
          <p:nvPr/>
        </p:nvSpPr>
        <p:spPr bwMode="auto">
          <a:xfrm>
            <a:off x="4533131" y="3656036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89" name="Freeform 154">
            <a:extLst>
              <a:ext uri="{FF2B5EF4-FFF2-40B4-BE49-F238E27FC236}">
                <a16:creationId xmlns:a16="http://schemas.microsoft.com/office/drawing/2014/main" id="{2F2D5626-46EE-4321-9BA4-27B5312D3857}"/>
              </a:ext>
            </a:extLst>
          </p:cNvPr>
          <p:cNvSpPr>
            <a:spLocks noEditPoints="1"/>
          </p:cNvSpPr>
          <p:nvPr/>
        </p:nvSpPr>
        <p:spPr bwMode="auto">
          <a:xfrm>
            <a:off x="4394967" y="3656036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0" name="Freeform 155">
            <a:extLst>
              <a:ext uri="{FF2B5EF4-FFF2-40B4-BE49-F238E27FC236}">
                <a16:creationId xmlns:a16="http://schemas.microsoft.com/office/drawing/2014/main" id="{F30F3C08-8016-42AA-A594-0246E34C984A}"/>
              </a:ext>
            </a:extLst>
          </p:cNvPr>
          <p:cNvSpPr>
            <a:spLocks noEditPoints="1"/>
          </p:cNvSpPr>
          <p:nvPr/>
        </p:nvSpPr>
        <p:spPr bwMode="auto">
          <a:xfrm>
            <a:off x="4226692" y="3611586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1" name="Freeform 156">
            <a:extLst>
              <a:ext uri="{FF2B5EF4-FFF2-40B4-BE49-F238E27FC236}">
                <a16:creationId xmlns:a16="http://schemas.microsoft.com/office/drawing/2014/main" id="{7FDC2B73-6254-4553-848D-1090CD104992}"/>
              </a:ext>
            </a:extLst>
          </p:cNvPr>
          <p:cNvSpPr>
            <a:spLocks noEditPoints="1"/>
          </p:cNvSpPr>
          <p:nvPr/>
        </p:nvSpPr>
        <p:spPr bwMode="auto">
          <a:xfrm>
            <a:off x="4169542" y="3611586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2" name="Freeform 157">
            <a:extLst>
              <a:ext uri="{FF2B5EF4-FFF2-40B4-BE49-F238E27FC236}">
                <a16:creationId xmlns:a16="http://schemas.microsoft.com/office/drawing/2014/main" id="{7A7A1140-0075-4FAA-9006-20AF30C3D35A}"/>
              </a:ext>
            </a:extLst>
          </p:cNvPr>
          <p:cNvSpPr>
            <a:spLocks noEditPoints="1"/>
          </p:cNvSpPr>
          <p:nvPr/>
        </p:nvSpPr>
        <p:spPr bwMode="auto">
          <a:xfrm>
            <a:off x="4139431" y="3611586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3" name="Freeform 158">
            <a:extLst>
              <a:ext uri="{FF2B5EF4-FFF2-40B4-BE49-F238E27FC236}">
                <a16:creationId xmlns:a16="http://schemas.microsoft.com/office/drawing/2014/main" id="{9F7BA013-F109-455A-92D2-0E51D641DDA1}"/>
              </a:ext>
            </a:extLst>
          </p:cNvPr>
          <p:cNvSpPr>
            <a:spLocks noEditPoints="1"/>
          </p:cNvSpPr>
          <p:nvPr/>
        </p:nvSpPr>
        <p:spPr bwMode="auto">
          <a:xfrm>
            <a:off x="4025131" y="3611586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4" name="Freeform 159">
            <a:extLst>
              <a:ext uri="{FF2B5EF4-FFF2-40B4-BE49-F238E27FC236}">
                <a16:creationId xmlns:a16="http://schemas.microsoft.com/office/drawing/2014/main" id="{6543333D-702E-4A81-A44A-114D68D5F0CB}"/>
              </a:ext>
            </a:extLst>
          </p:cNvPr>
          <p:cNvSpPr>
            <a:spLocks noEditPoints="1"/>
          </p:cNvSpPr>
          <p:nvPr/>
        </p:nvSpPr>
        <p:spPr bwMode="auto">
          <a:xfrm>
            <a:off x="4001267" y="361158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5" name="Freeform 160">
            <a:extLst>
              <a:ext uri="{FF2B5EF4-FFF2-40B4-BE49-F238E27FC236}">
                <a16:creationId xmlns:a16="http://schemas.microsoft.com/office/drawing/2014/main" id="{C5ECA449-3418-4152-A2F3-46A1B36A6CA2}"/>
              </a:ext>
            </a:extLst>
          </p:cNvPr>
          <p:cNvSpPr>
            <a:spLocks noEditPoints="1"/>
          </p:cNvSpPr>
          <p:nvPr/>
        </p:nvSpPr>
        <p:spPr bwMode="auto">
          <a:xfrm>
            <a:off x="3840981" y="3551261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6" name="Freeform 161">
            <a:extLst>
              <a:ext uri="{FF2B5EF4-FFF2-40B4-BE49-F238E27FC236}">
                <a16:creationId xmlns:a16="http://schemas.microsoft.com/office/drawing/2014/main" id="{10C1AC23-1535-4D35-83BC-ED6866A9A587}"/>
              </a:ext>
            </a:extLst>
          </p:cNvPr>
          <p:cNvSpPr>
            <a:spLocks noEditPoints="1"/>
          </p:cNvSpPr>
          <p:nvPr/>
        </p:nvSpPr>
        <p:spPr bwMode="auto">
          <a:xfrm>
            <a:off x="3775842" y="355126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7" name="Freeform 162">
            <a:extLst>
              <a:ext uri="{FF2B5EF4-FFF2-40B4-BE49-F238E27FC236}">
                <a16:creationId xmlns:a16="http://schemas.microsoft.com/office/drawing/2014/main" id="{97E7BF42-AEFC-48ED-92A5-84F15F131B0C}"/>
              </a:ext>
            </a:extLst>
          </p:cNvPr>
          <p:cNvSpPr>
            <a:spLocks noEditPoints="1"/>
          </p:cNvSpPr>
          <p:nvPr/>
        </p:nvSpPr>
        <p:spPr bwMode="auto">
          <a:xfrm>
            <a:off x="3737742" y="352586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8" name="Freeform 163">
            <a:extLst>
              <a:ext uri="{FF2B5EF4-FFF2-40B4-BE49-F238E27FC236}">
                <a16:creationId xmlns:a16="http://schemas.microsoft.com/office/drawing/2014/main" id="{341C4BD4-94B3-45DF-9365-31EE8C66C39B}"/>
              </a:ext>
            </a:extLst>
          </p:cNvPr>
          <p:cNvSpPr>
            <a:spLocks noEditPoints="1"/>
          </p:cNvSpPr>
          <p:nvPr/>
        </p:nvSpPr>
        <p:spPr bwMode="auto">
          <a:xfrm>
            <a:off x="3721867" y="351633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99" name="Freeform 164">
            <a:extLst>
              <a:ext uri="{FF2B5EF4-FFF2-40B4-BE49-F238E27FC236}">
                <a16:creationId xmlns:a16="http://schemas.microsoft.com/office/drawing/2014/main" id="{DC0E755F-5F95-46DA-9568-041387AF72B4}"/>
              </a:ext>
            </a:extLst>
          </p:cNvPr>
          <p:cNvSpPr>
            <a:spLocks noEditPoints="1"/>
          </p:cNvSpPr>
          <p:nvPr/>
        </p:nvSpPr>
        <p:spPr bwMode="auto">
          <a:xfrm>
            <a:off x="3688582" y="3489399"/>
            <a:ext cx="99962" cy="99962"/>
          </a:xfrm>
          <a:custGeom>
            <a:avLst/>
            <a:gdLst>
              <a:gd name="T0" fmla="*/ 16 w 32"/>
              <a:gd name="T1" fmla="*/ 0 h 32"/>
              <a:gd name="T2" fmla="*/ 16 w 32"/>
              <a:gd name="T3" fmla="*/ 32 h 32"/>
              <a:gd name="T4" fmla="*/ 32 w 32"/>
              <a:gd name="T5" fmla="*/ 16 h 32"/>
              <a:gd name="T6" fmla="*/ 0 w 32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2">
                <a:moveTo>
                  <a:pt x="16" y="0"/>
                </a:moveTo>
                <a:lnTo>
                  <a:pt x="16" y="32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0" name="Freeform 165">
            <a:extLst>
              <a:ext uri="{FF2B5EF4-FFF2-40B4-BE49-F238E27FC236}">
                <a16:creationId xmlns:a16="http://schemas.microsoft.com/office/drawing/2014/main" id="{AA1E0C26-27B0-434F-87E2-ED60872612D1}"/>
              </a:ext>
            </a:extLst>
          </p:cNvPr>
          <p:cNvSpPr>
            <a:spLocks noEditPoints="1"/>
          </p:cNvSpPr>
          <p:nvPr/>
        </p:nvSpPr>
        <p:spPr bwMode="auto">
          <a:xfrm>
            <a:off x="3817117" y="355126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1" name="Freeform 166">
            <a:extLst>
              <a:ext uri="{FF2B5EF4-FFF2-40B4-BE49-F238E27FC236}">
                <a16:creationId xmlns:a16="http://schemas.microsoft.com/office/drawing/2014/main" id="{05E6A0F6-C42D-4023-B978-FE4CE476828C}"/>
              </a:ext>
            </a:extLst>
          </p:cNvPr>
          <p:cNvSpPr>
            <a:spLocks noEditPoints="1"/>
          </p:cNvSpPr>
          <p:nvPr/>
        </p:nvSpPr>
        <p:spPr bwMode="auto">
          <a:xfrm>
            <a:off x="3636143" y="3489399"/>
            <a:ext cx="93716" cy="99962"/>
          </a:xfrm>
          <a:custGeom>
            <a:avLst/>
            <a:gdLst>
              <a:gd name="T0" fmla="*/ 16 w 30"/>
              <a:gd name="T1" fmla="*/ 0 h 32"/>
              <a:gd name="T2" fmla="*/ 16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6" y="0"/>
                </a:moveTo>
                <a:lnTo>
                  <a:pt x="16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2" name="Freeform 167">
            <a:extLst>
              <a:ext uri="{FF2B5EF4-FFF2-40B4-BE49-F238E27FC236}">
                <a16:creationId xmlns:a16="http://schemas.microsoft.com/office/drawing/2014/main" id="{EA4173A6-1630-426C-B131-4D7F49B2A28D}"/>
              </a:ext>
            </a:extLst>
          </p:cNvPr>
          <p:cNvSpPr>
            <a:spLocks noEditPoints="1"/>
          </p:cNvSpPr>
          <p:nvPr/>
        </p:nvSpPr>
        <p:spPr bwMode="auto">
          <a:xfrm>
            <a:off x="3567931" y="3475061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3" name="Freeform 168">
            <a:extLst>
              <a:ext uri="{FF2B5EF4-FFF2-40B4-BE49-F238E27FC236}">
                <a16:creationId xmlns:a16="http://schemas.microsoft.com/office/drawing/2014/main" id="{4AF124F6-7238-4564-B346-E8D210471C09}"/>
              </a:ext>
            </a:extLst>
          </p:cNvPr>
          <p:cNvSpPr>
            <a:spLocks noEditPoints="1"/>
          </p:cNvSpPr>
          <p:nvPr/>
        </p:nvSpPr>
        <p:spPr bwMode="auto">
          <a:xfrm>
            <a:off x="3515492" y="342108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4" name="Freeform 169">
            <a:extLst>
              <a:ext uri="{FF2B5EF4-FFF2-40B4-BE49-F238E27FC236}">
                <a16:creationId xmlns:a16="http://schemas.microsoft.com/office/drawing/2014/main" id="{604FE193-B1BF-4DF0-B8CB-D0A18F066AE7}"/>
              </a:ext>
            </a:extLst>
          </p:cNvPr>
          <p:cNvSpPr>
            <a:spLocks noEditPoints="1"/>
          </p:cNvSpPr>
          <p:nvPr/>
        </p:nvSpPr>
        <p:spPr bwMode="auto">
          <a:xfrm>
            <a:off x="3479031" y="3392511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5" name="Freeform 170">
            <a:extLst>
              <a:ext uri="{FF2B5EF4-FFF2-40B4-BE49-F238E27FC236}">
                <a16:creationId xmlns:a16="http://schemas.microsoft.com/office/drawing/2014/main" id="{3C181C86-93C9-4656-A092-FAFD6B0540EA}"/>
              </a:ext>
            </a:extLst>
          </p:cNvPr>
          <p:cNvSpPr>
            <a:spLocks noEditPoints="1"/>
          </p:cNvSpPr>
          <p:nvPr/>
        </p:nvSpPr>
        <p:spPr bwMode="auto">
          <a:xfrm>
            <a:off x="3442467" y="339251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6" name="Freeform 171">
            <a:extLst>
              <a:ext uri="{FF2B5EF4-FFF2-40B4-BE49-F238E27FC236}">
                <a16:creationId xmlns:a16="http://schemas.microsoft.com/office/drawing/2014/main" id="{51478F9D-15AA-4C20-8BF7-7AC7FDC394AE}"/>
              </a:ext>
            </a:extLst>
          </p:cNvPr>
          <p:cNvSpPr>
            <a:spLocks noEditPoints="1"/>
          </p:cNvSpPr>
          <p:nvPr/>
        </p:nvSpPr>
        <p:spPr bwMode="auto">
          <a:xfrm>
            <a:off x="3305227" y="3347344"/>
            <a:ext cx="103086" cy="103086"/>
          </a:xfrm>
          <a:custGeom>
            <a:avLst/>
            <a:gdLst>
              <a:gd name="T0" fmla="*/ 16 w 33"/>
              <a:gd name="T1" fmla="*/ 0 h 33"/>
              <a:gd name="T2" fmla="*/ 16 w 33"/>
              <a:gd name="T3" fmla="*/ 33 h 33"/>
              <a:gd name="T4" fmla="*/ 33 w 33"/>
              <a:gd name="T5" fmla="*/ 17 h 33"/>
              <a:gd name="T6" fmla="*/ 0 w 33"/>
              <a:gd name="T7" fmla="*/ 17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3" h="33">
                <a:moveTo>
                  <a:pt x="16" y="0"/>
                </a:moveTo>
                <a:lnTo>
                  <a:pt x="16" y="33"/>
                </a:lnTo>
                <a:moveTo>
                  <a:pt x="33" y="17"/>
                </a:moveTo>
                <a:lnTo>
                  <a:pt x="0" y="17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7" name="Freeform 172">
            <a:extLst>
              <a:ext uri="{FF2B5EF4-FFF2-40B4-BE49-F238E27FC236}">
                <a16:creationId xmlns:a16="http://schemas.microsoft.com/office/drawing/2014/main" id="{38C1C9D9-DCAB-4DBD-9345-7FECA04ABBDC}"/>
              </a:ext>
            </a:extLst>
          </p:cNvPr>
          <p:cNvSpPr>
            <a:spLocks noEditPoints="1"/>
          </p:cNvSpPr>
          <p:nvPr/>
        </p:nvSpPr>
        <p:spPr bwMode="auto">
          <a:xfrm>
            <a:off x="3269431" y="3347344"/>
            <a:ext cx="93716" cy="103086"/>
          </a:xfrm>
          <a:custGeom>
            <a:avLst/>
            <a:gdLst>
              <a:gd name="T0" fmla="*/ 16 w 30"/>
              <a:gd name="T1" fmla="*/ 0 h 33"/>
              <a:gd name="T2" fmla="*/ 16 w 30"/>
              <a:gd name="T3" fmla="*/ 33 h 33"/>
              <a:gd name="T4" fmla="*/ 30 w 30"/>
              <a:gd name="T5" fmla="*/ 17 h 33"/>
              <a:gd name="T6" fmla="*/ 0 w 30"/>
              <a:gd name="T7" fmla="*/ 17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3">
                <a:moveTo>
                  <a:pt x="16" y="0"/>
                </a:moveTo>
                <a:lnTo>
                  <a:pt x="16" y="33"/>
                </a:lnTo>
                <a:moveTo>
                  <a:pt x="30" y="17"/>
                </a:moveTo>
                <a:lnTo>
                  <a:pt x="0" y="17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8" name="Freeform 173">
            <a:extLst>
              <a:ext uri="{FF2B5EF4-FFF2-40B4-BE49-F238E27FC236}">
                <a16:creationId xmlns:a16="http://schemas.microsoft.com/office/drawing/2014/main" id="{1B4C1640-B45B-4A92-8FF5-2AB04AF5CAD1}"/>
              </a:ext>
            </a:extLst>
          </p:cNvPr>
          <p:cNvSpPr>
            <a:spLocks noEditPoints="1"/>
          </p:cNvSpPr>
          <p:nvPr/>
        </p:nvSpPr>
        <p:spPr bwMode="auto">
          <a:xfrm>
            <a:off x="3256730" y="3333006"/>
            <a:ext cx="93718" cy="96838"/>
          </a:xfrm>
          <a:custGeom>
            <a:avLst/>
            <a:gdLst>
              <a:gd name="T0" fmla="*/ 14 w 30"/>
              <a:gd name="T1" fmla="*/ 0 h 31"/>
              <a:gd name="T2" fmla="*/ 14 w 30"/>
              <a:gd name="T3" fmla="*/ 31 h 31"/>
              <a:gd name="T4" fmla="*/ 30 w 30"/>
              <a:gd name="T5" fmla="*/ 14 h 31"/>
              <a:gd name="T6" fmla="*/ 0 w 30"/>
              <a:gd name="T7" fmla="*/ 14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1">
                <a:moveTo>
                  <a:pt x="14" y="0"/>
                </a:moveTo>
                <a:lnTo>
                  <a:pt x="14" y="31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09" name="Freeform 174">
            <a:extLst>
              <a:ext uri="{FF2B5EF4-FFF2-40B4-BE49-F238E27FC236}">
                <a16:creationId xmlns:a16="http://schemas.microsoft.com/office/drawing/2014/main" id="{5A8EE138-0171-4C09-842D-8B84418D04A2}"/>
              </a:ext>
            </a:extLst>
          </p:cNvPr>
          <p:cNvSpPr>
            <a:spLocks noEditPoints="1"/>
          </p:cNvSpPr>
          <p:nvPr/>
        </p:nvSpPr>
        <p:spPr bwMode="auto">
          <a:xfrm>
            <a:off x="3147244" y="3311549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0" name="Freeform 175">
            <a:extLst>
              <a:ext uri="{FF2B5EF4-FFF2-40B4-BE49-F238E27FC236}">
                <a16:creationId xmlns:a16="http://schemas.microsoft.com/office/drawing/2014/main" id="{55B51504-9B3C-42A6-BF92-82C45AC37CAF}"/>
              </a:ext>
            </a:extLst>
          </p:cNvPr>
          <p:cNvSpPr>
            <a:spLocks noEditPoints="1"/>
          </p:cNvSpPr>
          <p:nvPr/>
        </p:nvSpPr>
        <p:spPr bwMode="auto">
          <a:xfrm>
            <a:off x="3137720" y="3300487"/>
            <a:ext cx="99962" cy="99962"/>
          </a:xfrm>
          <a:custGeom>
            <a:avLst/>
            <a:gdLst>
              <a:gd name="T0" fmla="*/ 16 w 32"/>
              <a:gd name="T1" fmla="*/ 0 h 32"/>
              <a:gd name="T2" fmla="*/ 16 w 32"/>
              <a:gd name="T3" fmla="*/ 32 h 32"/>
              <a:gd name="T4" fmla="*/ 32 w 32"/>
              <a:gd name="T5" fmla="*/ 16 h 32"/>
              <a:gd name="T6" fmla="*/ 0 w 32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2">
                <a:moveTo>
                  <a:pt x="16" y="0"/>
                </a:moveTo>
                <a:lnTo>
                  <a:pt x="16" y="32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1" name="Freeform 176">
            <a:extLst>
              <a:ext uri="{FF2B5EF4-FFF2-40B4-BE49-F238E27FC236}">
                <a16:creationId xmlns:a16="http://schemas.microsoft.com/office/drawing/2014/main" id="{611EF68D-90F1-4B57-9A81-E53B9930AE40}"/>
              </a:ext>
            </a:extLst>
          </p:cNvPr>
          <p:cNvSpPr>
            <a:spLocks noEditPoints="1"/>
          </p:cNvSpPr>
          <p:nvPr/>
        </p:nvSpPr>
        <p:spPr bwMode="auto">
          <a:xfrm>
            <a:off x="3128195" y="3290962"/>
            <a:ext cx="99962" cy="99962"/>
          </a:xfrm>
          <a:custGeom>
            <a:avLst/>
            <a:gdLst>
              <a:gd name="T0" fmla="*/ 16 w 32"/>
              <a:gd name="T1" fmla="*/ 0 h 32"/>
              <a:gd name="T2" fmla="*/ 16 w 32"/>
              <a:gd name="T3" fmla="*/ 32 h 32"/>
              <a:gd name="T4" fmla="*/ 32 w 32"/>
              <a:gd name="T5" fmla="*/ 16 h 32"/>
              <a:gd name="T6" fmla="*/ 0 w 32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2">
                <a:moveTo>
                  <a:pt x="16" y="0"/>
                </a:moveTo>
                <a:lnTo>
                  <a:pt x="16" y="32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2" name="Freeform 177">
            <a:extLst>
              <a:ext uri="{FF2B5EF4-FFF2-40B4-BE49-F238E27FC236}">
                <a16:creationId xmlns:a16="http://schemas.microsoft.com/office/drawing/2014/main" id="{F019677C-ECCB-4C2A-B63A-691CB1B81B60}"/>
              </a:ext>
            </a:extLst>
          </p:cNvPr>
          <p:cNvSpPr>
            <a:spLocks noEditPoints="1"/>
          </p:cNvSpPr>
          <p:nvPr/>
        </p:nvSpPr>
        <p:spPr bwMode="auto">
          <a:xfrm>
            <a:off x="3123380" y="3286149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3" name="Freeform 178">
            <a:extLst>
              <a:ext uri="{FF2B5EF4-FFF2-40B4-BE49-F238E27FC236}">
                <a16:creationId xmlns:a16="http://schemas.microsoft.com/office/drawing/2014/main" id="{42ACBB08-C970-424D-BAB4-236421045E58}"/>
              </a:ext>
            </a:extLst>
          </p:cNvPr>
          <p:cNvSpPr>
            <a:spLocks noEditPoints="1"/>
          </p:cNvSpPr>
          <p:nvPr/>
        </p:nvSpPr>
        <p:spPr bwMode="auto">
          <a:xfrm>
            <a:off x="3096444" y="3282974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4" name="Freeform 179">
            <a:extLst>
              <a:ext uri="{FF2B5EF4-FFF2-40B4-BE49-F238E27FC236}">
                <a16:creationId xmlns:a16="http://schemas.microsoft.com/office/drawing/2014/main" id="{657BB7FA-79D3-4965-AFE6-B99808AAD655}"/>
              </a:ext>
            </a:extLst>
          </p:cNvPr>
          <p:cNvSpPr>
            <a:spLocks noEditPoints="1"/>
          </p:cNvSpPr>
          <p:nvPr/>
        </p:nvSpPr>
        <p:spPr bwMode="auto">
          <a:xfrm>
            <a:off x="3056705" y="3282974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5" name="Freeform 180">
            <a:extLst>
              <a:ext uri="{FF2B5EF4-FFF2-40B4-BE49-F238E27FC236}">
                <a16:creationId xmlns:a16="http://schemas.microsoft.com/office/drawing/2014/main" id="{6F987FFE-C7C7-4401-A576-EE269BC5A6E9}"/>
              </a:ext>
            </a:extLst>
          </p:cNvPr>
          <p:cNvSpPr>
            <a:spLocks noEditPoints="1"/>
          </p:cNvSpPr>
          <p:nvPr/>
        </p:nvSpPr>
        <p:spPr bwMode="auto">
          <a:xfrm>
            <a:off x="3005905" y="3260749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6" name="Freeform 181">
            <a:extLst>
              <a:ext uri="{FF2B5EF4-FFF2-40B4-BE49-F238E27FC236}">
                <a16:creationId xmlns:a16="http://schemas.microsoft.com/office/drawing/2014/main" id="{321F89D8-5048-44C7-8C0C-FCD5652C7AFD}"/>
              </a:ext>
            </a:extLst>
          </p:cNvPr>
          <p:cNvSpPr>
            <a:spLocks noEditPoints="1"/>
          </p:cNvSpPr>
          <p:nvPr/>
        </p:nvSpPr>
        <p:spPr bwMode="auto">
          <a:xfrm>
            <a:off x="2939230" y="3222649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7" name="Freeform 182">
            <a:extLst>
              <a:ext uri="{FF2B5EF4-FFF2-40B4-BE49-F238E27FC236}">
                <a16:creationId xmlns:a16="http://schemas.microsoft.com/office/drawing/2014/main" id="{829784A7-BDEE-4D6F-BB09-19E631D09E9A}"/>
              </a:ext>
            </a:extLst>
          </p:cNvPr>
          <p:cNvSpPr>
            <a:spLocks noEditPoints="1"/>
          </p:cNvSpPr>
          <p:nvPr/>
        </p:nvSpPr>
        <p:spPr bwMode="auto">
          <a:xfrm>
            <a:off x="2890069" y="3222649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8" name="Freeform 183">
            <a:extLst>
              <a:ext uri="{FF2B5EF4-FFF2-40B4-BE49-F238E27FC236}">
                <a16:creationId xmlns:a16="http://schemas.microsoft.com/office/drawing/2014/main" id="{804890BD-3F34-4808-BA57-064BD07944D5}"/>
              </a:ext>
            </a:extLst>
          </p:cNvPr>
          <p:cNvSpPr>
            <a:spLocks noEditPoints="1"/>
          </p:cNvSpPr>
          <p:nvPr/>
        </p:nvSpPr>
        <p:spPr bwMode="auto">
          <a:xfrm>
            <a:off x="2850331" y="3205237"/>
            <a:ext cx="93716" cy="99962"/>
          </a:xfrm>
          <a:custGeom>
            <a:avLst/>
            <a:gdLst>
              <a:gd name="T0" fmla="*/ 14 w 30"/>
              <a:gd name="T1" fmla="*/ 0 h 32"/>
              <a:gd name="T2" fmla="*/ 14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4" y="0"/>
                </a:moveTo>
                <a:lnTo>
                  <a:pt x="14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19" name="Freeform 184">
            <a:extLst>
              <a:ext uri="{FF2B5EF4-FFF2-40B4-BE49-F238E27FC236}">
                <a16:creationId xmlns:a16="http://schemas.microsoft.com/office/drawing/2014/main" id="{63A6A46E-0544-4021-8805-DFE30EC51D4D}"/>
              </a:ext>
            </a:extLst>
          </p:cNvPr>
          <p:cNvSpPr>
            <a:spLocks noEditPoints="1"/>
          </p:cNvSpPr>
          <p:nvPr/>
        </p:nvSpPr>
        <p:spPr bwMode="auto">
          <a:xfrm>
            <a:off x="2801170" y="3205237"/>
            <a:ext cx="99962" cy="99962"/>
          </a:xfrm>
          <a:custGeom>
            <a:avLst/>
            <a:gdLst>
              <a:gd name="T0" fmla="*/ 16 w 32"/>
              <a:gd name="T1" fmla="*/ 0 h 32"/>
              <a:gd name="T2" fmla="*/ 16 w 32"/>
              <a:gd name="T3" fmla="*/ 32 h 32"/>
              <a:gd name="T4" fmla="*/ 32 w 32"/>
              <a:gd name="T5" fmla="*/ 16 h 32"/>
              <a:gd name="T6" fmla="*/ 0 w 32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2">
                <a:moveTo>
                  <a:pt x="16" y="0"/>
                </a:moveTo>
                <a:lnTo>
                  <a:pt x="16" y="32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0" name="Freeform 185">
            <a:extLst>
              <a:ext uri="{FF2B5EF4-FFF2-40B4-BE49-F238E27FC236}">
                <a16:creationId xmlns:a16="http://schemas.microsoft.com/office/drawing/2014/main" id="{A5CEFBAE-BA52-4A31-9D70-A5493967085B}"/>
              </a:ext>
            </a:extLst>
          </p:cNvPr>
          <p:cNvSpPr>
            <a:spLocks noEditPoints="1"/>
          </p:cNvSpPr>
          <p:nvPr/>
        </p:nvSpPr>
        <p:spPr bwMode="auto">
          <a:xfrm>
            <a:off x="2774130" y="3206774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1" name="Freeform 186">
            <a:extLst>
              <a:ext uri="{FF2B5EF4-FFF2-40B4-BE49-F238E27FC236}">
                <a16:creationId xmlns:a16="http://schemas.microsoft.com/office/drawing/2014/main" id="{3A2C555D-85B0-4760-8AFC-DF1054A963BD}"/>
              </a:ext>
            </a:extLst>
          </p:cNvPr>
          <p:cNvSpPr>
            <a:spLocks noEditPoints="1"/>
          </p:cNvSpPr>
          <p:nvPr/>
        </p:nvSpPr>
        <p:spPr bwMode="auto">
          <a:xfrm>
            <a:off x="2755080" y="3190899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2" name="Freeform 187">
            <a:extLst>
              <a:ext uri="{FF2B5EF4-FFF2-40B4-BE49-F238E27FC236}">
                <a16:creationId xmlns:a16="http://schemas.microsoft.com/office/drawing/2014/main" id="{7F820D84-2C03-4BC6-A3DE-DD71CD68FF06}"/>
              </a:ext>
            </a:extLst>
          </p:cNvPr>
          <p:cNvSpPr>
            <a:spLocks noEditPoints="1"/>
          </p:cNvSpPr>
          <p:nvPr/>
        </p:nvSpPr>
        <p:spPr bwMode="auto">
          <a:xfrm>
            <a:off x="2678880" y="3124224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3" name="Freeform 188">
            <a:extLst>
              <a:ext uri="{FF2B5EF4-FFF2-40B4-BE49-F238E27FC236}">
                <a16:creationId xmlns:a16="http://schemas.microsoft.com/office/drawing/2014/main" id="{CEAB2067-2A5B-430F-9259-14B5DF3D21F2}"/>
              </a:ext>
            </a:extLst>
          </p:cNvPr>
          <p:cNvSpPr>
            <a:spLocks noEditPoints="1"/>
          </p:cNvSpPr>
          <p:nvPr/>
        </p:nvSpPr>
        <p:spPr bwMode="auto">
          <a:xfrm>
            <a:off x="2651944" y="3101999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4" name="Freeform 189">
            <a:extLst>
              <a:ext uri="{FF2B5EF4-FFF2-40B4-BE49-F238E27FC236}">
                <a16:creationId xmlns:a16="http://schemas.microsoft.com/office/drawing/2014/main" id="{8FB2379A-F76F-473F-BD69-EB13FE9664FC}"/>
              </a:ext>
            </a:extLst>
          </p:cNvPr>
          <p:cNvSpPr>
            <a:spLocks noEditPoints="1"/>
          </p:cNvSpPr>
          <p:nvPr/>
        </p:nvSpPr>
        <p:spPr bwMode="auto">
          <a:xfrm>
            <a:off x="2624905" y="3082949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5" name="Freeform 190">
            <a:extLst>
              <a:ext uri="{FF2B5EF4-FFF2-40B4-BE49-F238E27FC236}">
                <a16:creationId xmlns:a16="http://schemas.microsoft.com/office/drawing/2014/main" id="{D3540EC4-0C05-464B-8A7B-13E6C9FEE188}"/>
              </a:ext>
            </a:extLst>
          </p:cNvPr>
          <p:cNvSpPr>
            <a:spLocks noEditPoints="1"/>
          </p:cNvSpPr>
          <p:nvPr/>
        </p:nvSpPr>
        <p:spPr bwMode="auto">
          <a:xfrm>
            <a:off x="2570930" y="3044849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6" name="Freeform 191">
            <a:extLst>
              <a:ext uri="{FF2B5EF4-FFF2-40B4-BE49-F238E27FC236}">
                <a16:creationId xmlns:a16="http://schemas.microsoft.com/office/drawing/2014/main" id="{2917EC5B-3A91-4CE4-88E3-A43BBCB36815}"/>
              </a:ext>
            </a:extLst>
          </p:cNvPr>
          <p:cNvSpPr>
            <a:spLocks noEditPoints="1"/>
          </p:cNvSpPr>
          <p:nvPr/>
        </p:nvSpPr>
        <p:spPr bwMode="auto">
          <a:xfrm>
            <a:off x="2504255" y="3003574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7" name="Freeform 192">
            <a:extLst>
              <a:ext uri="{FF2B5EF4-FFF2-40B4-BE49-F238E27FC236}">
                <a16:creationId xmlns:a16="http://schemas.microsoft.com/office/drawing/2014/main" id="{69F1DD14-B841-4D12-9DE0-6ABBE0762E29}"/>
              </a:ext>
            </a:extLst>
          </p:cNvPr>
          <p:cNvSpPr>
            <a:spLocks noEditPoints="1"/>
          </p:cNvSpPr>
          <p:nvPr/>
        </p:nvSpPr>
        <p:spPr bwMode="auto">
          <a:xfrm>
            <a:off x="2482031" y="2976637"/>
            <a:ext cx="93716" cy="99962"/>
          </a:xfrm>
          <a:custGeom>
            <a:avLst/>
            <a:gdLst>
              <a:gd name="T0" fmla="*/ 14 w 30"/>
              <a:gd name="T1" fmla="*/ 0 h 32"/>
              <a:gd name="T2" fmla="*/ 14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4" y="0"/>
                </a:moveTo>
                <a:lnTo>
                  <a:pt x="14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8" name="Freeform 193">
            <a:extLst>
              <a:ext uri="{FF2B5EF4-FFF2-40B4-BE49-F238E27FC236}">
                <a16:creationId xmlns:a16="http://schemas.microsoft.com/office/drawing/2014/main" id="{0A0413AC-1B24-4AC5-A88E-779947CED487}"/>
              </a:ext>
            </a:extLst>
          </p:cNvPr>
          <p:cNvSpPr>
            <a:spLocks noEditPoints="1"/>
          </p:cNvSpPr>
          <p:nvPr/>
        </p:nvSpPr>
        <p:spPr bwMode="auto">
          <a:xfrm>
            <a:off x="2458270" y="2950418"/>
            <a:ext cx="99962" cy="96838"/>
          </a:xfrm>
          <a:custGeom>
            <a:avLst/>
            <a:gdLst>
              <a:gd name="T0" fmla="*/ 16 w 32"/>
              <a:gd name="T1" fmla="*/ 0 h 31"/>
              <a:gd name="T2" fmla="*/ 16 w 32"/>
              <a:gd name="T3" fmla="*/ 31 h 31"/>
              <a:gd name="T4" fmla="*/ 32 w 32"/>
              <a:gd name="T5" fmla="*/ 17 h 31"/>
              <a:gd name="T6" fmla="*/ 0 w 32"/>
              <a:gd name="T7" fmla="*/ 17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1">
                <a:moveTo>
                  <a:pt x="16" y="0"/>
                </a:moveTo>
                <a:lnTo>
                  <a:pt x="16" y="31"/>
                </a:lnTo>
                <a:moveTo>
                  <a:pt x="32" y="17"/>
                </a:moveTo>
                <a:lnTo>
                  <a:pt x="0" y="17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29" name="Freeform 194">
            <a:extLst>
              <a:ext uri="{FF2B5EF4-FFF2-40B4-BE49-F238E27FC236}">
                <a16:creationId xmlns:a16="http://schemas.microsoft.com/office/drawing/2014/main" id="{853D973C-B245-4380-AF86-E01DE9E27D3D}"/>
              </a:ext>
            </a:extLst>
          </p:cNvPr>
          <p:cNvSpPr>
            <a:spLocks noEditPoints="1"/>
          </p:cNvSpPr>
          <p:nvPr/>
        </p:nvSpPr>
        <p:spPr bwMode="auto">
          <a:xfrm>
            <a:off x="2440755" y="2925018"/>
            <a:ext cx="93718" cy="96838"/>
          </a:xfrm>
          <a:custGeom>
            <a:avLst/>
            <a:gdLst>
              <a:gd name="T0" fmla="*/ 16 w 30"/>
              <a:gd name="T1" fmla="*/ 0 h 31"/>
              <a:gd name="T2" fmla="*/ 16 w 30"/>
              <a:gd name="T3" fmla="*/ 31 h 31"/>
              <a:gd name="T4" fmla="*/ 30 w 30"/>
              <a:gd name="T5" fmla="*/ 14 h 31"/>
              <a:gd name="T6" fmla="*/ 0 w 30"/>
              <a:gd name="T7" fmla="*/ 14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1">
                <a:moveTo>
                  <a:pt x="16" y="0"/>
                </a:moveTo>
                <a:lnTo>
                  <a:pt x="16" y="31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0" name="Freeform 195">
            <a:extLst>
              <a:ext uri="{FF2B5EF4-FFF2-40B4-BE49-F238E27FC236}">
                <a16:creationId xmlns:a16="http://schemas.microsoft.com/office/drawing/2014/main" id="{5A2FB328-0908-4E33-B236-FEE636C57DF5}"/>
              </a:ext>
            </a:extLst>
          </p:cNvPr>
          <p:cNvSpPr>
            <a:spLocks noEditPoints="1"/>
          </p:cNvSpPr>
          <p:nvPr/>
        </p:nvSpPr>
        <p:spPr bwMode="auto">
          <a:xfrm>
            <a:off x="2420169" y="2897211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1" name="Freeform 196">
            <a:extLst>
              <a:ext uri="{FF2B5EF4-FFF2-40B4-BE49-F238E27FC236}">
                <a16:creationId xmlns:a16="http://schemas.microsoft.com/office/drawing/2014/main" id="{A355B48E-D00F-404B-9A3D-EA0CB353C3B3}"/>
              </a:ext>
            </a:extLst>
          </p:cNvPr>
          <p:cNvSpPr>
            <a:spLocks noEditPoints="1"/>
          </p:cNvSpPr>
          <p:nvPr/>
        </p:nvSpPr>
        <p:spPr bwMode="auto">
          <a:xfrm>
            <a:off x="2399481" y="2870274"/>
            <a:ext cx="93716" cy="99962"/>
          </a:xfrm>
          <a:custGeom>
            <a:avLst/>
            <a:gdLst>
              <a:gd name="T0" fmla="*/ 16 w 30"/>
              <a:gd name="T1" fmla="*/ 0 h 32"/>
              <a:gd name="T2" fmla="*/ 16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6" y="0"/>
                </a:moveTo>
                <a:lnTo>
                  <a:pt x="16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2" name="Freeform 197">
            <a:extLst>
              <a:ext uri="{FF2B5EF4-FFF2-40B4-BE49-F238E27FC236}">
                <a16:creationId xmlns:a16="http://schemas.microsoft.com/office/drawing/2014/main" id="{85E0A57F-193A-4EF2-9A8E-BF58A5E69B2F}"/>
              </a:ext>
            </a:extLst>
          </p:cNvPr>
          <p:cNvSpPr>
            <a:spLocks noEditPoints="1"/>
          </p:cNvSpPr>
          <p:nvPr/>
        </p:nvSpPr>
        <p:spPr bwMode="auto">
          <a:xfrm>
            <a:off x="2383605" y="284958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3" name="Freeform 198">
            <a:extLst>
              <a:ext uri="{FF2B5EF4-FFF2-40B4-BE49-F238E27FC236}">
                <a16:creationId xmlns:a16="http://schemas.microsoft.com/office/drawing/2014/main" id="{2482F3FF-ED97-43BD-A700-EC02DDA755F7}"/>
              </a:ext>
            </a:extLst>
          </p:cNvPr>
          <p:cNvSpPr>
            <a:spLocks noEditPoints="1"/>
          </p:cNvSpPr>
          <p:nvPr/>
        </p:nvSpPr>
        <p:spPr bwMode="auto">
          <a:xfrm>
            <a:off x="2358205" y="283053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4" name="Freeform 199">
            <a:extLst>
              <a:ext uri="{FF2B5EF4-FFF2-40B4-BE49-F238E27FC236}">
                <a16:creationId xmlns:a16="http://schemas.microsoft.com/office/drawing/2014/main" id="{978BBFE1-7A64-40A3-9926-9C699621BCB9}"/>
              </a:ext>
            </a:extLst>
          </p:cNvPr>
          <p:cNvSpPr>
            <a:spLocks noEditPoints="1"/>
          </p:cNvSpPr>
          <p:nvPr/>
        </p:nvSpPr>
        <p:spPr bwMode="auto">
          <a:xfrm>
            <a:off x="2316930" y="277021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5" name="Freeform 200">
            <a:extLst>
              <a:ext uri="{FF2B5EF4-FFF2-40B4-BE49-F238E27FC236}">
                <a16:creationId xmlns:a16="http://schemas.microsoft.com/office/drawing/2014/main" id="{E17F3FD2-FC9D-4CB7-89FF-A14F80417813}"/>
              </a:ext>
            </a:extLst>
          </p:cNvPr>
          <p:cNvSpPr>
            <a:spLocks noEditPoints="1"/>
          </p:cNvSpPr>
          <p:nvPr/>
        </p:nvSpPr>
        <p:spPr bwMode="auto">
          <a:xfrm>
            <a:off x="2278830" y="273846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6" name="Freeform 201">
            <a:extLst>
              <a:ext uri="{FF2B5EF4-FFF2-40B4-BE49-F238E27FC236}">
                <a16:creationId xmlns:a16="http://schemas.microsoft.com/office/drawing/2014/main" id="{DCF762B3-7FAB-47C5-A018-09F5D6A35902}"/>
              </a:ext>
            </a:extLst>
          </p:cNvPr>
          <p:cNvSpPr>
            <a:spLocks noEditPoints="1"/>
          </p:cNvSpPr>
          <p:nvPr/>
        </p:nvSpPr>
        <p:spPr bwMode="auto">
          <a:xfrm>
            <a:off x="2253430" y="271306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7" name="Freeform 202">
            <a:extLst>
              <a:ext uri="{FF2B5EF4-FFF2-40B4-BE49-F238E27FC236}">
                <a16:creationId xmlns:a16="http://schemas.microsoft.com/office/drawing/2014/main" id="{583C1E5E-BBF4-4022-B3D0-B4F417080167}"/>
              </a:ext>
            </a:extLst>
          </p:cNvPr>
          <p:cNvSpPr>
            <a:spLocks noEditPoints="1"/>
          </p:cNvSpPr>
          <p:nvPr/>
        </p:nvSpPr>
        <p:spPr bwMode="auto">
          <a:xfrm>
            <a:off x="2224855" y="270988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8" name="Freeform 203">
            <a:extLst>
              <a:ext uri="{FF2B5EF4-FFF2-40B4-BE49-F238E27FC236}">
                <a16:creationId xmlns:a16="http://schemas.microsoft.com/office/drawing/2014/main" id="{17937A1C-46EA-4AEA-A3FD-3E902BE6055E}"/>
              </a:ext>
            </a:extLst>
          </p:cNvPr>
          <p:cNvSpPr>
            <a:spLocks noEditPoints="1"/>
          </p:cNvSpPr>
          <p:nvPr/>
        </p:nvSpPr>
        <p:spPr bwMode="auto">
          <a:xfrm>
            <a:off x="2202630" y="268766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39" name="Freeform 204">
            <a:extLst>
              <a:ext uri="{FF2B5EF4-FFF2-40B4-BE49-F238E27FC236}">
                <a16:creationId xmlns:a16="http://schemas.microsoft.com/office/drawing/2014/main" id="{11980D66-0BA9-4929-9EBA-C303BFADE2A2}"/>
              </a:ext>
            </a:extLst>
          </p:cNvPr>
          <p:cNvSpPr>
            <a:spLocks noEditPoints="1"/>
          </p:cNvSpPr>
          <p:nvPr/>
        </p:nvSpPr>
        <p:spPr bwMode="auto">
          <a:xfrm>
            <a:off x="2180405" y="2678136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0" name="Freeform 206">
            <a:extLst>
              <a:ext uri="{FF2B5EF4-FFF2-40B4-BE49-F238E27FC236}">
                <a16:creationId xmlns:a16="http://schemas.microsoft.com/office/drawing/2014/main" id="{EDAFF7DB-7F9F-48B1-AF5A-202566D22B5A}"/>
              </a:ext>
            </a:extLst>
          </p:cNvPr>
          <p:cNvSpPr>
            <a:spLocks noEditPoints="1"/>
          </p:cNvSpPr>
          <p:nvPr/>
        </p:nvSpPr>
        <p:spPr bwMode="auto">
          <a:xfrm>
            <a:off x="2161355" y="2659086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1" name="Freeform 207">
            <a:extLst>
              <a:ext uri="{FF2B5EF4-FFF2-40B4-BE49-F238E27FC236}">
                <a16:creationId xmlns:a16="http://schemas.microsoft.com/office/drawing/2014/main" id="{FEEDD287-E250-4C19-A99D-A0237B99D851}"/>
              </a:ext>
            </a:extLst>
          </p:cNvPr>
          <p:cNvSpPr>
            <a:spLocks noEditPoints="1"/>
          </p:cNvSpPr>
          <p:nvPr/>
        </p:nvSpPr>
        <p:spPr bwMode="auto">
          <a:xfrm>
            <a:off x="2142305" y="263686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2" name="Freeform 208">
            <a:extLst>
              <a:ext uri="{FF2B5EF4-FFF2-40B4-BE49-F238E27FC236}">
                <a16:creationId xmlns:a16="http://schemas.microsoft.com/office/drawing/2014/main" id="{CBD7488C-24DE-4C28-AF53-C9C6FEBBB789}"/>
              </a:ext>
            </a:extLst>
          </p:cNvPr>
          <p:cNvSpPr>
            <a:spLocks noEditPoints="1"/>
          </p:cNvSpPr>
          <p:nvPr/>
        </p:nvSpPr>
        <p:spPr bwMode="auto">
          <a:xfrm>
            <a:off x="2112194" y="2624161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3" name="Freeform 209">
            <a:extLst>
              <a:ext uri="{FF2B5EF4-FFF2-40B4-BE49-F238E27FC236}">
                <a16:creationId xmlns:a16="http://schemas.microsoft.com/office/drawing/2014/main" id="{05AE1ECC-3CC9-43C7-811D-A4A5DBA1CA3C}"/>
              </a:ext>
            </a:extLst>
          </p:cNvPr>
          <p:cNvSpPr>
            <a:spLocks noEditPoints="1"/>
          </p:cNvSpPr>
          <p:nvPr/>
        </p:nvSpPr>
        <p:spPr bwMode="auto">
          <a:xfrm>
            <a:off x="2089969" y="2601936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4" name="Freeform 210">
            <a:extLst>
              <a:ext uri="{FF2B5EF4-FFF2-40B4-BE49-F238E27FC236}">
                <a16:creationId xmlns:a16="http://schemas.microsoft.com/office/drawing/2014/main" id="{152DD11C-8633-46C8-8846-4E0D8D2DD23B}"/>
              </a:ext>
            </a:extLst>
          </p:cNvPr>
          <p:cNvSpPr>
            <a:spLocks noEditPoints="1"/>
          </p:cNvSpPr>
          <p:nvPr/>
        </p:nvSpPr>
        <p:spPr bwMode="auto">
          <a:xfrm>
            <a:off x="2067744" y="2582886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5" name="Freeform 211">
            <a:extLst>
              <a:ext uri="{FF2B5EF4-FFF2-40B4-BE49-F238E27FC236}">
                <a16:creationId xmlns:a16="http://schemas.microsoft.com/office/drawing/2014/main" id="{51D3A35C-BE32-4F93-8531-947F03E6D9EE}"/>
              </a:ext>
            </a:extLst>
          </p:cNvPr>
          <p:cNvSpPr>
            <a:spLocks noEditPoints="1"/>
          </p:cNvSpPr>
          <p:nvPr/>
        </p:nvSpPr>
        <p:spPr bwMode="auto">
          <a:xfrm>
            <a:off x="1974031" y="2443237"/>
            <a:ext cx="93716" cy="99962"/>
          </a:xfrm>
          <a:custGeom>
            <a:avLst/>
            <a:gdLst>
              <a:gd name="T0" fmla="*/ 14 w 30"/>
              <a:gd name="T1" fmla="*/ 0 h 32"/>
              <a:gd name="T2" fmla="*/ 14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4" y="0"/>
                </a:moveTo>
                <a:lnTo>
                  <a:pt x="14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6" name="Freeform 212">
            <a:extLst>
              <a:ext uri="{FF2B5EF4-FFF2-40B4-BE49-F238E27FC236}">
                <a16:creationId xmlns:a16="http://schemas.microsoft.com/office/drawing/2014/main" id="{BB5977E5-C642-4C2C-A0AB-97B57392EC75}"/>
              </a:ext>
            </a:extLst>
          </p:cNvPr>
          <p:cNvSpPr>
            <a:spLocks noEditPoints="1"/>
          </p:cNvSpPr>
          <p:nvPr/>
        </p:nvSpPr>
        <p:spPr bwMode="auto">
          <a:xfrm>
            <a:off x="1775644" y="2311424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7" name="Freeform 213">
            <a:extLst>
              <a:ext uri="{FF2B5EF4-FFF2-40B4-BE49-F238E27FC236}">
                <a16:creationId xmlns:a16="http://schemas.microsoft.com/office/drawing/2014/main" id="{F06FC200-8009-4A1B-9221-4B5DD76F078E}"/>
              </a:ext>
            </a:extLst>
          </p:cNvPr>
          <p:cNvSpPr>
            <a:spLocks noEditPoints="1"/>
          </p:cNvSpPr>
          <p:nvPr/>
        </p:nvSpPr>
        <p:spPr bwMode="auto">
          <a:xfrm>
            <a:off x="1486667" y="2140793"/>
            <a:ext cx="93718" cy="96838"/>
          </a:xfrm>
          <a:custGeom>
            <a:avLst/>
            <a:gdLst>
              <a:gd name="T0" fmla="*/ 16 w 30"/>
              <a:gd name="T1" fmla="*/ 0 h 31"/>
              <a:gd name="T2" fmla="*/ 16 w 30"/>
              <a:gd name="T3" fmla="*/ 31 h 31"/>
              <a:gd name="T4" fmla="*/ 30 w 30"/>
              <a:gd name="T5" fmla="*/ 14 h 31"/>
              <a:gd name="T6" fmla="*/ 0 w 30"/>
              <a:gd name="T7" fmla="*/ 14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1">
                <a:moveTo>
                  <a:pt x="16" y="0"/>
                </a:moveTo>
                <a:lnTo>
                  <a:pt x="16" y="31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8" name="Freeform 214">
            <a:extLst>
              <a:ext uri="{FF2B5EF4-FFF2-40B4-BE49-F238E27FC236}">
                <a16:creationId xmlns:a16="http://schemas.microsoft.com/office/drawing/2014/main" id="{7EED3DAF-9AFD-4FCB-8BF9-EEEE538E9A11}"/>
              </a:ext>
            </a:extLst>
          </p:cNvPr>
          <p:cNvSpPr>
            <a:spLocks noEditPoints="1"/>
          </p:cNvSpPr>
          <p:nvPr/>
        </p:nvSpPr>
        <p:spPr bwMode="auto">
          <a:xfrm>
            <a:off x="1445392" y="211616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49" name="Freeform 215">
            <a:extLst>
              <a:ext uri="{FF2B5EF4-FFF2-40B4-BE49-F238E27FC236}">
                <a16:creationId xmlns:a16="http://schemas.microsoft.com/office/drawing/2014/main" id="{3649CB34-2352-41E1-9708-149B49E16532}"/>
              </a:ext>
            </a:extLst>
          </p:cNvPr>
          <p:cNvSpPr>
            <a:spLocks noEditPoints="1"/>
          </p:cNvSpPr>
          <p:nvPr/>
        </p:nvSpPr>
        <p:spPr bwMode="auto">
          <a:xfrm>
            <a:off x="3382142" y="339251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0" name="Freeform 216">
            <a:extLst>
              <a:ext uri="{FF2B5EF4-FFF2-40B4-BE49-F238E27FC236}">
                <a16:creationId xmlns:a16="http://schemas.microsoft.com/office/drawing/2014/main" id="{222EE708-01BD-4135-B6DE-ED1EBC404BFA}"/>
              </a:ext>
            </a:extLst>
          </p:cNvPr>
          <p:cNvSpPr>
            <a:spLocks noEditPoints="1"/>
          </p:cNvSpPr>
          <p:nvPr/>
        </p:nvSpPr>
        <p:spPr bwMode="auto">
          <a:xfrm>
            <a:off x="3607568" y="3489399"/>
            <a:ext cx="93716" cy="99962"/>
          </a:xfrm>
          <a:custGeom>
            <a:avLst/>
            <a:gdLst>
              <a:gd name="T0" fmla="*/ 16 w 30"/>
              <a:gd name="T1" fmla="*/ 0 h 32"/>
              <a:gd name="T2" fmla="*/ 16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6" y="0"/>
                </a:moveTo>
                <a:lnTo>
                  <a:pt x="16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1" name="Rectangle 25">
            <a:extLst>
              <a:ext uri="{FF2B5EF4-FFF2-40B4-BE49-F238E27FC236}">
                <a16:creationId xmlns:a16="http://schemas.microsoft.com/office/drawing/2014/main" id="{96E300C0-6836-40F3-8B62-BFAD958B35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8857" y="4433986"/>
            <a:ext cx="93455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Čas</a:t>
            </a: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(</a:t>
            </a:r>
            <a:r>
              <a:rPr kumimoji="0" lang="cs-CZ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měsíce</a:t>
            </a: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)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2" name="Rectangle 11">
            <a:extLst>
              <a:ext uri="{FF2B5EF4-FFF2-40B4-BE49-F238E27FC236}">
                <a16:creationId xmlns:a16="http://schemas.microsoft.com/office/drawing/2014/main" id="{9F25B3FD-E66F-406C-BBD4-AEF65E2FBEE6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-220366" y="3029843"/>
            <a:ext cx="180658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Pravděpodobnost přežití</a:t>
            </a: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l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53" name="Table 674">
            <a:extLst>
              <a:ext uri="{FF2B5EF4-FFF2-40B4-BE49-F238E27FC236}">
                <a16:creationId xmlns:a16="http://schemas.microsoft.com/office/drawing/2014/main" id="{F896390D-BAEC-41B4-8235-C2BB66C3FFC2}"/>
              </a:ext>
            </a:extLst>
          </p:cNvPr>
          <p:cNvGraphicFramePr>
            <a:graphicFrameLocks noGrp="1"/>
          </p:cNvGraphicFramePr>
          <p:nvPr/>
        </p:nvGraphicFramePr>
        <p:xfrm>
          <a:off x="2197792" y="1599689"/>
          <a:ext cx="3769118" cy="897600"/>
        </p:xfrm>
        <a:graphic>
          <a:graphicData uri="http://schemas.openxmlformats.org/drawingml/2006/table">
            <a:tbl>
              <a:tblPr firstRow="1" bandRow="1"/>
              <a:tblGrid>
                <a:gridCol w="3769118">
                  <a:extLst>
                    <a:ext uri="{9D8B030D-6E8A-4147-A177-3AD203B41FA5}">
                      <a16:colId xmlns:a16="http://schemas.microsoft.com/office/drawing/2014/main" val="16567322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000" dirty="0"/>
                        <a:t>HR (95% CI): 0</a:t>
                      </a:r>
                      <a:r>
                        <a:rPr lang="cs-CZ" sz="1000" dirty="0"/>
                        <a:t>,</a:t>
                      </a:r>
                      <a:r>
                        <a:rPr lang="en-GB" sz="1000" dirty="0"/>
                        <a:t>60 (0</a:t>
                      </a:r>
                      <a:r>
                        <a:rPr lang="cs-CZ" sz="1000" dirty="0"/>
                        <a:t>,</a:t>
                      </a:r>
                      <a:r>
                        <a:rPr lang="en-GB" sz="1000" dirty="0"/>
                        <a:t>47–0</a:t>
                      </a:r>
                      <a:r>
                        <a:rPr lang="cs-CZ" sz="1000" dirty="0"/>
                        <a:t>,</a:t>
                      </a:r>
                      <a:r>
                        <a:rPr lang="en-GB" sz="1000" dirty="0"/>
                        <a:t>75)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88795537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000" dirty="0"/>
                        <a:t>Medi</a:t>
                      </a:r>
                      <a:r>
                        <a:rPr lang="cs-CZ" sz="1000" dirty="0"/>
                        <a:t>á</a:t>
                      </a:r>
                      <a:r>
                        <a:rPr lang="en-GB" sz="1000" dirty="0"/>
                        <a:t>n OS </a:t>
                      </a:r>
                      <a:r>
                        <a:rPr lang="cs-CZ" sz="1000" dirty="0"/>
                        <a:t>v měsících </a:t>
                      </a:r>
                      <a:r>
                        <a:rPr lang="en-GB" sz="1000" dirty="0"/>
                        <a:t>(95% CI)</a:t>
                      </a:r>
                    </a:p>
                  </a:txBody>
                  <a:tcPr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99343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tx2"/>
                          </a:solidFill>
                        </a:rPr>
                        <a:t>ENCO/BINI/CETUX</a:t>
                      </a:r>
                      <a:r>
                        <a:rPr lang="en-GB" sz="1000" b="1" baseline="30000" dirty="0">
                          <a:solidFill>
                            <a:schemeClr val="tx2"/>
                          </a:solidFill>
                        </a:rPr>
                        <a:t>‡</a:t>
                      </a:r>
                      <a:r>
                        <a:rPr lang="en-GB" sz="1000" b="1" dirty="0">
                          <a:solidFill>
                            <a:schemeClr val="tx2"/>
                          </a:solidFill>
                        </a:rPr>
                        <a:t> (137 events): 9</a:t>
                      </a:r>
                      <a:r>
                        <a:rPr lang="cs-CZ" sz="1000" b="1" dirty="0">
                          <a:solidFill>
                            <a:schemeClr val="tx2"/>
                          </a:solidFill>
                        </a:rPr>
                        <a:t>,</a:t>
                      </a:r>
                      <a:r>
                        <a:rPr lang="en-GB" sz="1000" b="1" dirty="0">
                          <a:solidFill>
                            <a:schemeClr val="tx2"/>
                          </a:solidFill>
                        </a:rPr>
                        <a:t>3 (8</a:t>
                      </a:r>
                      <a:r>
                        <a:rPr lang="cs-CZ" sz="1000" b="1" dirty="0">
                          <a:solidFill>
                            <a:schemeClr val="tx2"/>
                          </a:solidFill>
                        </a:rPr>
                        <a:t>,</a:t>
                      </a:r>
                      <a:r>
                        <a:rPr lang="en-GB" sz="1000" b="1" dirty="0">
                          <a:solidFill>
                            <a:schemeClr val="tx2"/>
                          </a:solidFill>
                        </a:rPr>
                        <a:t>2–10</a:t>
                      </a:r>
                      <a:r>
                        <a:rPr lang="cs-CZ" sz="1000" b="1" dirty="0">
                          <a:solidFill>
                            <a:schemeClr val="tx2"/>
                          </a:solidFill>
                        </a:rPr>
                        <a:t>,</a:t>
                      </a:r>
                      <a:r>
                        <a:rPr lang="en-GB" sz="1000" b="1" dirty="0">
                          <a:solidFill>
                            <a:schemeClr val="tx2"/>
                          </a:solidFill>
                        </a:rPr>
                        <a:t>8)</a:t>
                      </a:r>
                    </a:p>
                  </a:txBody>
                  <a:tcPr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47030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cs-CZ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Kontrola </a:t>
                      </a:r>
                      <a:r>
                        <a:rPr lang="en-GB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(157 events): 5</a:t>
                      </a:r>
                      <a:r>
                        <a:rPr lang="cs-CZ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,</a:t>
                      </a:r>
                      <a:r>
                        <a:rPr lang="en-GB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9 (5</a:t>
                      </a:r>
                      <a:r>
                        <a:rPr lang="cs-CZ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,</a:t>
                      </a:r>
                      <a:r>
                        <a:rPr lang="en-GB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–7</a:t>
                      </a:r>
                      <a:r>
                        <a:rPr lang="cs-CZ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,</a:t>
                      </a:r>
                      <a:r>
                        <a:rPr lang="en-GB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)</a:t>
                      </a:r>
                    </a:p>
                  </a:txBody>
                  <a:tcPr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8827217"/>
                  </a:ext>
                </a:extLst>
              </a:tr>
            </a:tbl>
          </a:graphicData>
        </a:graphic>
      </p:graphicFrame>
      <p:sp>
        <p:nvSpPr>
          <p:cNvPr id="154" name="TextBox 153">
            <a:extLst>
              <a:ext uri="{FF2B5EF4-FFF2-40B4-BE49-F238E27FC236}">
                <a16:creationId xmlns:a16="http://schemas.microsoft.com/office/drawing/2014/main" id="{E91A4B91-7442-4DD8-806B-568E5400440C}"/>
              </a:ext>
            </a:extLst>
          </p:cNvPr>
          <p:cNvSpPr txBox="1"/>
          <p:nvPr/>
        </p:nvSpPr>
        <p:spPr bwMode="gray">
          <a:xfrm>
            <a:off x="3552117" y="3180395"/>
            <a:ext cx="17255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CO/BINI/CETUX</a:t>
            </a:r>
            <a:r>
              <a:rPr kumimoji="0" lang="en-GB" sz="1000" b="1" i="0" u="none" strike="noStrike" kern="1200" cap="none" spc="0" normalizeH="0" baseline="3000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‡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EB053010-0F3B-41CD-922E-9B19D7E455F8}"/>
              </a:ext>
            </a:extLst>
          </p:cNvPr>
          <p:cNvSpPr txBox="1"/>
          <p:nvPr/>
        </p:nvSpPr>
        <p:spPr bwMode="gray">
          <a:xfrm>
            <a:off x="2876608" y="3822672"/>
            <a:ext cx="72865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rol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6" name="Freeform 38">
            <a:extLst>
              <a:ext uri="{FF2B5EF4-FFF2-40B4-BE49-F238E27FC236}">
                <a16:creationId xmlns:a16="http://schemas.microsoft.com/office/drawing/2014/main" id="{EE84C930-B4C9-44F2-996C-3AD2FE7B7A01}"/>
              </a:ext>
            </a:extLst>
          </p:cNvPr>
          <p:cNvSpPr>
            <a:spLocks/>
          </p:cNvSpPr>
          <p:nvPr/>
        </p:nvSpPr>
        <p:spPr bwMode="auto">
          <a:xfrm>
            <a:off x="6907213" y="2046377"/>
            <a:ext cx="4273550" cy="2100263"/>
          </a:xfrm>
          <a:custGeom>
            <a:avLst/>
            <a:gdLst>
              <a:gd name="T0" fmla="*/ 0 w 2692"/>
              <a:gd name="T1" fmla="*/ 0 h 1323"/>
              <a:gd name="T2" fmla="*/ 0 w 2692"/>
              <a:gd name="T3" fmla="*/ 1323 h 1323"/>
              <a:gd name="T4" fmla="*/ 2692 w 2692"/>
              <a:gd name="T5" fmla="*/ 1323 h 1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692" h="1323">
                <a:moveTo>
                  <a:pt x="0" y="0"/>
                </a:moveTo>
                <a:lnTo>
                  <a:pt x="0" y="1323"/>
                </a:lnTo>
                <a:lnTo>
                  <a:pt x="2692" y="1323"/>
                </a:lnTo>
              </a:path>
            </a:pathLst>
          </a:custGeom>
          <a:noFill/>
          <a:ln w="12700" cap="sq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7" name="Line 39">
            <a:extLst>
              <a:ext uri="{FF2B5EF4-FFF2-40B4-BE49-F238E27FC236}">
                <a16:creationId xmlns:a16="http://schemas.microsoft.com/office/drawing/2014/main" id="{D89E4414-9A1E-46F6-8DCE-C29785DFB5A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862763" y="2046377"/>
            <a:ext cx="44450" cy="0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8" name="Line 41">
            <a:extLst>
              <a:ext uri="{FF2B5EF4-FFF2-40B4-BE49-F238E27FC236}">
                <a16:creationId xmlns:a16="http://schemas.microsoft.com/office/drawing/2014/main" id="{C0D3E553-DF4E-473F-B6B5-572E1236E8C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862763" y="2467065"/>
            <a:ext cx="44450" cy="0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59" name="Line 43">
            <a:extLst>
              <a:ext uri="{FF2B5EF4-FFF2-40B4-BE49-F238E27FC236}">
                <a16:creationId xmlns:a16="http://schemas.microsoft.com/office/drawing/2014/main" id="{F3EE7D98-8498-4008-AD7C-7C5501E60B4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862763" y="2887752"/>
            <a:ext cx="44450" cy="0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0" name="Line 45">
            <a:extLst>
              <a:ext uri="{FF2B5EF4-FFF2-40B4-BE49-F238E27FC236}">
                <a16:creationId xmlns:a16="http://schemas.microsoft.com/office/drawing/2014/main" id="{E19F445A-07D2-4A70-8EA7-A5D4091F529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862763" y="3308440"/>
            <a:ext cx="44450" cy="0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1" name="Line 47">
            <a:extLst>
              <a:ext uri="{FF2B5EF4-FFF2-40B4-BE49-F238E27FC236}">
                <a16:creationId xmlns:a16="http://schemas.microsoft.com/office/drawing/2014/main" id="{A39C69E9-C6F9-46F3-A36C-965E4477164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862763" y="3725952"/>
            <a:ext cx="44450" cy="0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2" name="Line 49">
            <a:extLst>
              <a:ext uri="{FF2B5EF4-FFF2-40B4-BE49-F238E27FC236}">
                <a16:creationId xmlns:a16="http://schemas.microsoft.com/office/drawing/2014/main" id="{FA3826DB-2D0A-4898-93A3-2FE49EF4564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862763" y="4146640"/>
            <a:ext cx="44450" cy="0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3" name="Line 51">
            <a:extLst>
              <a:ext uri="{FF2B5EF4-FFF2-40B4-BE49-F238E27FC236}">
                <a16:creationId xmlns:a16="http://schemas.microsoft.com/office/drawing/2014/main" id="{BBBF8F9B-AB66-4CD7-9C15-BB8AA9D0091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907213" y="4146640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4" name="Line 53">
            <a:extLst>
              <a:ext uri="{FF2B5EF4-FFF2-40B4-BE49-F238E27FC236}">
                <a16:creationId xmlns:a16="http://schemas.microsoft.com/office/drawing/2014/main" id="{6C642D6A-8288-4C79-8BCB-7158F44DA68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383463" y="4146640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5" name="Line 55">
            <a:extLst>
              <a:ext uri="{FF2B5EF4-FFF2-40B4-BE49-F238E27FC236}">
                <a16:creationId xmlns:a16="http://schemas.microsoft.com/office/drawing/2014/main" id="{DA9FA987-3747-42C4-9C88-9D86A0ABD83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332788" y="4146640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6" name="Line 57">
            <a:extLst>
              <a:ext uri="{FF2B5EF4-FFF2-40B4-BE49-F238E27FC236}">
                <a16:creationId xmlns:a16="http://schemas.microsoft.com/office/drawing/2014/main" id="{B2B97A32-798D-4070-8B0C-ACFFD1AB98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283701" y="4146640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7" name="Line 59">
            <a:extLst>
              <a:ext uri="{FF2B5EF4-FFF2-40B4-BE49-F238E27FC236}">
                <a16:creationId xmlns:a16="http://schemas.microsoft.com/office/drawing/2014/main" id="{A81641C4-4CB1-4AC5-8A89-C9DEA54B7E0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1180763" y="4146640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8" name="Line 61">
            <a:extLst>
              <a:ext uri="{FF2B5EF4-FFF2-40B4-BE49-F238E27FC236}">
                <a16:creationId xmlns:a16="http://schemas.microsoft.com/office/drawing/2014/main" id="{1281A9D6-55AC-4126-8F38-B9660812C09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856538" y="4146640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9" name="Line 63">
            <a:extLst>
              <a:ext uri="{FF2B5EF4-FFF2-40B4-BE49-F238E27FC236}">
                <a16:creationId xmlns:a16="http://schemas.microsoft.com/office/drawing/2014/main" id="{72D5BF58-3E70-495F-BCCA-F8B23CD53AB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807451" y="4146640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0" name="Line 65">
            <a:extLst>
              <a:ext uri="{FF2B5EF4-FFF2-40B4-BE49-F238E27FC236}">
                <a16:creationId xmlns:a16="http://schemas.microsoft.com/office/drawing/2014/main" id="{6F7555C6-C694-440F-A6F5-E8134714C4F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56776" y="4146640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1" name="Line 67">
            <a:extLst>
              <a:ext uri="{FF2B5EF4-FFF2-40B4-BE49-F238E27FC236}">
                <a16:creationId xmlns:a16="http://schemas.microsoft.com/office/drawing/2014/main" id="{487BE53A-6232-4D0D-9E9F-44575E59679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707688" y="4146640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2" name="Line 69">
            <a:extLst>
              <a:ext uri="{FF2B5EF4-FFF2-40B4-BE49-F238E27FC236}">
                <a16:creationId xmlns:a16="http://schemas.microsoft.com/office/drawing/2014/main" id="{004C54F2-16D3-4219-954C-202B6D5EF9C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229851" y="4146640"/>
            <a:ext cx="0" cy="49213"/>
          </a:xfrm>
          <a:prstGeom prst="line">
            <a:avLst/>
          </a:prstGeom>
          <a:noFill/>
          <a:ln w="12700" cap="flat">
            <a:solidFill>
              <a:srgbClr val="1D1D1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3" name="Freeform 72">
            <a:extLst>
              <a:ext uri="{FF2B5EF4-FFF2-40B4-BE49-F238E27FC236}">
                <a16:creationId xmlns:a16="http://schemas.microsoft.com/office/drawing/2014/main" id="{C7BE786A-32BC-44F4-A6D0-1D5D800C4041}"/>
              </a:ext>
            </a:extLst>
          </p:cNvPr>
          <p:cNvSpPr>
            <a:spLocks/>
          </p:cNvSpPr>
          <p:nvPr/>
        </p:nvSpPr>
        <p:spPr bwMode="auto">
          <a:xfrm>
            <a:off x="6919913" y="2046377"/>
            <a:ext cx="3467100" cy="2005013"/>
          </a:xfrm>
          <a:custGeom>
            <a:avLst/>
            <a:gdLst>
              <a:gd name="T0" fmla="*/ 6 w 2184"/>
              <a:gd name="T1" fmla="*/ 28 h 1263"/>
              <a:gd name="T2" fmla="*/ 40 w 2184"/>
              <a:gd name="T3" fmla="*/ 36 h 1263"/>
              <a:gd name="T4" fmla="*/ 50 w 2184"/>
              <a:gd name="T5" fmla="*/ 56 h 1263"/>
              <a:gd name="T6" fmla="*/ 78 w 2184"/>
              <a:gd name="T7" fmla="*/ 66 h 1263"/>
              <a:gd name="T8" fmla="*/ 94 w 2184"/>
              <a:gd name="T9" fmla="*/ 97 h 1263"/>
              <a:gd name="T10" fmla="*/ 122 w 2184"/>
              <a:gd name="T11" fmla="*/ 101 h 1263"/>
              <a:gd name="T12" fmla="*/ 136 w 2184"/>
              <a:gd name="T13" fmla="*/ 127 h 1263"/>
              <a:gd name="T14" fmla="*/ 154 w 2184"/>
              <a:gd name="T15" fmla="*/ 141 h 1263"/>
              <a:gd name="T16" fmla="*/ 166 w 2184"/>
              <a:gd name="T17" fmla="*/ 167 h 1263"/>
              <a:gd name="T18" fmla="*/ 190 w 2184"/>
              <a:gd name="T19" fmla="*/ 177 h 1263"/>
              <a:gd name="T20" fmla="*/ 198 w 2184"/>
              <a:gd name="T21" fmla="*/ 217 h 1263"/>
              <a:gd name="T22" fmla="*/ 228 w 2184"/>
              <a:gd name="T23" fmla="*/ 225 h 1263"/>
              <a:gd name="T24" fmla="*/ 242 w 2184"/>
              <a:gd name="T25" fmla="*/ 249 h 1263"/>
              <a:gd name="T26" fmla="*/ 268 w 2184"/>
              <a:gd name="T27" fmla="*/ 257 h 1263"/>
              <a:gd name="T28" fmla="*/ 278 w 2184"/>
              <a:gd name="T29" fmla="*/ 275 h 1263"/>
              <a:gd name="T30" fmla="*/ 306 w 2184"/>
              <a:gd name="T31" fmla="*/ 317 h 1263"/>
              <a:gd name="T32" fmla="*/ 314 w 2184"/>
              <a:gd name="T33" fmla="*/ 340 h 1263"/>
              <a:gd name="T34" fmla="*/ 338 w 2184"/>
              <a:gd name="T35" fmla="*/ 348 h 1263"/>
              <a:gd name="T36" fmla="*/ 356 w 2184"/>
              <a:gd name="T37" fmla="*/ 396 h 1263"/>
              <a:gd name="T38" fmla="*/ 376 w 2184"/>
              <a:gd name="T39" fmla="*/ 404 h 1263"/>
              <a:gd name="T40" fmla="*/ 388 w 2184"/>
              <a:gd name="T41" fmla="*/ 454 h 1263"/>
              <a:gd name="T42" fmla="*/ 424 w 2184"/>
              <a:gd name="T43" fmla="*/ 466 h 1263"/>
              <a:gd name="T44" fmla="*/ 436 w 2184"/>
              <a:gd name="T45" fmla="*/ 510 h 1263"/>
              <a:gd name="T46" fmla="*/ 458 w 2184"/>
              <a:gd name="T47" fmla="*/ 520 h 1263"/>
              <a:gd name="T48" fmla="*/ 464 w 2184"/>
              <a:gd name="T49" fmla="*/ 554 h 1263"/>
              <a:gd name="T50" fmla="*/ 492 w 2184"/>
              <a:gd name="T51" fmla="*/ 564 h 1263"/>
              <a:gd name="T52" fmla="*/ 500 w 2184"/>
              <a:gd name="T53" fmla="*/ 603 h 1263"/>
              <a:gd name="T54" fmla="*/ 540 w 2184"/>
              <a:gd name="T55" fmla="*/ 617 h 1263"/>
              <a:gd name="T56" fmla="*/ 548 w 2184"/>
              <a:gd name="T57" fmla="*/ 635 h 1263"/>
              <a:gd name="T58" fmla="*/ 570 w 2184"/>
              <a:gd name="T59" fmla="*/ 653 h 1263"/>
              <a:gd name="T60" fmla="*/ 580 w 2184"/>
              <a:gd name="T61" fmla="*/ 679 h 1263"/>
              <a:gd name="T62" fmla="*/ 638 w 2184"/>
              <a:gd name="T63" fmla="*/ 693 h 1263"/>
              <a:gd name="T64" fmla="*/ 648 w 2184"/>
              <a:gd name="T65" fmla="*/ 733 h 1263"/>
              <a:gd name="T66" fmla="*/ 696 w 2184"/>
              <a:gd name="T67" fmla="*/ 743 h 1263"/>
              <a:gd name="T68" fmla="*/ 706 w 2184"/>
              <a:gd name="T69" fmla="*/ 775 h 1263"/>
              <a:gd name="T70" fmla="*/ 734 w 2184"/>
              <a:gd name="T71" fmla="*/ 785 h 1263"/>
              <a:gd name="T72" fmla="*/ 748 w 2184"/>
              <a:gd name="T73" fmla="*/ 801 h 1263"/>
              <a:gd name="T74" fmla="*/ 804 w 2184"/>
              <a:gd name="T75" fmla="*/ 807 h 1263"/>
              <a:gd name="T76" fmla="*/ 862 w 2184"/>
              <a:gd name="T77" fmla="*/ 829 h 1263"/>
              <a:gd name="T78" fmla="*/ 882 w 2184"/>
              <a:gd name="T79" fmla="*/ 841 h 1263"/>
              <a:gd name="T80" fmla="*/ 894 w 2184"/>
              <a:gd name="T81" fmla="*/ 862 h 1263"/>
              <a:gd name="T82" fmla="*/ 918 w 2184"/>
              <a:gd name="T83" fmla="*/ 876 h 1263"/>
              <a:gd name="T84" fmla="*/ 928 w 2184"/>
              <a:gd name="T85" fmla="*/ 896 h 1263"/>
              <a:gd name="T86" fmla="*/ 946 w 2184"/>
              <a:gd name="T87" fmla="*/ 916 h 1263"/>
              <a:gd name="T88" fmla="*/ 982 w 2184"/>
              <a:gd name="T89" fmla="*/ 936 h 1263"/>
              <a:gd name="T90" fmla="*/ 1004 w 2184"/>
              <a:gd name="T91" fmla="*/ 946 h 1263"/>
              <a:gd name="T92" fmla="*/ 1077 w 2184"/>
              <a:gd name="T93" fmla="*/ 972 h 1263"/>
              <a:gd name="T94" fmla="*/ 1121 w 2184"/>
              <a:gd name="T95" fmla="*/ 982 h 1263"/>
              <a:gd name="T96" fmla="*/ 1153 w 2184"/>
              <a:gd name="T97" fmla="*/ 1000 h 1263"/>
              <a:gd name="T98" fmla="*/ 1219 w 2184"/>
              <a:gd name="T99" fmla="*/ 1008 h 1263"/>
              <a:gd name="T100" fmla="*/ 1333 w 2184"/>
              <a:gd name="T101" fmla="*/ 1034 h 1263"/>
              <a:gd name="T102" fmla="*/ 1365 w 2184"/>
              <a:gd name="T103" fmla="*/ 1048 h 1263"/>
              <a:gd name="T104" fmla="*/ 1389 w 2184"/>
              <a:gd name="T105" fmla="*/ 1074 h 1263"/>
              <a:gd name="T106" fmla="*/ 1699 w 2184"/>
              <a:gd name="T107" fmla="*/ 1084 h 1263"/>
              <a:gd name="T108" fmla="*/ 1879 w 2184"/>
              <a:gd name="T109" fmla="*/ 1155 h 1263"/>
              <a:gd name="T110" fmla="*/ 2157 w 2184"/>
              <a:gd name="T111" fmla="*/ 1197 h 1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184" h="1263">
                <a:moveTo>
                  <a:pt x="0" y="0"/>
                </a:moveTo>
                <a:lnTo>
                  <a:pt x="6" y="0"/>
                </a:lnTo>
                <a:lnTo>
                  <a:pt x="6" y="28"/>
                </a:lnTo>
                <a:lnTo>
                  <a:pt x="26" y="28"/>
                </a:lnTo>
                <a:lnTo>
                  <a:pt x="26" y="36"/>
                </a:lnTo>
                <a:lnTo>
                  <a:pt x="40" y="36"/>
                </a:lnTo>
                <a:lnTo>
                  <a:pt x="40" y="44"/>
                </a:lnTo>
                <a:lnTo>
                  <a:pt x="50" y="44"/>
                </a:lnTo>
                <a:lnTo>
                  <a:pt x="50" y="56"/>
                </a:lnTo>
                <a:lnTo>
                  <a:pt x="64" y="56"/>
                </a:lnTo>
                <a:lnTo>
                  <a:pt x="64" y="66"/>
                </a:lnTo>
                <a:lnTo>
                  <a:pt x="78" y="66"/>
                </a:lnTo>
                <a:lnTo>
                  <a:pt x="78" y="74"/>
                </a:lnTo>
                <a:lnTo>
                  <a:pt x="94" y="74"/>
                </a:lnTo>
                <a:lnTo>
                  <a:pt x="94" y="97"/>
                </a:lnTo>
                <a:lnTo>
                  <a:pt x="114" y="97"/>
                </a:lnTo>
                <a:lnTo>
                  <a:pt x="114" y="101"/>
                </a:lnTo>
                <a:lnTo>
                  <a:pt x="122" y="101"/>
                </a:lnTo>
                <a:lnTo>
                  <a:pt x="122" y="117"/>
                </a:lnTo>
                <a:lnTo>
                  <a:pt x="136" y="117"/>
                </a:lnTo>
                <a:lnTo>
                  <a:pt x="136" y="127"/>
                </a:lnTo>
                <a:lnTo>
                  <a:pt x="144" y="127"/>
                </a:lnTo>
                <a:lnTo>
                  <a:pt x="144" y="141"/>
                </a:lnTo>
                <a:lnTo>
                  <a:pt x="154" y="141"/>
                </a:lnTo>
                <a:lnTo>
                  <a:pt x="154" y="153"/>
                </a:lnTo>
                <a:lnTo>
                  <a:pt x="166" y="153"/>
                </a:lnTo>
                <a:lnTo>
                  <a:pt x="166" y="167"/>
                </a:lnTo>
                <a:lnTo>
                  <a:pt x="176" y="167"/>
                </a:lnTo>
                <a:lnTo>
                  <a:pt x="176" y="177"/>
                </a:lnTo>
                <a:lnTo>
                  <a:pt x="190" y="177"/>
                </a:lnTo>
                <a:lnTo>
                  <a:pt x="190" y="189"/>
                </a:lnTo>
                <a:lnTo>
                  <a:pt x="198" y="189"/>
                </a:lnTo>
                <a:lnTo>
                  <a:pt x="198" y="217"/>
                </a:lnTo>
                <a:lnTo>
                  <a:pt x="212" y="217"/>
                </a:lnTo>
                <a:lnTo>
                  <a:pt x="212" y="225"/>
                </a:lnTo>
                <a:lnTo>
                  <a:pt x="228" y="225"/>
                </a:lnTo>
                <a:lnTo>
                  <a:pt x="228" y="233"/>
                </a:lnTo>
                <a:lnTo>
                  <a:pt x="242" y="233"/>
                </a:lnTo>
                <a:lnTo>
                  <a:pt x="242" y="249"/>
                </a:lnTo>
                <a:lnTo>
                  <a:pt x="250" y="249"/>
                </a:lnTo>
                <a:lnTo>
                  <a:pt x="250" y="257"/>
                </a:lnTo>
                <a:lnTo>
                  <a:pt x="268" y="257"/>
                </a:lnTo>
                <a:lnTo>
                  <a:pt x="268" y="267"/>
                </a:lnTo>
                <a:lnTo>
                  <a:pt x="278" y="267"/>
                </a:lnTo>
                <a:lnTo>
                  <a:pt x="278" y="275"/>
                </a:lnTo>
                <a:lnTo>
                  <a:pt x="290" y="275"/>
                </a:lnTo>
                <a:lnTo>
                  <a:pt x="290" y="317"/>
                </a:lnTo>
                <a:lnTo>
                  <a:pt x="306" y="317"/>
                </a:lnTo>
                <a:lnTo>
                  <a:pt x="306" y="327"/>
                </a:lnTo>
                <a:lnTo>
                  <a:pt x="314" y="327"/>
                </a:lnTo>
                <a:lnTo>
                  <a:pt x="314" y="340"/>
                </a:lnTo>
                <a:lnTo>
                  <a:pt x="328" y="340"/>
                </a:lnTo>
                <a:lnTo>
                  <a:pt x="328" y="348"/>
                </a:lnTo>
                <a:lnTo>
                  <a:pt x="338" y="348"/>
                </a:lnTo>
                <a:lnTo>
                  <a:pt x="338" y="362"/>
                </a:lnTo>
                <a:lnTo>
                  <a:pt x="356" y="362"/>
                </a:lnTo>
                <a:lnTo>
                  <a:pt x="356" y="396"/>
                </a:lnTo>
                <a:lnTo>
                  <a:pt x="368" y="396"/>
                </a:lnTo>
                <a:lnTo>
                  <a:pt x="368" y="404"/>
                </a:lnTo>
                <a:lnTo>
                  <a:pt x="376" y="404"/>
                </a:lnTo>
                <a:lnTo>
                  <a:pt x="376" y="432"/>
                </a:lnTo>
                <a:lnTo>
                  <a:pt x="388" y="432"/>
                </a:lnTo>
                <a:lnTo>
                  <a:pt x="388" y="454"/>
                </a:lnTo>
                <a:lnTo>
                  <a:pt x="406" y="454"/>
                </a:lnTo>
                <a:lnTo>
                  <a:pt x="406" y="466"/>
                </a:lnTo>
                <a:lnTo>
                  <a:pt x="424" y="466"/>
                </a:lnTo>
                <a:lnTo>
                  <a:pt x="424" y="504"/>
                </a:lnTo>
                <a:lnTo>
                  <a:pt x="436" y="504"/>
                </a:lnTo>
                <a:lnTo>
                  <a:pt x="436" y="510"/>
                </a:lnTo>
                <a:lnTo>
                  <a:pt x="448" y="510"/>
                </a:lnTo>
                <a:lnTo>
                  <a:pt x="448" y="520"/>
                </a:lnTo>
                <a:lnTo>
                  <a:pt x="458" y="520"/>
                </a:lnTo>
                <a:lnTo>
                  <a:pt x="458" y="536"/>
                </a:lnTo>
                <a:lnTo>
                  <a:pt x="464" y="536"/>
                </a:lnTo>
                <a:lnTo>
                  <a:pt x="464" y="554"/>
                </a:lnTo>
                <a:lnTo>
                  <a:pt x="480" y="554"/>
                </a:lnTo>
                <a:lnTo>
                  <a:pt x="480" y="564"/>
                </a:lnTo>
                <a:lnTo>
                  <a:pt x="492" y="564"/>
                </a:lnTo>
                <a:lnTo>
                  <a:pt x="492" y="578"/>
                </a:lnTo>
                <a:lnTo>
                  <a:pt x="500" y="578"/>
                </a:lnTo>
                <a:lnTo>
                  <a:pt x="500" y="603"/>
                </a:lnTo>
                <a:lnTo>
                  <a:pt x="528" y="603"/>
                </a:lnTo>
                <a:lnTo>
                  <a:pt x="528" y="617"/>
                </a:lnTo>
                <a:lnTo>
                  <a:pt x="540" y="617"/>
                </a:lnTo>
                <a:lnTo>
                  <a:pt x="540" y="625"/>
                </a:lnTo>
                <a:lnTo>
                  <a:pt x="548" y="625"/>
                </a:lnTo>
                <a:lnTo>
                  <a:pt x="548" y="635"/>
                </a:lnTo>
                <a:lnTo>
                  <a:pt x="560" y="635"/>
                </a:lnTo>
                <a:lnTo>
                  <a:pt x="560" y="653"/>
                </a:lnTo>
                <a:lnTo>
                  <a:pt x="570" y="653"/>
                </a:lnTo>
                <a:lnTo>
                  <a:pt x="570" y="667"/>
                </a:lnTo>
                <a:lnTo>
                  <a:pt x="580" y="667"/>
                </a:lnTo>
                <a:lnTo>
                  <a:pt x="580" y="679"/>
                </a:lnTo>
                <a:lnTo>
                  <a:pt x="628" y="679"/>
                </a:lnTo>
                <a:lnTo>
                  <a:pt x="628" y="693"/>
                </a:lnTo>
                <a:lnTo>
                  <a:pt x="638" y="693"/>
                </a:lnTo>
                <a:lnTo>
                  <a:pt x="638" y="725"/>
                </a:lnTo>
                <a:lnTo>
                  <a:pt x="648" y="725"/>
                </a:lnTo>
                <a:lnTo>
                  <a:pt x="648" y="733"/>
                </a:lnTo>
                <a:lnTo>
                  <a:pt x="672" y="733"/>
                </a:lnTo>
                <a:lnTo>
                  <a:pt x="672" y="743"/>
                </a:lnTo>
                <a:lnTo>
                  <a:pt x="696" y="743"/>
                </a:lnTo>
                <a:lnTo>
                  <a:pt x="696" y="767"/>
                </a:lnTo>
                <a:lnTo>
                  <a:pt x="706" y="767"/>
                </a:lnTo>
                <a:lnTo>
                  <a:pt x="706" y="775"/>
                </a:lnTo>
                <a:lnTo>
                  <a:pt x="720" y="775"/>
                </a:lnTo>
                <a:lnTo>
                  <a:pt x="720" y="785"/>
                </a:lnTo>
                <a:lnTo>
                  <a:pt x="734" y="785"/>
                </a:lnTo>
                <a:lnTo>
                  <a:pt x="734" y="795"/>
                </a:lnTo>
                <a:lnTo>
                  <a:pt x="748" y="795"/>
                </a:lnTo>
                <a:lnTo>
                  <a:pt x="748" y="801"/>
                </a:lnTo>
                <a:lnTo>
                  <a:pt x="794" y="801"/>
                </a:lnTo>
                <a:lnTo>
                  <a:pt x="794" y="807"/>
                </a:lnTo>
                <a:lnTo>
                  <a:pt x="804" y="807"/>
                </a:lnTo>
                <a:lnTo>
                  <a:pt x="804" y="815"/>
                </a:lnTo>
                <a:lnTo>
                  <a:pt x="862" y="815"/>
                </a:lnTo>
                <a:lnTo>
                  <a:pt x="862" y="829"/>
                </a:lnTo>
                <a:lnTo>
                  <a:pt x="872" y="829"/>
                </a:lnTo>
                <a:lnTo>
                  <a:pt x="872" y="841"/>
                </a:lnTo>
                <a:lnTo>
                  <a:pt x="882" y="841"/>
                </a:lnTo>
                <a:lnTo>
                  <a:pt x="882" y="854"/>
                </a:lnTo>
                <a:lnTo>
                  <a:pt x="894" y="854"/>
                </a:lnTo>
                <a:lnTo>
                  <a:pt x="894" y="862"/>
                </a:lnTo>
                <a:lnTo>
                  <a:pt x="906" y="862"/>
                </a:lnTo>
                <a:lnTo>
                  <a:pt x="906" y="876"/>
                </a:lnTo>
                <a:lnTo>
                  <a:pt x="918" y="876"/>
                </a:lnTo>
                <a:lnTo>
                  <a:pt x="918" y="884"/>
                </a:lnTo>
                <a:lnTo>
                  <a:pt x="928" y="884"/>
                </a:lnTo>
                <a:lnTo>
                  <a:pt x="928" y="896"/>
                </a:lnTo>
                <a:lnTo>
                  <a:pt x="936" y="896"/>
                </a:lnTo>
                <a:lnTo>
                  <a:pt x="936" y="916"/>
                </a:lnTo>
                <a:lnTo>
                  <a:pt x="946" y="916"/>
                </a:lnTo>
                <a:lnTo>
                  <a:pt x="946" y="924"/>
                </a:lnTo>
                <a:lnTo>
                  <a:pt x="982" y="924"/>
                </a:lnTo>
                <a:lnTo>
                  <a:pt x="982" y="936"/>
                </a:lnTo>
                <a:lnTo>
                  <a:pt x="992" y="936"/>
                </a:lnTo>
                <a:lnTo>
                  <a:pt x="992" y="946"/>
                </a:lnTo>
                <a:lnTo>
                  <a:pt x="1004" y="946"/>
                </a:lnTo>
                <a:lnTo>
                  <a:pt x="1004" y="958"/>
                </a:lnTo>
                <a:lnTo>
                  <a:pt x="1077" y="958"/>
                </a:lnTo>
                <a:lnTo>
                  <a:pt x="1077" y="972"/>
                </a:lnTo>
                <a:lnTo>
                  <a:pt x="1109" y="972"/>
                </a:lnTo>
                <a:lnTo>
                  <a:pt x="1109" y="982"/>
                </a:lnTo>
                <a:lnTo>
                  <a:pt x="1121" y="982"/>
                </a:lnTo>
                <a:lnTo>
                  <a:pt x="1121" y="990"/>
                </a:lnTo>
                <a:lnTo>
                  <a:pt x="1153" y="990"/>
                </a:lnTo>
                <a:lnTo>
                  <a:pt x="1153" y="1000"/>
                </a:lnTo>
                <a:lnTo>
                  <a:pt x="1205" y="1000"/>
                </a:lnTo>
                <a:lnTo>
                  <a:pt x="1205" y="1008"/>
                </a:lnTo>
                <a:lnTo>
                  <a:pt x="1219" y="1008"/>
                </a:lnTo>
                <a:lnTo>
                  <a:pt x="1219" y="1018"/>
                </a:lnTo>
                <a:lnTo>
                  <a:pt x="1333" y="1018"/>
                </a:lnTo>
                <a:lnTo>
                  <a:pt x="1333" y="1034"/>
                </a:lnTo>
                <a:lnTo>
                  <a:pt x="1347" y="1034"/>
                </a:lnTo>
                <a:lnTo>
                  <a:pt x="1347" y="1048"/>
                </a:lnTo>
                <a:lnTo>
                  <a:pt x="1365" y="1048"/>
                </a:lnTo>
                <a:lnTo>
                  <a:pt x="1365" y="1060"/>
                </a:lnTo>
                <a:lnTo>
                  <a:pt x="1389" y="1060"/>
                </a:lnTo>
                <a:lnTo>
                  <a:pt x="1389" y="1074"/>
                </a:lnTo>
                <a:lnTo>
                  <a:pt x="1511" y="1074"/>
                </a:lnTo>
                <a:lnTo>
                  <a:pt x="1511" y="1084"/>
                </a:lnTo>
                <a:lnTo>
                  <a:pt x="1699" y="1084"/>
                </a:lnTo>
                <a:lnTo>
                  <a:pt x="1699" y="1117"/>
                </a:lnTo>
                <a:lnTo>
                  <a:pt x="1879" y="1117"/>
                </a:lnTo>
                <a:lnTo>
                  <a:pt x="1879" y="1155"/>
                </a:lnTo>
                <a:lnTo>
                  <a:pt x="2019" y="1155"/>
                </a:lnTo>
                <a:lnTo>
                  <a:pt x="2019" y="1197"/>
                </a:lnTo>
                <a:lnTo>
                  <a:pt x="2157" y="1197"/>
                </a:lnTo>
                <a:lnTo>
                  <a:pt x="2157" y="1263"/>
                </a:lnTo>
                <a:lnTo>
                  <a:pt x="2184" y="1263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4" name="Freeform 74">
            <a:extLst>
              <a:ext uri="{FF2B5EF4-FFF2-40B4-BE49-F238E27FC236}">
                <a16:creationId xmlns:a16="http://schemas.microsoft.com/office/drawing/2014/main" id="{75F9BC2B-DB11-4FFA-A645-144F72D74256}"/>
              </a:ext>
            </a:extLst>
          </p:cNvPr>
          <p:cNvSpPr>
            <a:spLocks noEditPoints="1"/>
          </p:cNvSpPr>
          <p:nvPr/>
        </p:nvSpPr>
        <p:spPr bwMode="auto">
          <a:xfrm>
            <a:off x="7087367" y="218367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5" name="Freeform 75">
            <a:extLst>
              <a:ext uri="{FF2B5EF4-FFF2-40B4-BE49-F238E27FC236}">
                <a16:creationId xmlns:a16="http://schemas.microsoft.com/office/drawing/2014/main" id="{F75053C9-2C38-423D-8782-86FC2D6FFCED}"/>
              </a:ext>
            </a:extLst>
          </p:cNvPr>
          <p:cNvSpPr>
            <a:spLocks noEditPoints="1"/>
          </p:cNvSpPr>
          <p:nvPr/>
        </p:nvSpPr>
        <p:spPr bwMode="auto">
          <a:xfrm>
            <a:off x="7154042" y="2269396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6" name="Freeform 76">
            <a:extLst>
              <a:ext uri="{FF2B5EF4-FFF2-40B4-BE49-F238E27FC236}">
                <a16:creationId xmlns:a16="http://schemas.microsoft.com/office/drawing/2014/main" id="{0D29EAED-2018-475B-8A6A-56232D6EC29C}"/>
              </a:ext>
            </a:extLst>
          </p:cNvPr>
          <p:cNvSpPr>
            <a:spLocks noEditPoints="1"/>
          </p:cNvSpPr>
          <p:nvPr/>
        </p:nvSpPr>
        <p:spPr bwMode="auto">
          <a:xfrm>
            <a:off x="7468367" y="2651983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7" name="Freeform 77">
            <a:extLst>
              <a:ext uri="{FF2B5EF4-FFF2-40B4-BE49-F238E27FC236}">
                <a16:creationId xmlns:a16="http://schemas.microsoft.com/office/drawing/2014/main" id="{5FDC161B-7A78-409A-A73A-A6EF23E6A6EA}"/>
              </a:ext>
            </a:extLst>
          </p:cNvPr>
          <p:cNvSpPr>
            <a:spLocks noEditPoints="1"/>
          </p:cNvSpPr>
          <p:nvPr/>
        </p:nvSpPr>
        <p:spPr bwMode="auto">
          <a:xfrm>
            <a:off x="7562081" y="2801208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8" name="Freeform 78">
            <a:extLst>
              <a:ext uri="{FF2B5EF4-FFF2-40B4-BE49-F238E27FC236}">
                <a16:creationId xmlns:a16="http://schemas.microsoft.com/office/drawing/2014/main" id="{2DAB5BE0-ADEC-4B81-9E5C-438541EDFA87}"/>
              </a:ext>
            </a:extLst>
          </p:cNvPr>
          <p:cNvSpPr>
            <a:spLocks noEditPoints="1"/>
          </p:cNvSpPr>
          <p:nvPr/>
        </p:nvSpPr>
        <p:spPr bwMode="auto">
          <a:xfrm>
            <a:off x="7604893" y="2844121"/>
            <a:ext cx="93716" cy="99962"/>
          </a:xfrm>
          <a:custGeom>
            <a:avLst/>
            <a:gdLst>
              <a:gd name="T0" fmla="*/ 14 w 30"/>
              <a:gd name="T1" fmla="*/ 0 h 32"/>
              <a:gd name="T2" fmla="*/ 14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4" y="0"/>
                </a:moveTo>
                <a:lnTo>
                  <a:pt x="14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79" name="Freeform 79">
            <a:extLst>
              <a:ext uri="{FF2B5EF4-FFF2-40B4-BE49-F238E27FC236}">
                <a16:creationId xmlns:a16="http://schemas.microsoft.com/office/drawing/2014/main" id="{815E68FD-F08C-49D3-BFCE-8442A7B00CD3}"/>
              </a:ext>
            </a:extLst>
          </p:cNvPr>
          <p:cNvSpPr>
            <a:spLocks noEditPoints="1"/>
          </p:cNvSpPr>
          <p:nvPr/>
        </p:nvSpPr>
        <p:spPr bwMode="auto">
          <a:xfrm>
            <a:off x="7719193" y="2975884"/>
            <a:ext cx="93716" cy="99962"/>
          </a:xfrm>
          <a:custGeom>
            <a:avLst/>
            <a:gdLst>
              <a:gd name="T0" fmla="*/ 16 w 30"/>
              <a:gd name="T1" fmla="*/ 0 h 32"/>
              <a:gd name="T2" fmla="*/ 16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6" y="0"/>
                </a:moveTo>
                <a:lnTo>
                  <a:pt x="16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0" name="Freeform 80">
            <a:extLst>
              <a:ext uri="{FF2B5EF4-FFF2-40B4-BE49-F238E27FC236}">
                <a16:creationId xmlns:a16="http://schemas.microsoft.com/office/drawing/2014/main" id="{56C0C76C-F21A-4799-87A3-FA595D71C2D3}"/>
              </a:ext>
            </a:extLst>
          </p:cNvPr>
          <p:cNvSpPr>
            <a:spLocks noEditPoints="1"/>
          </p:cNvSpPr>
          <p:nvPr/>
        </p:nvSpPr>
        <p:spPr bwMode="auto">
          <a:xfrm>
            <a:off x="7741418" y="2994934"/>
            <a:ext cx="93716" cy="99962"/>
          </a:xfrm>
          <a:custGeom>
            <a:avLst/>
            <a:gdLst>
              <a:gd name="T0" fmla="*/ 16 w 30"/>
              <a:gd name="T1" fmla="*/ 0 h 32"/>
              <a:gd name="T2" fmla="*/ 16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6" y="0"/>
                </a:moveTo>
                <a:lnTo>
                  <a:pt x="16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1" name="Freeform 81">
            <a:extLst>
              <a:ext uri="{FF2B5EF4-FFF2-40B4-BE49-F238E27FC236}">
                <a16:creationId xmlns:a16="http://schemas.microsoft.com/office/drawing/2014/main" id="{BDD89933-BAF8-4985-A809-65523DA31651}"/>
              </a:ext>
            </a:extLst>
          </p:cNvPr>
          <p:cNvSpPr>
            <a:spLocks noEditPoints="1"/>
          </p:cNvSpPr>
          <p:nvPr/>
        </p:nvSpPr>
        <p:spPr bwMode="auto">
          <a:xfrm>
            <a:off x="7760467" y="302187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2" name="Freeform 82">
            <a:extLst>
              <a:ext uri="{FF2B5EF4-FFF2-40B4-BE49-F238E27FC236}">
                <a16:creationId xmlns:a16="http://schemas.microsoft.com/office/drawing/2014/main" id="{12EFD774-42C6-4AAB-BF5B-981B5F5B8EA5}"/>
              </a:ext>
            </a:extLst>
          </p:cNvPr>
          <p:cNvSpPr>
            <a:spLocks noEditPoints="1"/>
          </p:cNvSpPr>
          <p:nvPr/>
        </p:nvSpPr>
        <p:spPr bwMode="auto">
          <a:xfrm>
            <a:off x="7793856" y="3063146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3" name="Freeform 83">
            <a:extLst>
              <a:ext uri="{FF2B5EF4-FFF2-40B4-BE49-F238E27FC236}">
                <a16:creationId xmlns:a16="http://schemas.microsoft.com/office/drawing/2014/main" id="{3DAA2CC8-4414-4245-B745-4F8725E31647}"/>
              </a:ext>
            </a:extLst>
          </p:cNvPr>
          <p:cNvSpPr>
            <a:spLocks noEditPoints="1"/>
          </p:cNvSpPr>
          <p:nvPr/>
        </p:nvSpPr>
        <p:spPr bwMode="auto">
          <a:xfrm>
            <a:off x="7816081" y="3075846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4" name="Freeform 84">
            <a:extLst>
              <a:ext uri="{FF2B5EF4-FFF2-40B4-BE49-F238E27FC236}">
                <a16:creationId xmlns:a16="http://schemas.microsoft.com/office/drawing/2014/main" id="{5622CB12-C633-437E-9CF4-7C0B6E89006C}"/>
              </a:ext>
            </a:extLst>
          </p:cNvPr>
          <p:cNvSpPr>
            <a:spLocks noEditPoints="1"/>
          </p:cNvSpPr>
          <p:nvPr/>
        </p:nvSpPr>
        <p:spPr bwMode="auto">
          <a:xfrm>
            <a:off x="7992242" y="321237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5" name="Freeform 85">
            <a:extLst>
              <a:ext uri="{FF2B5EF4-FFF2-40B4-BE49-F238E27FC236}">
                <a16:creationId xmlns:a16="http://schemas.microsoft.com/office/drawing/2014/main" id="{9774E37B-447F-490D-B285-ECD53D733256}"/>
              </a:ext>
            </a:extLst>
          </p:cNvPr>
          <p:cNvSpPr>
            <a:spLocks noEditPoints="1"/>
          </p:cNvSpPr>
          <p:nvPr/>
        </p:nvSpPr>
        <p:spPr bwMode="auto">
          <a:xfrm>
            <a:off x="8012931" y="3234596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6" name="Freeform 86">
            <a:extLst>
              <a:ext uri="{FF2B5EF4-FFF2-40B4-BE49-F238E27FC236}">
                <a16:creationId xmlns:a16="http://schemas.microsoft.com/office/drawing/2014/main" id="{34AB5DB8-5621-4DDE-AB10-964BA8C04D76}"/>
              </a:ext>
            </a:extLst>
          </p:cNvPr>
          <p:cNvSpPr>
            <a:spLocks noEditPoints="1"/>
          </p:cNvSpPr>
          <p:nvPr/>
        </p:nvSpPr>
        <p:spPr bwMode="auto">
          <a:xfrm>
            <a:off x="8046218" y="3255284"/>
            <a:ext cx="93716" cy="99962"/>
          </a:xfrm>
          <a:custGeom>
            <a:avLst/>
            <a:gdLst>
              <a:gd name="T0" fmla="*/ 14 w 30"/>
              <a:gd name="T1" fmla="*/ 0 h 32"/>
              <a:gd name="T2" fmla="*/ 14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4" y="0"/>
                </a:moveTo>
                <a:lnTo>
                  <a:pt x="14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7" name="Freeform 87">
            <a:extLst>
              <a:ext uri="{FF2B5EF4-FFF2-40B4-BE49-F238E27FC236}">
                <a16:creationId xmlns:a16="http://schemas.microsoft.com/office/drawing/2014/main" id="{90869202-85BC-4DAB-8733-1181A52CB1CE}"/>
              </a:ext>
            </a:extLst>
          </p:cNvPr>
          <p:cNvSpPr>
            <a:spLocks noEditPoints="1"/>
          </p:cNvSpPr>
          <p:nvPr/>
        </p:nvSpPr>
        <p:spPr bwMode="auto">
          <a:xfrm>
            <a:off x="8093843" y="3267984"/>
            <a:ext cx="93716" cy="99962"/>
          </a:xfrm>
          <a:custGeom>
            <a:avLst/>
            <a:gdLst>
              <a:gd name="T0" fmla="*/ 16 w 30"/>
              <a:gd name="T1" fmla="*/ 0 h 32"/>
              <a:gd name="T2" fmla="*/ 16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6" y="0"/>
                </a:moveTo>
                <a:lnTo>
                  <a:pt x="16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8" name="Freeform 88">
            <a:extLst>
              <a:ext uri="{FF2B5EF4-FFF2-40B4-BE49-F238E27FC236}">
                <a16:creationId xmlns:a16="http://schemas.microsoft.com/office/drawing/2014/main" id="{F4488F88-FC08-4D53-A047-AA664964D0CA}"/>
              </a:ext>
            </a:extLst>
          </p:cNvPr>
          <p:cNvSpPr>
            <a:spLocks noEditPoints="1"/>
          </p:cNvSpPr>
          <p:nvPr/>
        </p:nvSpPr>
        <p:spPr bwMode="auto">
          <a:xfrm>
            <a:off x="8133581" y="3282221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89" name="Freeform 89">
            <a:extLst>
              <a:ext uri="{FF2B5EF4-FFF2-40B4-BE49-F238E27FC236}">
                <a16:creationId xmlns:a16="http://schemas.microsoft.com/office/drawing/2014/main" id="{2C1A6E8E-6F8F-4B45-BEDA-157EA9C9F31C}"/>
              </a:ext>
            </a:extLst>
          </p:cNvPr>
          <p:cNvSpPr>
            <a:spLocks noEditPoints="1"/>
          </p:cNvSpPr>
          <p:nvPr/>
        </p:nvSpPr>
        <p:spPr bwMode="auto">
          <a:xfrm>
            <a:off x="8170042" y="329492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0" name="Freeform 90">
            <a:extLst>
              <a:ext uri="{FF2B5EF4-FFF2-40B4-BE49-F238E27FC236}">
                <a16:creationId xmlns:a16="http://schemas.microsoft.com/office/drawing/2014/main" id="{9AF9E021-A17A-48CE-9378-2AF732A2C38A}"/>
              </a:ext>
            </a:extLst>
          </p:cNvPr>
          <p:cNvSpPr>
            <a:spLocks noEditPoints="1"/>
          </p:cNvSpPr>
          <p:nvPr/>
        </p:nvSpPr>
        <p:spPr bwMode="auto">
          <a:xfrm>
            <a:off x="8214492" y="3298096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1" name="Freeform 91">
            <a:extLst>
              <a:ext uri="{FF2B5EF4-FFF2-40B4-BE49-F238E27FC236}">
                <a16:creationId xmlns:a16="http://schemas.microsoft.com/office/drawing/2014/main" id="{8A3B5A57-45D4-48B7-8456-CD91A7C1FE67}"/>
              </a:ext>
            </a:extLst>
          </p:cNvPr>
          <p:cNvSpPr>
            <a:spLocks noEditPoints="1"/>
          </p:cNvSpPr>
          <p:nvPr/>
        </p:nvSpPr>
        <p:spPr bwMode="auto">
          <a:xfrm>
            <a:off x="8271642" y="3338603"/>
            <a:ext cx="93718" cy="96838"/>
          </a:xfrm>
          <a:custGeom>
            <a:avLst/>
            <a:gdLst>
              <a:gd name="T0" fmla="*/ 16 w 30"/>
              <a:gd name="T1" fmla="*/ 0 h 31"/>
              <a:gd name="T2" fmla="*/ 16 w 30"/>
              <a:gd name="T3" fmla="*/ 31 h 31"/>
              <a:gd name="T4" fmla="*/ 30 w 30"/>
              <a:gd name="T5" fmla="*/ 17 h 31"/>
              <a:gd name="T6" fmla="*/ 0 w 30"/>
              <a:gd name="T7" fmla="*/ 17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1">
                <a:moveTo>
                  <a:pt x="16" y="0"/>
                </a:moveTo>
                <a:lnTo>
                  <a:pt x="16" y="31"/>
                </a:lnTo>
                <a:moveTo>
                  <a:pt x="30" y="17"/>
                </a:moveTo>
                <a:lnTo>
                  <a:pt x="0" y="17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2" name="Freeform 92">
            <a:extLst>
              <a:ext uri="{FF2B5EF4-FFF2-40B4-BE49-F238E27FC236}">
                <a16:creationId xmlns:a16="http://schemas.microsoft.com/office/drawing/2014/main" id="{AE06E29E-C188-42E3-BA80-A62D1567E1B4}"/>
              </a:ext>
            </a:extLst>
          </p:cNvPr>
          <p:cNvSpPr>
            <a:spLocks noEditPoints="1"/>
          </p:cNvSpPr>
          <p:nvPr/>
        </p:nvSpPr>
        <p:spPr bwMode="auto">
          <a:xfrm>
            <a:off x="8398642" y="3471133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3" name="Freeform 93">
            <a:extLst>
              <a:ext uri="{FF2B5EF4-FFF2-40B4-BE49-F238E27FC236}">
                <a16:creationId xmlns:a16="http://schemas.microsoft.com/office/drawing/2014/main" id="{8D9FA3A5-D50D-4DAD-9FD2-496580540F7C}"/>
              </a:ext>
            </a:extLst>
          </p:cNvPr>
          <p:cNvSpPr>
            <a:spLocks noEditPoints="1"/>
          </p:cNvSpPr>
          <p:nvPr/>
        </p:nvSpPr>
        <p:spPr bwMode="auto">
          <a:xfrm>
            <a:off x="8476482" y="3517221"/>
            <a:ext cx="99962" cy="99962"/>
          </a:xfrm>
          <a:custGeom>
            <a:avLst/>
            <a:gdLst>
              <a:gd name="T0" fmla="*/ 16 w 32"/>
              <a:gd name="T1" fmla="*/ 0 h 32"/>
              <a:gd name="T2" fmla="*/ 16 w 32"/>
              <a:gd name="T3" fmla="*/ 32 h 32"/>
              <a:gd name="T4" fmla="*/ 32 w 32"/>
              <a:gd name="T5" fmla="*/ 16 h 32"/>
              <a:gd name="T6" fmla="*/ 0 w 32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2">
                <a:moveTo>
                  <a:pt x="16" y="0"/>
                </a:moveTo>
                <a:lnTo>
                  <a:pt x="16" y="32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4" name="Freeform 94">
            <a:extLst>
              <a:ext uri="{FF2B5EF4-FFF2-40B4-BE49-F238E27FC236}">
                <a16:creationId xmlns:a16="http://schemas.microsoft.com/office/drawing/2014/main" id="{6D220F83-74EF-430C-800E-A3198B0EE800}"/>
              </a:ext>
            </a:extLst>
          </p:cNvPr>
          <p:cNvSpPr>
            <a:spLocks noEditPoints="1"/>
          </p:cNvSpPr>
          <p:nvPr/>
        </p:nvSpPr>
        <p:spPr bwMode="auto">
          <a:xfrm>
            <a:off x="8590730" y="3540983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5" name="Freeform 95">
            <a:extLst>
              <a:ext uri="{FF2B5EF4-FFF2-40B4-BE49-F238E27FC236}">
                <a16:creationId xmlns:a16="http://schemas.microsoft.com/office/drawing/2014/main" id="{CEA28F58-8749-45EC-BC59-D32ACEAE2EC5}"/>
              </a:ext>
            </a:extLst>
          </p:cNvPr>
          <p:cNvSpPr>
            <a:spLocks noEditPoints="1"/>
          </p:cNvSpPr>
          <p:nvPr/>
        </p:nvSpPr>
        <p:spPr bwMode="auto">
          <a:xfrm>
            <a:off x="8784405" y="3598133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6" name="Freeform 96">
            <a:extLst>
              <a:ext uri="{FF2B5EF4-FFF2-40B4-BE49-F238E27FC236}">
                <a16:creationId xmlns:a16="http://schemas.microsoft.com/office/drawing/2014/main" id="{45103F4C-D72E-4BC6-9847-8DAC1A00EEA6}"/>
              </a:ext>
            </a:extLst>
          </p:cNvPr>
          <p:cNvSpPr>
            <a:spLocks noEditPoints="1"/>
          </p:cNvSpPr>
          <p:nvPr/>
        </p:nvSpPr>
        <p:spPr bwMode="auto">
          <a:xfrm>
            <a:off x="8825680" y="3614008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7" name="Freeform 97">
            <a:extLst>
              <a:ext uri="{FF2B5EF4-FFF2-40B4-BE49-F238E27FC236}">
                <a16:creationId xmlns:a16="http://schemas.microsoft.com/office/drawing/2014/main" id="{556B78A4-C747-4BD2-A1C8-7BF4237203B8}"/>
              </a:ext>
            </a:extLst>
          </p:cNvPr>
          <p:cNvSpPr>
            <a:spLocks noEditPoints="1"/>
          </p:cNvSpPr>
          <p:nvPr/>
        </p:nvSpPr>
        <p:spPr bwMode="auto">
          <a:xfrm>
            <a:off x="8860605" y="3614008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8" name="Freeform 98">
            <a:extLst>
              <a:ext uri="{FF2B5EF4-FFF2-40B4-BE49-F238E27FC236}">
                <a16:creationId xmlns:a16="http://schemas.microsoft.com/office/drawing/2014/main" id="{5DB7F907-B018-4A05-83E3-3C7FAE770F0A}"/>
              </a:ext>
            </a:extLst>
          </p:cNvPr>
          <p:cNvSpPr>
            <a:spLocks noEditPoints="1"/>
          </p:cNvSpPr>
          <p:nvPr/>
        </p:nvSpPr>
        <p:spPr bwMode="auto">
          <a:xfrm>
            <a:off x="8893994" y="3614008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99" name="Freeform 99">
            <a:extLst>
              <a:ext uri="{FF2B5EF4-FFF2-40B4-BE49-F238E27FC236}">
                <a16:creationId xmlns:a16="http://schemas.microsoft.com/office/drawing/2014/main" id="{AD88827E-67A5-4A9D-9D53-3787E2D48E24}"/>
              </a:ext>
            </a:extLst>
          </p:cNvPr>
          <p:cNvSpPr>
            <a:spLocks noEditPoints="1"/>
          </p:cNvSpPr>
          <p:nvPr/>
        </p:nvSpPr>
        <p:spPr bwMode="auto">
          <a:xfrm>
            <a:off x="9051105" y="3680683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0" name="Freeform 100">
            <a:extLst>
              <a:ext uri="{FF2B5EF4-FFF2-40B4-BE49-F238E27FC236}">
                <a16:creationId xmlns:a16="http://schemas.microsoft.com/office/drawing/2014/main" id="{643D283C-4CCE-4823-893A-48F5A51B2E89}"/>
              </a:ext>
            </a:extLst>
          </p:cNvPr>
          <p:cNvSpPr>
            <a:spLocks noEditPoints="1"/>
          </p:cNvSpPr>
          <p:nvPr/>
        </p:nvSpPr>
        <p:spPr bwMode="auto">
          <a:xfrm>
            <a:off x="9155880" y="3702908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1" name="Freeform 101">
            <a:extLst>
              <a:ext uri="{FF2B5EF4-FFF2-40B4-BE49-F238E27FC236}">
                <a16:creationId xmlns:a16="http://schemas.microsoft.com/office/drawing/2014/main" id="{ED2C0A33-7551-447D-B457-182DD39ABA12}"/>
              </a:ext>
            </a:extLst>
          </p:cNvPr>
          <p:cNvSpPr>
            <a:spLocks noEditPoints="1"/>
          </p:cNvSpPr>
          <p:nvPr/>
        </p:nvSpPr>
        <p:spPr bwMode="auto">
          <a:xfrm>
            <a:off x="9187630" y="3702908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2" name="Freeform 102">
            <a:extLst>
              <a:ext uri="{FF2B5EF4-FFF2-40B4-BE49-F238E27FC236}">
                <a16:creationId xmlns:a16="http://schemas.microsoft.com/office/drawing/2014/main" id="{D40E8A6E-E06F-4B01-9A16-C867B931B27E}"/>
              </a:ext>
            </a:extLst>
          </p:cNvPr>
          <p:cNvSpPr>
            <a:spLocks noEditPoints="1"/>
          </p:cNvSpPr>
          <p:nvPr/>
        </p:nvSpPr>
        <p:spPr bwMode="auto">
          <a:xfrm>
            <a:off x="9267005" y="3702908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3" name="Freeform 103">
            <a:extLst>
              <a:ext uri="{FF2B5EF4-FFF2-40B4-BE49-F238E27FC236}">
                <a16:creationId xmlns:a16="http://schemas.microsoft.com/office/drawing/2014/main" id="{144DA870-EFB6-4FCA-9CEA-98D1D6E245D8}"/>
              </a:ext>
            </a:extLst>
          </p:cNvPr>
          <p:cNvSpPr>
            <a:spLocks noEditPoints="1"/>
          </p:cNvSpPr>
          <p:nvPr/>
        </p:nvSpPr>
        <p:spPr bwMode="auto">
          <a:xfrm>
            <a:off x="9433745" y="3718015"/>
            <a:ext cx="99962" cy="96838"/>
          </a:xfrm>
          <a:custGeom>
            <a:avLst/>
            <a:gdLst>
              <a:gd name="T0" fmla="*/ 16 w 32"/>
              <a:gd name="T1" fmla="*/ 0 h 31"/>
              <a:gd name="T2" fmla="*/ 16 w 32"/>
              <a:gd name="T3" fmla="*/ 31 h 31"/>
              <a:gd name="T4" fmla="*/ 32 w 32"/>
              <a:gd name="T5" fmla="*/ 14 h 31"/>
              <a:gd name="T6" fmla="*/ 0 w 32"/>
              <a:gd name="T7" fmla="*/ 14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1">
                <a:moveTo>
                  <a:pt x="16" y="0"/>
                </a:moveTo>
                <a:lnTo>
                  <a:pt x="16" y="31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4" name="Freeform 104">
            <a:extLst>
              <a:ext uri="{FF2B5EF4-FFF2-40B4-BE49-F238E27FC236}">
                <a16:creationId xmlns:a16="http://schemas.microsoft.com/office/drawing/2014/main" id="{A8E070D8-A7AB-4181-89D7-D3130B0D8294}"/>
              </a:ext>
            </a:extLst>
          </p:cNvPr>
          <p:cNvSpPr>
            <a:spLocks noEditPoints="1"/>
          </p:cNvSpPr>
          <p:nvPr/>
        </p:nvSpPr>
        <p:spPr bwMode="auto">
          <a:xfrm>
            <a:off x="9476555" y="3718015"/>
            <a:ext cx="93718" cy="96838"/>
          </a:xfrm>
          <a:custGeom>
            <a:avLst/>
            <a:gdLst>
              <a:gd name="T0" fmla="*/ 14 w 30"/>
              <a:gd name="T1" fmla="*/ 0 h 31"/>
              <a:gd name="T2" fmla="*/ 14 w 30"/>
              <a:gd name="T3" fmla="*/ 31 h 31"/>
              <a:gd name="T4" fmla="*/ 30 w 30"/>
              <a:gd name="T5" fmla="*/ 14 h 31"/>
              <a:gd name="T6" fmla="*/ 0 w 30"/>
              <a:gd name="T7" fmla="*/ 14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1">
                <a:moveTo>
                  <a:pt x="14" y="0"/>
                </a:moveTo>
                <a:lnTo>
                  <a:pt x="14" y="31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5" name="Freeform 105">
            <a:extLst>
              <a:ext uri="{FF2B5EF4-FFF2-40B4-BE49-F238E27FC236}">
                <a16:creationId xmlns:a16="http://schemas.microsoft.com/office/drawing/2014/main" id="{5EFE48C5-75A9-4C00-8DB4-733E815724B3}"/>
              </a:ext>
            </a:extLst>
          </p:cNvPr>
          <p:cNvSpPr>
            <a:spLocks noEditPoints="1"/>
          </p:cNvSpPr>
          <p:nvPr/>
        </p:nvSpPr>
        <p:spPr bwMode="auto">
          <a:xfrm>
            <a:off x="9600380" y="377117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6" name="Freeform 106">
            <a:extLst>
              <a:ext uri="{FF2B5EF4-FFF2-40B4-BE49-F238E27FC236}">
                <a16:creationId xmlns:a16="http://schemas.microsoft.com/office/drawing/2014/main" id="{ADBCA93D-1841-4548-8307-698BE5EE9DE7}"/>
              </a:ext>
            </a:extLst>
          </p:cNvPr>
          <p:cNvSpPr>
            <a:spLocks noEditPoints="1"/>
          </p:cNvSpPr>
          <p:nvPr/>
        </p:nvSpPr>
        <p:spPr bwMode="auto">
          <a:xfrm>
            <a:off x="9638480" y="377117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7" name="Freeform 107">
            <a:extLst>
              <a:ext uri="{FF2B5EF4-FFF2-40B4-BE49-F238E27FC236}">
                <a16:creationId xmlns:a16="http://schemas.microsoft.com/office/drawing/2014/main" id="{F040E01F-B366-4318-9EE5-E688D8CF366A}"/>
              </a:ext>
            </a:extLst>
          </p:cNvPr>
          <p:cNvSpPr>
            <a:spLocks noEditPoints="1"/>
          </p:cNvSpPr>
          <p:nvPr/>
        </p:nvSpPr>
        <p:spPr bwMode="auto">
          <a:xfrm>
            <a:off x="9809930" y="377117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8" name="Freeform 108">
            <a:extLst>
              <a:ext uri="{FF2B5EF4-FFF2-40B4-BE49-F238E27FC236}">
                <a16:creationId xmlns:a16="http://schemas.microsoft.com/office/drawing/2014/main" id="{4AA9703D-F00D-4F2E-B7B7-101841708BBD}"/>
              </a:ext>
            </a:extLst>
          </p:cNvPr>
          <p:cNvSpPr>
            <a:spLocks noEditPoints="1"/>
          </p:cNvSpPr>
          <p:nvPr/>
        </p:nvSpPr>
        <p:spPr bwMode="auto">
          <a:xfrm>
            <a:off x="10133780" y="390134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9" name="Freeform 109">
            <a:extLst>
              <a:ext uri="{FF2B5EF4-FFF2-40B4-BE49-F238E27FC236}">
                <a16:creationId xmlns:a16="http://schemas.microsoft.com/office/drawing/2014/main" id="{D0FADB92-13AD-44AB-AB54-663F73567D58}"/>
              </a:ext>
            </a:extLst>
          </p:cNvPr>
          <p:cNvSpPr>
            <a:spLocks noEditPoints="1"/>
          </p:cNvSpPr>
          <p:nvPr/>
        </p:nvSpPr>
        <p:spPr bwMode="auto">
          <a:xfrm>
            <a:off x="10341742" y="400294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rgbClr val="878787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0" name="Freeform 147">
            <a:extLst>
              <a:ext uri="{FF2B5EF4-FFF2-40B4-BE49-F238E27FC236}">
                <a16:creationId xmlns:a16="http://schemas.microsoft.com/office/drawing/2014/main" id="{90EC8C62-0727-45AC-9CEC-FDBDCFCC25FE}"/>
              </a:ext>
            </a:extLst>
          </p:cNvPr>
          <p:cNvSpPr>
            <a:spLocks/>
          </p:cNvSpPr>
          <p:nvPr/>
        </p:nvSpPr>
        <p:spPr bwMode="auto">
          <a:xfrm>
            <a:off x="6913563" y="2046377"/>
            <a:ext cx="4070350" cy="1695450"/>
          </a:xfrm>
          <a:custGeom>
            <a:avLst/>
            <a:gdLst>
              <a:gd name="T0" fmla="*/ 16 w 2564"/>
              <a:gd name="T1" fmla="*/ 14 h 1068"/>
              <a:gd name="T2" fmla="*/ 58 w 2564"/>
              <a:gd name="T3" fmla="*/ 22 h 1068"/>
              <a:gd name="T4" fmla="*/ 94 w 2564"/>
              <a:gd name="T5" fmla="*/ 44 h 1068"/>
              <a:gd name="T6" fmla="*/ 162 w 2564"/>
              <a:gd name="T7" fmla="*/ 54 h 1068"/>
              <a:gd name="T8" fmla="*/ 174 w 2564"/>
              <a:gd name="T9" fmla="*/ 74 h 1068"/>
              <a:gd name="T10" fmla="*/ 208 w 2564"/>
              <a:gd name="T11" fmla="*/ 80 h 1068"/>
              <a:gd name="T12" fmla="*/ 226 w 2564"/>
              <a:gd name="T13" fmla="*/ 97 h 1068"/>
              <a:gd name="T14" fmla="*/ 282 w 2564"/>
              <a:gd name="T15" fmla="*/ 111 h 1068"/>
              <a:gd name="T16" fmla="*/ 298 w 2564"/>
              <a:gd name="T17" fmla="*/ 137 h 1068"/>
              <a:gd name="T18" fmla="*/ 316 w 2564"/>
              <a:gd name="T19" fmla="*/ 145 h 1068"/>
              <a:gd name="T20" fmla="*/ 324 w 2564"/>
              <a:gd name="T21" fmla="*/ 177 h 1068"/>
              <a:gd name="T22" fmla="*/ 344 w 2564"/>
              <a:gd name="T23" fmla="*/ 189 h 1068"/>
              <a:gd name="T24" fmla="*/ 352 w 2564"/>
              <a:gd name="T25" fmla="*/ 205 h 1068"/>
              <a:gd name="T26" fmla="*/ 396 w 2564"/>
              <a:gd name="T27" fmla="*/ 211 h 1068"/>
              <a:gd name="T28" fmla="*/ 402 w 2564"/>
              <a:gd name="T29" fmla="*/ 247 h 1068"/>
              <a:gd name="T30" fmla="*/ 418 w 2564"/>
              <a:gd name="T31" fmla="*/ 259 h 1068"/>
              <a:gd name="T32" fmla="*/ 428 w 2564"/>
              <a:gd name="T33" fmla="*/ 301 h 1068"/>
              <a:gd name="T34" fmla="*/ 446 w 2564"/>
              <a:gd name="T35" fmla="*/ 317 h 1068"/>
              <a:gd name="T36" fmla="*/ 464 w 2564"/>
              <a:gd name="T37" fmla="*/ 340 h 1068"/>
              <a:gd name="T38" fmla="*/ 506 w 2564"/>
              <a:gd name="T39" fmla="*/ 356 h 1068"/>
              <a:gd name="T40" fmla="*/ 516 w 2564"/>
              <a:gd name="T41" fmla="*/ 374 h 1068"/>
              <a:gd name="T42" fmla="*/ 532 w 2564"/>
              <a:gd name="T43" fmla="*/ 384 h 1068"/>
              <a:gd name="T44" fmla="*/ 542 w 2564"/>
              <a:gd name="T45" fmla="*/ 402 h 1068"/>
              <a:gd name="T46" fmla="*/ 582 w 2564"/>
              <a:gd name="T47" fmla="*/ 412 h 1068"/>
              <a:gd name="T48" fmla="*/ 596 w 2564"/>
              <a:gd name="T49" fmla="*/ 442 h 1068"/>
              <a:gd name="T50" fmla="*/ 612 w 2564"/>
              <a:gd name="T51" fmla="*/ 460 h 1068"/>
              <a:gd name="T52" fmla="*/ 634 w 2564"/>
              <a:gd name="T53" fmla="*/ 480 h 1068"/>
              <a:gd name="T54" fmla="*/ 672 w 2564"/>
              <a:gd name="T55" fmla="*/ 496 h 1068"/>
              <a:gd name="T56" fmla="*/ 718 w 2564"/>
              <a:gd name="T57" fmla="*/ 522 h 1068"/>
              <a:gd name="T58" fmla="*/ 750 w 2564"/>
              <a:gd name="T59" fmla="*/ 534 h 1068"/>
              <a:gd name="T60" fmla="*/ 770 w 2564"/>
              <a:gd name="T61" fmla="*/ 556 h 1068"/>
              <a:gd name="T62" fmla="*/ 798 w 2564"/>
              <a:gd name="T63" fmla="*/ 568 h 1068"/>
              <a:gd name="T64" fmla="*/ 806 w 2564"/>
              <a:gd name="T65" fmla="*/ 601 h 1068"/>
              <a:gd name="T66" fmla="*/ 832 w 2564"/>
              <a:gd name="T67" fmla="*/ 623 h 1068"/>
              <a:gd name="T68" fmla="*/ 844 w 2564"/>
              <a:gd name="T69" fmla="*/ 639 h 1068"/>
              <a:gd name="T70" fmla="*/ 876 w 2564"/>
              <a:gd name="T71" fmla="*/ 647 h 1068"/>
              <a:gd name="T72" fmla="*/ 890 w 2564"/>
              <a:gd name="T73" fmla="*/ 663 h 1068"/>
              <a:gd name="T74" fmla="*/ 916 w 2564"/>
              <a:gd name="T75" fmla="*/ 667 h 1068"/>
              <a:gd name="T76" fmla="*/ 930 w 2564"/>
              <a:gd name="T77" fmla="*/ 689 h 1068"/>
              <a:gd name="T78" fmla="*/ 968 w 2564"/>
              <a:gd name="T79" fmla="*/ 701 h 1068"/>
              <a:gd name="T80" fmla="*/ 1044 w 2564"/>
              <a:gd name="T81" fmla="*/ 723 h 1068"/>
              <a:gd name="T82" fmla="*/ 1075 w 2564"/>
              <a:gd name="T83" fmla="*/ 741 h 1068"/>
              <a:gd name="T84" fmla="*/ 1107 w 2564"/>
              <a:gd name="T85" fmla="*/ 759 h 1068"/>
              <a:gd name="T86" fmla="*/ 1151 w 2564"/>
              <a:gd name="T87" fmla="*/ 769 h 1068"/>
              <a:gd name="T88" fmla="*/ 1207 w 2564"/>
              <a:gd name="T89" fmla="*/ 787 h 1068"/>
              <a:gd name="T90" fmla="*/ 1227 w 2564"/>
              <a:gd name="T91" fmla="*/ 797 h 1068"/>
              <a:gd name="T92" fmla="*/ 1239 w 2564"/>
              <a:gd name="T93" fmla="*/ 817 h 1068"/>
              <a:gd name="T94" fmla="*/ 1395 w 2564"/>
              <a:gd name="T95" fmla="*/ 835 h 1068"/>
              <a:gd name="T96" fmla="*/ 1407 w 2564"/>
              <a:gd name="T97" fmla="*/ 854 h 1068"/>
              <a:gd name="T98" fmla="*/ 1475 w 2564"/>
              <a:gd name="T99" fmla="*/ 862 h 1068"/>
              <a:gd name="T100" fmla="*/ 1493 w 2564"/>
              <a:gd name="T101" fmla="*/ 876 h 1068"/>
              <a:gd name="T102" fmla="*/ 1639 w 2564"/>
              <a:gd name="T103" fmla="*/ 884 h 1068"/>
              <a:gd name="T104" fmla="*/ 1715 w 2564"/>
              <a:gd name="T105" fmla="*/ 920 h 1068"/>
              <a:gd name="T106" fmla="*/ 1755 w 2564"/>
              <a:gd name="T107" fmla="*/ 946 h 1068"/>
              <a:gd name="T108" fmla="*/ 1879 w 2564"/>
              <a:gd name="T109" fmla="*/ 994 h 1068"/>
              <a:gd name="T110" fmla="*/ 2286 w 2564"/>
              <a:gd name="T111" fmla="*/ 1002 h 10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64" h="1068">
                <a:moveTo>
                  <a:pt x="0" y="0"/>
                </a:moveTo>
                <a:lnTo>
                  <a:pt x="16" y="0"/>
                </a:lnTo>
                <a:lnTo>
                  <a:pt x="16" y="14"/>
                </a:lnTo>
                <a:lnTo>
                  <a:pt x="46" y="14"/>
                </a:lnTo>
                <a:lnTo>
                  <a:pt x="46" y="22"/>
                </a:lnTo>
                <a:lnTo>
                  <a:pt x="58" y="22"/>
                </a:lnTo>
                <a:lnTo>
                  <a:pt x="58" y="30"/>
                </a:lnTo>
                <a:lnTo>
                  <a:pt x="94" y="30"/>
                </a:lnTo>
                <a:lnTo>
                  <a:pt x="94" y="44"/>
                </a:lnTo>
                <a:lnTo>
                  <a:pt x="108" y="44"/>
                </a:lnTo>
                <a:lnTo>
                  <a:pt x="108" y="54"/>
                </a:lnTo>
                <a:lnTo>
                  <a:pt x="162" y="54"/>
                </a:lnTo>
                <a:lnTo>
                  <a:pt x="162" y="64"/>
                </a:lnTo>
                <a:lnTo>
                  <a:pt x="174" y="64"/>
                </a:lnTo>
                <a:lnTo>
                  <a:pt x="174" y="74"/>
                </a:lnTo>
                <a:lnTo>
                  <a:pt x="182" y="74"/>
                </a:lnTo>
                <a:lnTo>
                  <a:pt x="182" y="80"/>
                </a:lnTo>
                <a:lnTo>
                  <a:pt x="208" y="80"/>
                </a:lnTo>
                <a:lnTo>
                  <a:pt x="208" y="91"/>
                </a:lnTo>
                <a:lnTo>
                  <a:pt x="226" y="91"/>
                </a:lnTo>
                <a:lnTo>
                  <a:pt x="226" y="97"/>
                </a:lnTo>
                <a:lnTo>
                  <a:pt x="276" y="97"/>
                </a:lnTo>
                <a:lnTo>
                  <a:pt x="276" y="111"/>
                </a:lnTo>
                <a:lnTo>
                  <a:pt x="282" y="111"/>
                </a:lnTo>
                <a:lnTo>
                  <a:pt x="282" y="123"/>
                </a:lnTo>
                <a:lnTo>
                  <a:pt x="298" y="123"/>
                </a:lnTo>
                <a:lnTo>
                  <a:pt x="298" y="137"/>
                </a:lnTo>
                <a:lnTo>
                  <a:pt x="308" y="137"/>
                </a:lnTo>
                <a:lnTo>
                  <a:pt x="308" y="145"/>
                </a:lnTo>
                <a:lnTo>
                  <a:pt x="316" y="145"/>
                </a:lnTo>
                <a:lnTo>
                  <a:pt x="316" y="155"/>
                </a:lnTo>
                <a:lnTo>
                  <a:pt x="324" y="155"/>
                </a:lnTo>
                <a:lnTo>
                  <a:pt x="324" y="177"/>
                </a:lnTo>
                <a:lnTo>
                  <a:pt x="332" y="177"/>
                </a:lnTo>
                <a:lnTo>
                  <a:pt x="332" y="189"/>
                </a:lnTo>
                <a:lnTo>
                  <a:pt x="344" y="189"/>
                </a:lnTo>
                <a:lnTo>
                  <a:pt x="344" y="197"/>
                </a:lnTo>
                <a:lnTo>
                  <a:pt x="352" y="197"/>
                </a:lnTo>
                <a:lnTo>
                  <a:pt x="352" y="205"/>
                </a:lnTo>
                <a:lnTo>
                  <a:pt x="362" y="205"/>
                </a:lnTo>
                <a:lnTo>
                  <a:pt x="362" y="211"/>
                </a:lnTo>
                <a:lnTo>
                  <a:pt x="396" y="211"/>
                </a:lnTo>
                <a:lnTo>
                  <a:pt x="396" y="233"/>
                </a:lnTo>
                <a:lnTo>
                  <a:pt x="402" y="233"/>
                </a:lnTo>
                <a:lnTo>
                  <a:pt x="402" y="247"/>
                </a:lnTo>
                <a:lnTo>
                  <a:pt x="410" y="247"/>
                </a:lnTo>
                <a:lnTo>
                  <a:pt x="410" y="259"/>
                </a:lnTo>
                <a:lnTo>
                  <a:pt x="418" y="259"/>
                </a:lnTo>
                <a:lnTo>
                  <a:pt x="418" y="285"/>
                </a:lnTo>
                <a:lnTo>
                  <a:pt x="428" y="285"/>
                </a:lnTo>
                <a:lnTo>
                  <a:pt x="428" y="301"/>
                </a:lnTo>
                <a:lnTo>
                  <a:pt x="436" y="301"/>
                </a:lnTo>
                <a:lnTo>
                  <a:pt x="436" y="317"/>
                </a:lnTo>
                <a:lnTo>
                  <a:pt x="446" y="317"/>
                </a:lnTo>
                <a:lnTo>
                  <a:pt x="446" y="331"/>
                </a:lnTo>
                <a:lnTo>
                  <a:pt x="464" y="331"/>
                </a:lnTo>
                <a:lnTo>
                  <a:pt x="464" y="340"/>
                </a:lnTo>
                <a:lnTo>
                  <a:pt x="494" y="340"/>
                </a:lnTo>
                <a:lnTo>
                  <a:pt x="494" y="356"/>
                </a:lnTo>
                <a:lnTo>
                  <a:pt x="506" y="356"/>
                </a:lnTo>
                <a:lnTo>
                  <a:pt x="506" y="364"/>
                </a:lnTo>
                <a:lnTo>
                  <a:pt x="516" y="364"/>
                </a:lnTo>
                <a:lnTo>
                  <a:pt x="516" y="374"/>
                </a:lnTo>
                <a:lnTo>
                  <a:pt x="526" y="374"/>
                </a:lnTo>
                <a:lnTo>
                  <a:pt x="526" y="384"/>
                </a:lnTo>
                <a:lnTo>
                  <a:pt x="532" y="384"/>
                </a:lnTo>
                <a:lnTo>
                  <a:pt x="532" y="394"/>
                </a:lnTo>
                <a:lnTo>
                  <a:pt x="542" y="394"/>
                </a:lnTo>
                <a:lnTo>
                  <a:pt x="542" y="402"/>
                </a:lnTo>
                <a:lnTo>
                  <a:pt x="556" y="402"/>
                </a:lnTo>
                <a:lnTo>
                  <a:pt x="556" y="412"/>
                </a:lnTo>
                <a:lnTo>
                  <a:pt x="582" y="412"/>
                </a:lnTo>
                <a:lnTo>
                  <a:pt x="582" y="430"/>
                </a:lnTo>
                <a:lnTo>
                  <a:pt x="596" y="430"/>
                </a:lnTo>
                <a:lnTo>
                  <a:pt x="596" y="442"/>
                </a:lnTo>
                <a:lnTo>
                  <a:pt x="604" y="442"/>
                </a:lnTo>
                <a:lnTo>
                  <a:pt x="604" y="460"/>
                </a:lnTo>
                <a:lnTo>
                  <a:pt x="612" y="460"/>
                </a:lnTo>
                <a:lnTo>
                  <a:pt x="612" y="472"/>
                </a:lnTo>
                <a:lnTo>
                  <a:pt x="634" y="472"/>
                </a:lnTo>
                <a:lnTo>
                  <a:pt x="634" y="480"/>
                </a:lnTo>
                <a:lnTo>
                  <a:pt x="654" y="480"/>
                </a:lnTo>
                <a:lnTo>
                  <a:pt x="654" y="496"/>
                </a:lnTo>
                <a:lnTo>
                  <a:pt x="672" y="496"/>
                </a:lnTo>
                <a:lnTo>
                  <a:pt x="672" y="510"/>
                </a:lnTo>
                <a:lnTo>
                  <a:pt x="718" y="510"/>
                </a:lnTo>
                <a:lnTo>
                  <a:pt x="718" y="522"/>
                </a:lnTo>
                <a:lnTo>
                  <a:pt x="738" y="522"/>
                </a:lnTo>
                <a:lnTo>
                  <a:pt x="738" y="534"/>
                </a:lnTo>
                <a:lnTo>
                  <a:pt x="750" y="534"/>
                </a:lnTo>
                <a:lnTo>
                  <a:pt x="750" y="546"/>
                </a:lnTo>
                <a:lnTo>
                  <a:pt x="770" y="546"/>
                </a:lnTo>
                <a:lnTo>
                  <a:pt x="770" y="556"/>
                </a:lnTo>
                <a:lnTo>
                  <a:pt x="784" y="556"/>
                </a:lnTo>
                <a:lnTo>
                  <a:pt x="784" y="568"/>
                </a:lnTo>
                <a:lnTo>
                  <a:pt x="798" y="568"/>
                </a:lnTo>
                <a:lnTo>
                  <a:pt x="798" y="593"/>
                </a:lnTo>
                <a:lnTo>
                  <a:pt x="806" y="593"/>
                </a:lnTo>
                <a:lnTo>
                  <a:pt x="806" y="601"/>
                </a:lnTo>
                <a:lnTo>
                  <a:pt x="818" y="601"/>
                </a:lnTo>
                <a:lnTo>
                  <a:pt x="818" y="623"/>
                </a:lnTo>
                <a:lnTo>
                  <a:pt x="832" y="623"/>
                </a:lnTo>
                <a:lnTo>
                  <a:pt x="832" y="633"/>
                </a:lnTo>
                <a:lnTo>
                  <a:pt x="844" y="633"/>
                </a:lnTo>
                <a:lnTo>
                  <a:pt x="844" y="639"/>
                </a:lnTo>
                <a:lnTo>
                  <a:pt x="860" y="639"/>
                </a:lnTo>
                <a:lnTo>
                  <a:pt x="860" y="647"/>
                </a:lnTo>
                <a:lnTo>
                  <a:pt x="876" y="647"/>
                </a:lnTo>
                <a:lnTo>
                  <a:pt x="876" y="651"/>
                </a:lnTo>
                <a:lnTo>
                  <a:pt x="890" y="651"/>
                </a:lnTo>
                <a:lnTo>
                  <a:pt x="890" y="663"/>
                </a:lnTo>
                <a:lnTo>
                  <a:pt x="902" y="663"/>
                </a:lnTo>
                <a:lnTo>
                  <a:pt x="902" y="667"/>
                </a:lnTo>
                <a:lnTo>
                  <a:pt x="916" y="667"/>
                </a:lnTo>
                <a:lnTo>
                  <a:pt x="916" y="673"/>
                </a:lnTo>
                <a:lnTo>
                  <a:pt x="930" y="673"/>
                </a:lnTo>
                <a:lnTo>
                  <a:pt x="930" y="689"/>
                </a:lnTo>
                <a:lnTo>
                  <a:pt x="942" y="689"/>
                </a:lnTo>
                <a:lnTo>
                  <a:pt x="942" y="701"/>
                </a:lnTo>
                <a:lnTo>
                  <a:pt x="968" y="701"/>
                </a:lnTo>
                <a:lnTo>
                  <a:pt x="968" y="711"/>
                </a:lnTo>
                <a:lnTo>
                  <a:pt x="1044" y="711"/>
                </a:lnTo>
                <a:lnTo>
                  <a:pt x="1044" y="723"/>
                </a:lnTo>
                <a:lnTo>
                  <a:pt x="1060" y="723"/>
                </a:lnTo>
                <a:lnTo>
                  <a:pt x="1060" y="741"/>
                </a:lnTo>
                <a:lnTo>
                  <a:pt x="1075" y="741"/>
                </a:lnTo>
                <a:lnTo>
                  <a:pt x="1075" y="749"/>
                </a:lnTo>
                <a:lnTo>
                  <a:pt x="1107" y="749"/>
                </a:lnTo>
                <a:lnTo>
                  <a:pt x="1107" y="759"/>
                </a:lnTo>
                <a:lnTo>
                  <a:pt x="1119" y="759"/>
                </a:lnTo>
                <a:lnTo>
                  <a:pt x="1119" y="769"/>
                </a:lnTo>
                <a:lnTo>
                  <a:pt x="1151" y="769"/>
                </a:lnTo>
                <a:lnTo>
                  <a:pt x="1151" y="775"/>
                </a:lnTo>
                <a:lnTo>
                  <a:pt x="1207" y="775"/>
                </a:lnTo>
                <a:lnTo>
                  <a:pt x="1207" y="787"/>
                </a:lnTo>
                <a:lnTo>
                  <a:pt x="1219" y="787"/>
                </a:lnTo>
                <a:lnTo>
                  <a:pt x="1219" y="797"/>
                </a:lnTo>
                <a:lnTo>
                  <a:pt x="1227" y="797"/>
                </a:lnTo>
                <a:lnTo>
                  <a:pt x="1227" y="807"/>
                </a:lnTo>
                <a:lnTo>
                  <a:pt x="1239" y="807"/>
                </a:lnTo>
                <a:lnTo>
                  <a:pt x="1239" y="817"/>
                </a:lnTo>
                <a:lnTo>
                  <a:pt x="1383" y="817"/>
                </a:lnTo>
                <a:lnTo>
                  <a:pt x="1383" y="835"/>
                </a:lnTo>
                <a:lnTo>
                  <a:pt x="1395" y="835"/>
                </a:lnTo>
                <a:lnTo>
                  <a:pt x="1395" y="846"/>
                </a:lnTo>
                <a:lnTo>
                  <a:pt x="1407" y="846"/>
                </a:lnTo>
                <a:lnTo>
                  <a:pt x="1407" y="854"/>
                </a:lnTo>
                <a:lnTo>
                  <a:pt x="1417" y="854"/>
                </a:lnTo>
                <a:lnTo>
                  <a:pt x="1417" y="862"/>
                </a:lnTo>
                <a:lnTo>
                  <a:pt x="1475" y="862"/>
                </a:lnTo>
                <a:lnTo>
                  <a:pt x="1475" y="872"/>
                </a:lnTo>
                <a:lnTo>
                  <a:pt x="1493" y="872"/>
                </a:lnTo>
                <a:lnTo>
                  <a:pt x="1493" y="876"/>
                </a:lnTo>
                <a:lnTo>
                  <a:pt x="1627" y="876"/>
                </a:lnTo>
                <a:lnTo>
                  <a:pt x="1627" y="884"/>
                </a:lnTo>
                <a:lnTo>
                  <a:pt x="1639" y="884"/>
                </a:lnTo>
                <a:lnTo>
                  <a:pt x="1639" y="898"/>
                </a:lnTo>
                <a:lnTo>
                  <a:pt x="1715" y="898"/>
                </a:lnTo>
                <a:lnTo>
                  <a:pt x="1715" y="920"/>
                </a:lnTo>
                <a:lnTo>
                  <a:pt x="1729" y="920"/>
                </a:lnTo>
                <a:lnTo>
                  <a:pt x="1729" y="946"/>
                </a:lnTo>
                <a:lnTo>
                  <a:pt x="1755" y="946"/>
                </a:lnTo>
                <a:lnTo>
                  <a:pt x="1755" y="970"/>
                </a:lnTo>
                <a:lnTo>
                  <a:pt x="1879" y="970"/>
                </a:lnTo>
                <a:lnTo>
                  <a:pt x="1879" y="994"/>
                </a:lnTo>
                <a:lnTo>
                  <a:pt x="1889" y="994"/>
                </a:lnTo>
                <a:lnTo>
                  <a:pt x="1889" y="1002"/>
                </a:lnTo>
                <a:lnTo>
                  <a:pt x="2286" y="1002"/>
                </a:lnTo>
                <a:lnTo>
                  <a:pt x="2286" y="1068"/>
                </a:lnTo>
                <a:lnTo>
                  <a:pt x="2564" y="1068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1" name="Freeform 217">
            <a:extLst>
              <a:ext uri="{FF2B5EF4-FFF2-40B4-BE49-F238E27FC236}">
                <a16:creationId xmlns:a16="http://schemas.microsoft.com/office/drawing/2014/main" id="{9DFDDF98-D56A-49C6-AAA2-00A4C585C2C0}"/>
              </a:ext>
            </a:extLst>
          </p:cNvPr>
          <p:cNvSpPr>
            <a:spLocks noEditPoints="1"/>
          </p:cNvSpPr>
          <p:nvPr/>
        </p:nvSpPr>
        <p:spPr bwMode="auto">
          <a:xfrm>
            <a:off x="10935467" y="3693383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2" name="Freeform 218">
            <a:extLst>
              <a:ext uri="{FF2B5EF4-FFF2-40B4-BE49-F238E27FC236}">
                <a16:creationId xmlns:a16="http://schemas.microsoft.com/office/drawing/2014/main" id="{36767315-15D0-4ADD-9113-695E7FDF4057}"/>
              </a:ext>
            </a:extLst>
          </p:cNvPr>
          <p:cNvSpPr>
            <a:spLocks noEditPoints="1"/>
          </p:cNvSpPr>
          <p:nvPr/>
        </p:nvSpPr>
        <p:spPr bwMode="auto">
          <a:xfrm>
            <a:off x="10738617" y="3693383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3" name="Freeform 219">
            <a:extLst>
              <a:ext uri="{FF2B5EF4-FFF2-40B4-BE49-F238E27FC236}">
                <a16:creationId xmlns:a16="http://schemas.microsoft.com/office/drawing/2014/main" id="{796011EC-5316-400D-9320-1C4359232227}"/>
              </a:ext>
            </a:extLst>
          </p:cNvPr>
          <p:cNvSpPr>
            <a:spLocks noEditPoints="1"/>
          </p:cNvSpPr>
          <p:nvPr/>
        </p:nvSpPr>
        <p:spPr bwMode="auto">
          <a:xfrm>
            <a:off x="10594206" y="3693383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4" name="Freeform 220">
            <a:extLst>
              <a:ext uri="{FF2B5EF4-FFF2-40B4-BE49-F238E27FC236}">
                <a16:creationId xmlns:a16="http://schemas.microsoft.com/office/drawing/2014/main" id="{4D054217-75D5-424B-8D90-B331CC15B220}"/>
              </a:ext>
            </a:extLst>
          </p:cNvPr>
          <p:cNvSpPr>
            <a:spLocks noEditPoints="1"/>
          </p:cNvSpPr>
          <p:nvPr/>
        </p:nvSpPr>
        <p:spPr bwMode="auto">
          <a:xfrm>
            <a:off x="10270305" y="3591783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5" name="Freeform 221">
            <a:extLst>
              <a:ext uri="{FF2B5EF4-FFF2-40B4-BE49-F238E27FC236}">
                <a16:creationId xmlns:a16="http://schemas.microsoft.com/office/drawing/2014/main" id="{3D9C9855-EACC-4CFC-8EF3-E6B54F818616}"/>
              </a:ext>
            </a:extLst>
          </p:cNvPr>
          <p:cNvSpPr>
            <a:spLocks noEditPoints="1"/>
          </p:cNvSpPr>
          <p:nvPr/>
        </p:nvSpPr>
        <p:spPr bwMode="auto">
          <a:xfrm>
            <a:off x="10013130" y="3591783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6" name="Freeform 222">
            <a:extLst>
              <a:ext uri="{FF2B5EF4-FFF2-40B4-BE49-F238E27FC236}">
                <a16:creationId xmlns:a16="http://schemas.microsoft.com/office/drawing/2014/main" id="{488B2B8D-6368-43A1-82D1-6F3F16B43117}"/>
              </a:ext>
            </a:extLst>
          </p:cNvPr>
          <p:cNvSpPr>
            <a:spLocks noEditPoints="1"/>
          </p:cNvSpPr>
          <p:nvPr/>
        </p:nvSpPr>
        <p:spPr bwMode="auto">
          <a:xfrm>
            <a:off x="9984555" y="3591783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7" name="Freeform 223">
            <a:extLst>
              <a:ext uri="{FF2B5EF4-FFF2-40B4-BE49-F238E27FC236}">
                <a16:creationId xmlns:a16="http://schemas.microsoft.com/office/drawing/2014/main" id="{8CE08660-610A-47E7-A26F-CCD2597C3603}"/>
              </a:ext>
            </a:extLst>
          </p:cNvPr>
          <p:cNvSpPr>
            <a:spLocks noEditPoints="1"/>
          </p:cNvSpPr>
          <p:nvPr/>
        </p:nvSpPr>
        <p:spPr bwMode="auto">
          <a:xfrm>
            <a:off x="9714680" y="3540983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8" name="Freeform 224">
            <a:extLst>
              <a:ext uri="{FF2B5EF4-FFF2-40B4-BE49-F238E27FC236}">
                <a16:creationId xmlns:a16="http://schemas.microsoft.com/office/drawing/2014/main" id="{171DB664-8683-4BEE-8CC9-BA212976C207}"/>
              </a:ext>
            </a:extLst>
          </p:cNvPr>
          <p:cNvSpPr>
            <a:spLocks noEditPoints="1"/>
          </p:cNvSpPr>
          <p:nvPr/>
        </p:nvSpPr>
        <p:spPr bwMode="auto">
          <a:xfrm>
            <a:off x="9686105" y="3540983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19" name="Freeform 225">
            <a:extLst>
              <a:ext uri="{FF2B5EF4-FFF2-40B4-BE49-F238E27FC236}">
                <a16:creationId xmlns:a16="http://schemas.microsoft.com/office/drawing/2014/main" id="{959926CD-970C-4613-89B1-3ECFEFF1D182}"/>
              </a:ext>
            </a:extLst>
          </p:cNvPr>
          <p:cNvSpPr>
            <a:spLocks noEditPoints="1"/>
          </p:cNvSpPr>
          <p:nvPr/>
        </p:nvSpPr>
        <p:spPr bwMode="auto">
          <a:xfrm>
            <a:off x="9581330" y="3423508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0" name="Freeform 226">
            <a:extLst>
              <a:ext uri="{FF2B5EF4-FFF2-40B4-BE49-F238E27FC236}">
                <a16:creationId xmlns:a16="http://schemas.microsoft.com/office/drawing/2014/main" id="{778D8176-74C4-499B-B467-851C994D04D9}"/>
              </a:ext>
            </a:extLst>
          </p:cNvPr>
          <p:cNvSpPr>
            <a:spLocks noEditPoints="1"/>
          </p:cNvSpPr>
          <p:nvPr/>
        </p:nvSpPr>
        <p:spPr bwMode="auto">
          <a:xfrm>
            <a:off x="9548044" y="3423508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1" name="Freeform 227">
            <a:extLst>
              <a:ext uri="{FF2B5EF4-FFF2-40B4-BE49-F238E27FC236}">
                <a16:creationId xmlns:a16="http://schemas.microsoft.com/office/drawing/2014/main" id="{C7C03DE7-29F3-4887-A706-1F770D1AB8E7}"/>
              </a:ext>
            </a:extLst>
          </p:cNvPr>
          <p:cNvSpPr>
            <a:spLocks noEditPoints="1"/>
          </p:cNvSpPr>
          <p:nvPr/>
        </p:nvSpPr>
        <p:spPr bwMode="auto">
          <a:xfrm>
            <a:off x="9508305" y="3423508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2" name="Freeform 228">
            <a:extLst>
              <a:ext uri="{FF2B5EF4-FFF2-40B4-BE49-F238E27FC236}">
                <a16:creationId xmlns:a16="http://schemas.microsoft.com/office/drawing/2014/main" id="{DA7055B3-8A05-4E5D-890B-F35999468F3B}"/>
              </a:ext>
            </a:extLst>
          </p:cNvPr>
          <p:cNvSpPr>
            <a:spLocks noEditPoints="1"/>
          </p:cNvSpPr>
          <p:nvPr/>
        </p:nvSpPr>
        <p:spPr bwMode="auto">
          <a:xfrm>
            <a:off x="9473380" y="3423508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3" name="Freeform 229">
            <a:extLst>
              <a:ext uri="{FF2B5EF4-FFF2-40B4-BE49-F238E27FC236}">
                <a16:creationId xmlns:a16="http://schemas.microsoft.com/office/drawing/2014/main" id="{7CD79C38-A997-4531-BB8B-68F653DA10D6}"/>
              </a:ext>
            </a:extLst>
          </p:cNvPr>
          <p:cNvSpPr>
            <a:spLocks noEditPoints="1"/>
          </p:cNvSpPr>
          <p:nvPr/>
        </p:nvSpPr>
        <p:spPr bwMode="auto">
          <a:xfrm>
            <a:off x="9424219" y="3391758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4" name="Freeform 230">
            <a:extLst>
              <a:ext uri="{FF2B5EF4-FFF2-40B4-BE49-F238E27FC236}">
                <a16:creationId xmlns:a16="http://schemas.microsoft.com/office/drawing/2014/main" id="{2DF7B9EB-1890-4214-8CB4-5C3A2775BB31}"/>
              </a:ext>
            </a:extLst>
          </p:cNvPr>
          <p:cNvSpPr>
            <a:spLocks noEditPoints="1"/>
          </p:cNvSpPr>
          <p:nvPr/>
        </p:nvSpPr>
        <p:spPr bwMode="auto">
          <a:xfrm>
            <a:off x="9352730" y="3391758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5" name="Freeform 231">
            <a:extLst>
              <a:ext uri="{FF2B5EF4-FFF2-40B4-BE49-F238E27FC236}">
                <a16:creationId xmlns:a16="http://schemas.microsoft.com/office/drawing/2014/main" id="{6452AA9F-D7C0-4D64-9BDA-280766915C42}"/>
              </a:ext>
            </a:extLst>
          </p:cNvPr>
          <p:cNvSpPr>
            <a:spLocks noEditPoints="1"/>
          </p:cNvSpPr>
          <p:nvPr/>
        </p:nvSpPr>
        <p:spPr bwMode="auto">
          <a:xfrm>
            <a:off x="9378130" y="3391758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6" name="Freeform 232">
            <a:extLst>
              <a:ext uri="{FF2B5EF4-FFF2-40B4-BE49-F238E27FC236}">
                <a16:creationId xmlns:a16="http://schemas.microsoft.com/office/drawing/2014/main" id="{E3941E52-90B0-44CE-964F-973EF997FBFA}"/>
              </a:ext>
            </a:extLst>
          </p:cNvPr>
          <p:cNvSpPr>
            <a:spLocks noEditPoints="1"/>
          </p:cNvSpPr>
          <p:nvPr/>
        </p:nvSpPr>
        <p:spPr bwMode="auto">
          <a:xfrm>
            <a:off x="9235255" y="3391758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7" name="Freeform 233">
            <a:extLst>
              <a:ext uri="{FF2B5EF4-FFF2-40B4-BE49-F238E27FC236}">
                <a16:creationId xmlns:a16="http://schemas.microsoft.com/office/drawing/2014/main" id="{02FBB514-F869-4856-9782-6E0C5FBE9934}"/>
              </a:ext>
            </a:extLst>
          </p:cNvPr>
          <p:cNvSpPr>
            <a:spLocks noEditPoints="1"/>
          </p:cNvSpPr>
          <p:nvPr/>
        </p:nvSpPr>
        <p:spPr bwMode="auto">
          <a:xfrm>
            <a:off x="9197155" y="3366358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8" name="Freeform 234">
            <a:extLst>
              <a:ext uri="{FF2B5EF4-FFF2-40B4-BE49-F238E27FC236}">
                <a16:creationId xmlns:a16="http://schemas.microsoft.com/office/drawing/2014/main" id="{1B4B1B55-A89A-4553-AFC6-C857A038130F}"/>
              </a:ext>
            </a:extLst>
          </p:cNvPr>
          <p:cNvSpPr>
            <a:spLocks noEditPoints="1"/>
          </p:cNvSpPr>
          <p:nvPr/>
        </p:nvSpPr>
        <p:spPr bwMode="auto">
          <a:xfrm>
            <a:off x="9143180" y="3366358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9" name="Freeform 235">
            <a:extLst>
              <a:ext uri="{FF2B5EF4-FFF2-40B4-BE49-F238E27FC236}">
                <a16:creationId xmlns:a16="http://schemas.microsoft.com/office/drawing/2014/main" id="{CFEB1AB5-5F33-456E-824E-903004FA2899}"/>
              </a:ext>
            </a:extLst>
          </p:cNvPr>
          <p:cNvSpPr>
            <a:spLocks noEditPoints="1"/>
          </p:cNvSpPr>
          <p:nvPr/>
        </p:nvSpPr>
        <p:spPr bwMode="auto">
          <a:xfrm>
            <a:off x="9087670" y="3340241"/>
            <a:ext cx="99962" cy="103086"/>
          </a:xfrm>
          <a:custGeom>
            <a:avLst/>
            <a:gdLst>
              <a:gd name="T0" fmla="*/ 16 w 32"/>
              <a:gd name="T1" fmla="*/ 0 h 33"/>
              <a:gd name="T2" fmla="*/ 16 w 32"/>
              <a:gd name="T3" fmla="*/ 33 h 33"/>
              <a:gd name="T4" fmla="*/ 32 w 32"/>
              <a:gd name="T5" fmla="*/ 17 h 33"/>
              <a:gd name="T6" fmla="*/ 0 w 32"/>
              <a:gd name="T7" fmla="*/ 17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3">
                <a:moveTo>
                  <a:pt x="16" y="0"/>
                </a:moveTo>
                <a:lnTo>
                  <a:pt x="16" y="33"/>
                </a:lnTo>
                <a:moveTo>
                  <a:pt x="32" y="17"/>
                </a:moveTo>
                <a:lnTo>
                  <a:pt x="0" y="17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0" name="Freeform 236">
            <a:extLst>
              <a:ext uri="{FF2B5EF4-FFF2-40B4-BE49-F238E27FC236}">
                <a16:creationId xmlns:a16="http://schemas.microsoft.com/office/drawing/2014/main" id="{73713E1F-9EC2-4150-B70D-8FAB6175113B}"/>
              </a:ext>
            </a:extLst>
          </p:cNvPr>
          <p:cNvSpPr>
            <a:spLocks noEditPoints="1"/>
          </p:cNvSpPr>
          <p:nvPr/>
        </p:nvSpPr>
        <p:spPr bwMode="auto">
          <a:xfrm>
            <a:off x="9006655" y="329492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1" name="Freeform 237">
            <a:extLst>
              <a:ext uri="{FF2B5EF4-FFF2-40B4-BE49-F238E27FC236}">
                <a16:creationId xmlns:a16="http://schemas.microsoft.com/office/drawing/2014/main" id="{7F38FBBB-B497-40CF-946B-4C17B02669B9}"/>
              </a:ext>
            </a:extLst>
          </p:cNvPr>
          <p:cNvSpPr>
            <a:spLocks noEditPoints="1"/>
          </p:cNvSpPr>
          <p:nvPr/>
        </p:nvSpPr>
        <p:spPr bwMode="auto">
          <a:xfrm>
            <a:off x="8927280" y="329492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2" name="Freeform 238">
            <a:extLst>
              <a:ext uri="{FF2B5EF4-FFF2-40B4-BE49-F238E27FC236}">
                <a16:creationId xmlns:a16="http://schemas.microsoft.com/office/drawing/2014/main" id="{A36E5458-3F7E-4097-98F8-A7DCA4E7E4BE}"/>
              </a:ext>
            </a:extLst>
          </p:cNvPr>
          <p:cNvSpPr>
            <a:spLocks noEditPoints="1"/>
          </p:cNvSpPr>
          <p:nvPr/>
        </p:nvSpPr>
        <p:spPr bwMode="auto">
          <a:xfrm>
            <a:off x="8901880" y="329492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3" name="Freeform 239">
            <a:extLst>
              <a:ext uri="{FF2B5EF4-FFF2-40B4-BE49-F238E27FC236}">
                <a16:creationId xmlns:a16="http://schemas.microsoft.com/office/drawing/2014/main" id="{5FA56C8E-06C2-4F4A-8A97-2C7505B0C8BA}"/>
              </a:ext>
            </a:extLst>
          </p:cNvPr>
          <p:cNvSpPr>
            <a:spLocks noEditPoints="1"/>
          </p:cNvSpPr>
          <p:nvPr/>
        </p:nvSpPr>
        <p:spPr bwMode="auto">
          <a:xfrm>
            <a:off x="8879655" y="329492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4" name="Freeform 240">
            <a:extLst>
              <a:ext uri="{FF2B5EF4-FFF2-40B4-BE49-F238E27FC236}">
                <a16:creationId xmlns:a16="http://schemas.microsoft.com/office/drawing/2014/main" id="{7E578DB2-EE83-41E2-AA4F-C84E02BDA13C}"/>
              </a:ext>
            </a:extLst>
          </p:cNvPr>
          <p:cNvSpPr>
            <a:spLocks noEditPoints="1"/>
          </p:cNvSpPr>
          <p:nvPr/>
        </p:nvSpPr>
        <p:spPr bwMode="auto">
          <a:xfrm>
            <a:off x="8851080" y="329492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5" name="Freeform 241">
            <a:extLst>
              <a:ext uri="{FF2B5EF4-FFF2-40B4-BE49-F238E27FC236}">
                <a16:creationId xmlns:a16="http://schemas.microsoft.com/office/drawing/2014/main" id="{266AC9C2-3A98-4786-9083-4D7280CE77EC}"/>
              </a:ext>
            </a:extLst>
          </p:cNvPr>
          <p:cNvSpPr>
            <a:spLocks noEditPoints="1"/>
          </p:cNvSpPr>
          <p:nvPr/>
        </p:nvSpPr>
        <p:spPr bwMode="auto">
          <a:xfrm>
            <a:off x="8800280" y="325682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6" name="Freeform 242">
            <a:extLst>
              <a:ext uri="{FF2B5EF4-FFF2-40B4-BE49-F238E27FC236}">
                <a16:creationId xmlns:a16="http://schemas.microsoft.com/office/drawing/2014/main" id="{8B049038-F25F-40CE-A0D2-C8A68FF113C5}"/>
              </a:ext>
            </a:extLst>
          </p:cNvPr>
          <p:cNvSpPr>
            <a:spLocks noEditPoints="1"/>
          </p:cNvSpPr>
          <p:nvPr/>
        </p:nvSpPr>
        <p:spPr bwMode="auto">
          <a:xfrm>
            <a:off x="8778055" y="322824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7" name="Freeform 243">
            <a:extLst>
              <a:ext uri="{FF2B5EF4-FFF2-40B4-BE49-F238E27FC236}">
                <a16:creationId xmlns:a16="http://schemas.microsoft.com/office/drawing/2014/main" id="{D62F2F00-4F48-4D24-A347-485CF9E89893}"/>
              </a:ext>
            </a:extLst>
          </p:cNvPr>
          <p:cNvSpPr>
            <a:spLocks noEditPoints="1"/>
          </p:cNvSpPr>
          <p:nvPr/>
        </p:nvSpPr>
        <p:spPr bwMode="auto">
          <a:xfrm>
            <a:off x="8752655" y="3228246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8" name="Freeform 244">
            <a:extLst>
              <a:ext uri="{FF2B5EF4-FFF2-40B4-BE49-F238E27FC236}">
                <a16:creationId xmlns:a16="http://schemas.microsoft.com/office/drawing/2014/main" id="{28162D75-0F08-4096-AE9E-971C4AA4B2BF}"/>
              </a:ext>
            </a:extLst>
          </p:cNvPr>
          <p:cNvSpPr>
            <a:spLocks noEditPoints="1"/>
          </p:cNvSpPr>
          <p:nvPr/>
        </p:nvSpPr>
        <p:spPr bwMode="auto">
          <a:xfrm>
            <a:off x="8714555" y="3228246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9" name="Freeform 245">
            <a:extLst>
              <a:ext uri="{FF2B5EF4-FFF2-40B4-BE49-F238E27FC236}">
                <a16:creationId xmlns:a16="http://schemas.microsoft.com/office/drawing/2014/main" id="{2B3A6075-B7F1-41E6-BC58-AC6085426A32}"/>
              </a:ext>
            </a:extLst>
          </p:cNvPr>
          <p:cNvSpPr>
            <a:spLocks noEditPoints="1"/>
          </p:cNvSpPr>
          <p:nvPr/>
        </p:nvSpPr>
        <p:spPr bwMode="auto">
          <a:xfrm>
            <a:off x="8657405" y="3215546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0" name="Freeform 246">
            <a:extLst>
              <a:ext uri="{FF2B5EF4-FFF2-40B4-BE49-F238E27FC236}">
                <a16:creationId xmlns:a16="http://schemas.microsoft.com/office/drawing/2014/main" id="{05729E7E-7F3C-4EC8-97D7-C70FDB31499F}"/>
              </a:ext>
            </a:extLst>
          </p:cNvPr>
          <p:cNvSpPr>
            <a:spLocks noEditPoints="1"/>
          </p:cNvSpPr>
          <p:nvPr/>
        </p:nvSpPr>
        <p:spPr bwMode="auto">
          <a:xfrm>
            <a:off x="8627294" y="3202846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1" name="Freeform 247">
            <a:extLst>
              <a:ext uri="{FF2B5EF4-FFF2-40B4-BE49-F238E27FC236}">
                <a16:creationId xmlns:a16="http://schemas.microsoft.com/office/drawing/2014/main" id="{933D855C-9362-4298-B737-76BAA6C5F384}"/>
              </a:ext>
            </a:extLst>
          </p:cNvPr>
          <p:cNvSpPr>
            <a:spLocks noEditPoints="1"/>
          </p:cNvSpPr>
          <p:nvPr/>
        </p:nvSpPr>
        <p:spPr bwMode="auto">
          <a:xfrm>
            <a:off x="8597080" y="318697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2" name="Freeform 248">
            <a:extLst>
              <a:ext uri="{FF2B5EF4-FFF2-40B4-BE49-F238E27FC236}">
                <a16:creationId xmlns:a16="http://schemas.microsoft.com/office/drawing/2014/main" id="{9BC910B6-249E-4DC9-A37A-6068C0DBF605}"/>
              </a:ext>
            </a:extLst>
          </p:cNvPr>
          <p:cNvSpPr>
            <a:spLocks noEditPoints="1"/>
          </p:cNvSpPr>
          <p:nvPr/>
        </p:nvSpPr>
        <p:spPr bwMode="auto">
          <a:xfrm>
            <a:off x="8562974" y="3177446"/>
            <a:ext cx="96842" cy="93714"/>
          </a:xfrm>
          <a:custGeom>
            <a:avLst/>
            <a:gdLst>
              <a:gd name="T0" fmla="*/ 17 w 31"/>
              <a:gd name="T1" fmla="*/ 0 h 30"/>
              <a:gd name="T2" fmla="*/ 17 w 31"/>
              <a:gd name="T3" fmla="*/ 30 h 30"/>
              <a:gd name="T4" fmla="*/ 31 w 31"/>
              <a:gd name="T5" fmla="*/ 16 h 30"/>
              <a:gd name="T6" fmla="*/ 0 w 31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1" h="30">
                <a:moveTo>
                  <a:pt x="17" y="0"/>
                </a:moveTo>
                <a:lnTo>
                  <a:pt x="17" y="30"/>
                </a:lnTo>
                <a:moveTo>
                  <a:pt x="31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3" name="Freeform 249">
            <a:extLst>
              <a:ext uri="{FF2B5EF4-FFF2-40B4-BE49-F238E27FC236}">
                <a16:creationId xmlns:a16="http://schemas.microsoft.com/office/drawing/2014/main" id="{88F6447D-A738-44B1-B6D5-596249816FEF}"/>
              </a:ext>
            </a:extLst>
          </p:cNvPr>
          <p:cNvSpPr>
            <a:spLocks noEditPoints="1"/>
          </p:cNvSpPr>
          <p:nvPr/>
        </p:nvSpPr>
        <p:spPr bwMode="auto">
          <a:xfrm>
            <a:off x="8522467" y="313934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4" name="Freeform 250">
            <a:extLst>
              <a:ext uri="{FF2B5EF4-FFF2-40B4-BE49-F238E27FC236}">
                <a16:creationId xmlns:a16="http://schemas.microsoft.com/office/drawing/2014/main" id="{6638CC3A-F459-40A9-B17D-FCC0801B85E5}"/>
              </a:ext>
            </a:extLst>
          </p:cNvPr>
          <p:cNvSpPr>
            <a:spLocks noEditPoints="1"/>
          </p:cNvSpPr>
          <p:nvPr/>
        </p:nvSpPr>
        <p:spPr bwMode="auto">
          <a:xfrm>
            <a:off x="8506592" y="312982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5" name="Freeform 251">
            <a:extLst>
              <a:ext uri="{FF2B5EF4-FFF2-40B4-BE49-F238E27FC236}">
                <a16:creationId xmlns:a16="http://schemas.microsoft.com/office/drawing/2014/main" id="{8C217D2E-4C9C-4A5B-8789-CAE2E301EC0D}"/>
              </a:ext>
            </a:extLst>
          </p:cNvPr>
          <p:cNvSpPr>
            <a:spLocks noEditPoints="1"/>
          </p:cNvSpPr>
          <p:nvPr/>
        </p:nvSpPr>
        <p:spPr bwMode="auto">
          <a:xfrm>
            <a:off x="8470131" y="3129821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6" name="Freeform 252">
            <a:extLst>
              <a:ext uri="{FF2B5EF4-FFF2-40B4-BE49-F238E27FC236}">
                <a16:creationId xmlns:a16="http://schemas.microsoft.com/office/drawing/2014/main" id="{C134EAEB-08D4-4A88-9B1A-38E95DA78B63}"/>
              </a:ext>
            </a:extLst>
          </p:cNvPr>
          <p:cNvSpPr>
            <a:spLocks noEditPoints="1"/>
          </p:cNvSpPr>
          <p:nvPr/>
        </p:nvSpPr>
        <p:spPr bwMode="auto">
          <a:xfrm>
            <a:off x="8424042" y="312982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7" name="Freeform 253">
            <a:extLst>
              <a:ext uri="{FF2B5EF4-FFF2-40B4-BE49-F238E27FC236}">
                <a16:creationId xmlns:a16="http://schemas.microsoft.com/office/drawing/2014/main" id="{2027E9AD-D0AC-429B-B681-B064E5785E1F}"/>
              </a:ext>
            </a:extLst>
          </p:cNvPr>
          <p:cNvSpPr>
            <a:spLocks noEditPoints="1"/>
          </p:cNvSpPr>
          <p:nvPr/>
        </p:nvSpPr>
        <p:spPr bwMode="auto">
          <a:xfrm>
            <a:off x="8360542" y="3101246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8" name="Freeform 254">
            <a:extLst>
              <a:ext uri="{FF2B5EF4-FFF2-40B4-BE49-F238E27FC236}">
                <a16:creationId xmlns:a16="http://schemas.microsoft.com/office/drawing/2014/main" id="{91DF6375-6B82-440E-AB86-00053CA2FD43}"/>
              </a:ext>
            </a:extLst>
          </p:cNvPr>
          <p:cNvSpPr>
            <a:spLocks noEditPoints="1"/>
          </p:cNvSpPr>
          <p:nvPr/>
        </p:nvSpPr>
        <p:spPr bwMode="auto">
          <a:xfrm>
            <a:off x="8339956" y="3075846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6 h 30"/>
              <a:gd name="T6" fmla="*/ 0 w 32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49" name="Freeform 255">
            <a:extLst>
              <a:ext uri="{FF2B5EF4-FFF2-40B4-BE49-F238E27FC236}">
                <a16:creationId xmlns:a16="http://schemas.microsoft.com/office/drawing/2014/main" id="{3EBCA4CD-0F9E-49BE-9150-F5CCAB71E3D7}"/>
              </a:ext>
            </a:extLst>
          </p:cNvPr>
          <p:cNvSpPr>
            <a:spLocks noEditPoints="1"/>
          </p:cNvSpPr>
          <p:nvPr/>
        </p:nvSpPr>
        <p:spPr bwMode="auto">
          <a:xfrm>
            <a:off x="8319268" y="3058434"/>
            <a:ext cx="93716" cy="99962"/>
          </a:xfrm>
          <a:custGeom>
            <a:avLst/>
            <a:gdLst>
              <a:gd name="T0" fmla="*/ 14 w 30"/>
              <a:gd name="T1" fmla="*/ 0 h 32"/>
              <a:gd name="T2" fmla="*/ 14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4" y="0"/>
                </a:moveTo>
                <a:lnTo>
                  <a:pt x="14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0" name="Freeform 256">
            <a:extLst>
              <a:ext uri="{FF2B5EF4-FFF2-40B4-BE49-F238E27FC236}">
                <a16:creationId xmlns:a16="http://schemas.microsoft.com/office/drawing/2014/main" id="{380F6455-41E0-4D70-B847-C6290E27EA6E}"/>
              </a:ext>
            </a:extLst>
          </p:cNvPr>
          <p:cNvSpPr>
            <a:spLocks noEditPoints="1"/>
          </p:cNvSpPr>
          <p:nvPr/>
        </p:nvSpPr>
        <p:spPr bwMode="auto">
          <a:xfrm>
            <a:off x="8281167" y="304409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1" name="Freeform 257">
            <a:extLst>
              <a:ext uri="{FF2B5EF4-FFF2-40B4-BE49-F238E27FC236}">
                <a16:creationId xmlns:a16="http://schemas.microsoft.com/office/drawing/2014/main" id="{B82AF079-7854-40A1-8C6E-ACED9A270DB9}"/>
              </a:ext>
            </a:extLst>
          </p:cNvPr>
          <p:cNvSpPr>
            <a:spLocks noEditPoints="1"/>
          </p:cNvSpPr>
          <p:nvPr/>
        </p:nvSpPr>
        <p:spPr bwMode="auto">
          <a:xfrm>
            <a:off x="8243067" y="302822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2" name="Freeform 258">
            <a:extLst>
              <a:ext uri="{FF2B5EF4-FFF2-40B4-BE49-F238E27FC236}">
                <a16:creationId xmlns:a16="http://schemas.microsoft.com/office/drawing/2014/main" id="{10963579-CD30-4F7B-B04E-AC0214661028}"/>
              </a:ext>
            </a:extLst>
          </p:cNvPr>
          <p:cNvSpPr>
            <a:spLocks noEditPoints="1"/>
          </p:cNvSpPr>
          <p:nvPr/>
        </p:nvSpPr>
        <p:spPr bwMode="auto">
          <a:xfrm>
            <a:off x="8224017" y="301234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3" name="Freeform 259">
            <a:extLst>
              <a:ext uri="{FF2B5EF4-FFF2-40B4-BE49-F238E27FC236}">
                <a16:creationId xmlns:a16="http://schemas.microsoft.com/office/drawing/2014/main" id="{E1CE2399-B449-48BB-BBAD-DFD5C7169644}"/>
              </a:ext>
            </a:extLst>
          </p:cNvPr>
          <p:cNvSpPr>
            <a:spLocks noEditPoints="1"/>
          </p:cNvSpPr>
          <p:nvPr/>
        </p:nvSpPr>
        <p:spPr bwMode="auto">
          <a:xfrm>
            <a:off x="8189092" y="300282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4" name="Freeform 260">
            <a:extLst>
              <a:ext uri="{FF2B5EF4-FFF2-40B4-BE49-F238E27FC236}">
                <a16:creationId xmlns:a16="http://schemas.microsoft.com/office/drawing/2014/main" id="{2324C393-E86C-4EB7-AEEC-C0D1935F9DCC}"/>
              </a:ext>
            </a:extLst>
          </p:cNvPr>
          <p:cNvSpPr>
            <a:spLocks noEditPoints="1"/>
          </p:cNvSpPr>
          <p:nvPr/>
        </p:nvSpPr>
        <p:spPr bwMode="auto">
          <a:xfrm>
            <a:off x="8160517" y="2949665"/>
            <a:ext cx="93718" cy="96838"/>
          </a:xfrm>
          <a:custGeom>
            <a:avLst/>
            <a:gdLst>
              <a:gd name="T0" fmla="*/ 16 w 30"/>
              <a:gd name="T1" fmla="*/ 0 h 31"/>
              <a:gd name="T2" fmla="*/ 16 w 30"/>
              <a:gd name="T3" fmla="*/ 31 h 31"/>
              <a:gd name="T4" fmla="*/ 30 w 30"/>
              <a:gd name="T5" fmla="*/ 17 h 31"/>
              <a:gd name="T6" fmla="*/ 0 w 30"/>
              <a:gd name="T7" fmla="*/ 17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1">
                <a:moveTo>
                  <a:pt x="16" y="0"/>
                </a:moveTo>
                <a:lnTo>
                  <a:pt x="16" y="31"/>
                </a:lnTo>
                <a:moveTo>
                  <a:pt x="30" y="17"/>
                </a:moveTo>
                <a:lnTo>
                  <a:pt x="0" y="17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5" name="Freeform 261">
            <a:extLst>
              <a:ext uri="{FF2B5EF4-FFF2-40B4-BE49-F238E27FC236}">
                <a16:creationId xmlns:a16="http://schemas.microsoft.com/office/drawing/2014/main" id="{9E778C4F-FEF7-43DF-A52E-195E4F88EC4A}"/>
              </a:ext>
            </a:extLst>
          </p:cNvPr>
          <p:cNvSpPr>
            <a:spLocks noEditPoints="1"/>
          </p:cNvSpPr>
          <p:nvPr/>
        </p:nvSpPr>
        <p:spPr bwMode="auto">
          <a:xfrm>
            <a:off x="8133582" y="2925903"/>
            <a:ext cx="99962" cy="103086"/>
          </a:xfrm>
          <a:custGeom>
            <a:avLst/>
            <a:gdLst>
              <a:gd name="T0" fmla="*/ 16 w 32"/>
              <a:gd name="T1" fmla="*/ 0 h 33"/>
              <a:gd name="T2" fmla="*/ 16 w 32"/>
              <a:gd name="T3" fmla="*/ 33 h 33"/>
              <a:gd name="T4" fmla="*/ 32 w 32"/>
              <a:gd name="T5" fmla="*/ 16 h 33"/>
              <a:gd name="T6" fmla="*/ 0 w 32"/>
              <a:gd name="T7" fmla="*/ 16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3">
                <a:moveTo>
                  <a:pt x="16" y="0"/>
                </a:moveTo>
                <a:lnTo>
                  <a:pt x="16" y="33"/>
                </a:lnTo>
                <a:moveTo>
                  <a:pt x="32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6" name="Freeform 262">
            <a:extLst>
              <a:ext uri="{FF2B5EF4-FFF2-40B4-BE49-F238E27FC236}">
                <a16:creationId xmlns:a16="http://schemas.microsoft.com/office/drawing/2014/main" id="{EE8E1BBC-89F6-49FE-B3C6-48C141E745E2}"/>
              </a:ext>
            </a:extLst>
          </p:cNvPr>
          <p:cNvSpPr>
            <a:spLocks noEditPoints="1"/>
          </p:cNvSpPr>
          <p:nvPr/>
        </p:nvSpPr>
        <p:spPr bwMode="auto">
          <a:xfrm>
            <a:off x="8119242" y="2899633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7" name="Freeform 263">
            <a:extLst>
              <a:ext uri="{FF2B5EF4-FFF2-40B4-BE49-F238E27FC236}">
                <a16:creationId xmlns:a16="http://schemas.microsoft.com/office/drawing/2014/main" id="{B7CA5779-EC16-4397-BF50-8BCF22AD677F}"/>
              </a:ext>
            </a:extLst>
          </p:cNvPr>
          <p:cNvSpPr>
            <a:spLocks noEditPoints="1"/>
          </p:cNvSpPr>
          <p:nvPr/>
        </p:nvSpPr>
        <p:spPr bwMode="auto">
          <a:xfrm>
            <a:off x="8106542" y="2880583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8" name="Freeform 264">
            <a:extLst>
              <a:ext uri="{FF2B5EF4-FFF2-40B4-BE49-F238E27FC236}">
                <a16:creationId xmlns:a16="http://schemas.microsoft.com/office/drawing/2014/main" id="{7F6ABB76-1DC3-4410-979B-DB7CDF8925A5}"/>
              </a:ext>
            </a:extLst>
          </p:cNvPr>
          <p:cNvSpPr>
            <a:spLocks noEditPoints="1"/>
          </p:cNvSpPr>
          <p:nvPr/>
        </p:nvSpPr>
        <p:spPr bwMode="auto">
          <a:xfrm>
            <a:off x="8081142" y="2864708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59" name="Freeform 265">
            <a:extLst>
              <a:ext uri="{FF2B5EF4-FFF2-40B4-BE49-F238E27FC236}">
                <a16:creationId xmlns:a16="http://schemas.microsoft.com/office/drawing/2014/main" id="{279E8C44-998F-4E34-B612-05D24E52230B}"/>
              </a:ext>
            </a:extLst>
          </p:cNvPr>
          <p:cNvSpPr>
            <a:spLocks noEditPoints="1"/>
          </p:cNvSpPr>
          <p:nvPr/>
        </p:nvSpPr>
        <p:spPr bwMode="auto">
          <a:xfrm>
            <a:off x="8052568" y="2844121"/>
            <a:ext cx="93716" cy="99962"/>
          </a:xfrm>
          <a:custGeom>
            <a:avLst/>
            <a:gdLst>
              <a:gd name="T0" fmla="*/ 14 w 30"/>
              <a:gd name="T1" fmla="*/ 0 h 32"/>
              <a:gd name="T2" fmla="*/ 14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4" y="0"/>
                </a:moveTo>
                <a:lnTo>
                  <a:pt x="14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0" name="Freeform 266">
            <a:extLst>
              <a:ext uri="{FF2B5EF4-FFF2-40B4-BE49-F238E27FC236}">
                <a16:creationId xmlns:a16="http://schemas.microsoft.com/office/drawing/2014/main" id="{2F01980E-F7EB-43C5-B553-4BCA22288456}"/>
              </a:ext>
            </a:extLst>
          </p:cNvPr>
          <p:cNvSpPr>
            <a:spLocks noEditPoints="1"/>
          </p:cNvSpPr>
          <p:nvPr/>
        </p:nvSpPr>
        <p:spPr bwMode="auto">
          <a:xfrm>
            <a:off x="8023992" y="2826608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1" name="Freeform 267">
            <a:extLst>
              <a:ext uri="{FF2B5EF4-FFF2-40B4-BE49-F238E27FC236}">
                <a16:creationId xmlns:a16="http://schemas.microsoft.com/office/drawing/2014/main" id="{FB39EB0E-DAF2-47FF-A825-AEF4373626B1}"/>
              </a:ext>
            </a:extLst>
          </p:cNvPr>
          <p:cNvSpPr>
            <a:spLocks noEditPoints="1"/>
          </p:cNvSpPr>
          <p:nvPr/>
        </p:nvSpPr>
        <p:spPr bwMode="auto">
          <a:xfrm>
            <a:off x="7992242" y="2810733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2" name="Freeform 268">
            <a:extLst>
              <a:ext uri="{FF2B5EF4-FFF2-40B4-BE49-F238E27FC236}">
                <a16:creationId xmlns:a16="http://schemas.microsoft.com/office/drawing/2014/main" id="{A25CC98C-CC70-4E1C-9E97-8F429253C5AD}"/>
              </a:ext>
            </a:extLst>
          </p:cNvPr>
          <p:cNvSpPr>
            <a:spLocks noEditPoints="1"/>
          </p:cNvSpPr>
          <p:nvPr/>
        </p:nvSpPr>
        <p:spPr bwMode="auto">
          <a:xfrm>
            <a:off x="7966842" y="2810733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3" name="Freeform 269">
            <a:extLst>
              <a:ext uri="{FF2B5EF4-FFF2-40B4-BE49-F238E27FC236}">
                <a16:creationId xmlns:a16="http://schemas.microsoft.com/office/drawing/2014/main" id="{7437CAF3-0354-4425-BD81-719080251E7E}"/>
              </a:ext>
            </a:extLst>
          </p:cNvPr>
          <p:cNvSpPr>
            <a:spLocks noEditPoints="1"/>
          </p:cNvSpPr>
          <p:nvPr/>
        </p:nvSpPr>
        <p:spPr bwMode="auto">
          <a:xfrm>
            <a:off x="7935092" y="2810733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4" name="Freeform 270">
            <a:extLst>
              <a:ext uri="{FF2B5EF4-FFF2-40B4-BE49-F238E27FC236}">
                <a16:creationId xmlns:a16="http://schemas.microsoft.com/office/drawing/2014/main" id="{872BD45F-05B7-439D-950A-4FCB691F913C}"/>
              </a:ext>
            </a:extLst>
          </p:cNvPr>
          <p:cNvSpPr>
            <a:spLocks noEditPoints="1"/>
          </p:cNvSpPr>
          <p:nvPr/>
        </p:nvSpPr>
        <p:spPr bwMode="auto">
          <a:xfrm>
            <a:off x="7871592" y="2756758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5" name="Freeform 271">
            <a:extLst>
              <a:ext uri="{FF2B5EF4-FFF2-40B4-BE49-F238E27FC236}">
                <a16:creationId xmlns:a16="http://schemas.microsoft.com/office/drawing/2014/main" id="{BF9E4D95-1BF3-4AF3-A608-1045FC3E41CC}"/>
              </a:ext>
            </a:extLst>
          </p:cNvPr>
          <p:cNvSpPr>
            <a:spLocks noEditPoints="1"/>
          </p:cNvSpPr>
          <p:nvPr/>
        </p:nvSpPr>
        <p:spPr bwMode="auto">
          <a:xfrm>
            <a:off x="7792218" y="2669496"/>
            <a:ext cx="93716" cy="99962"/>
          </a:xfrm>
          <a:custGeom>
            <a:avLst/>
            <a:gdLst>
              <a:gd name="T0" fmla="*/ 16 w 30"/>
              <a:gd name="T1" fmla="*/ 0 h 32"/>
              <a:gd name="T2" fmla="*/ 16 w 30"/>
              <a:gd name="T3" fmla="*/ 32 h 32"/>
              <a:gd name="T4" fmla="*/ 30 w 30"/>
              <a:gd name="T5" fmla="*/ 16 h 32"/>
              <a:gd name="T6" fmla="*/ 0 w 30"/>
              <a:gd name="T7" fmla="*/ 16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2">
                <a:moveTo>
                  <a:pt x="16" y="0"/>
                </a:moveTo>
                <a:lnTo>
                  <a:pt x="16" y="32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6" name="Freeform 272">
            <a:extLst>
              <a:ext uri="{FF2B5EF4-FFF2-40B4-BE49-F238E27FC236}">
                <a16:creationId xmlns:a16="http://schemas.microsoft.com/office/drawing/2014/main" id="{774E93D9-BCEC-495E-B3E4-906C33506902}"/>
              </a:ext>
            </a:extLst>
          </p:cNvPr>
          <p:cNvSpPr>
            <a:spLocks noEditPoints="1"/>
          </p:cNvSpPr>
          <p:nvPr/>
        </p:nvSpPr>
        <p:spPr bwMode="auto">
          <a:xfrm>
            <a:off x="7579492" y="2522628"/>
            <a:ext cx="93718" cy="96838"/>
          </a:xfrm>
          <a:custGeom>
            <a:avLst/>
            <a:gdLst>
              <a:gd name="T0" fmla="*/ 16 w 30"/>
              <a:gd name="T1" fmla="*/ 0 h 31"/>
              <a:gd name="T2" fmla="*/ 16 w 30"/>
              <a:gd name="T3" fmla="*/ 31 h 31"/>
              <a:gd name="T4" fmla="*/ 30 w 30"/>
              <a:gd name="T5" fmla="*/ 16 h 31"/>
              <a:gd name="T6" fmla="*/ 0 w 30"/>
              <a:gd name="T7" fmla="*/ 1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1">
                <a:moveTo>
                  <a:pt x="16" y="0"/>
                </a:moveTo>
                <a:lnTo>
                  <a:pt x="16" y="31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7" name="Freeform 273">
            <a:extLst>
              <a:ext uri="{FF2B5EF4-FFF2-40B4-BE49-F238E27FC236}">
                <a16:creationId xmlns:a16="http://schemas.microsoft.com/office/drawing/2014/main" id="{0FC9FE42-12C1-414D-8831-809863312A5E}"/>
              </a:ext>
            </a:extLst>
          </p:cNvPr>
          <p:cNvSpPr>
            <a:spLocks noEditPoints="1"/>
          </p:cNvSpPr>
          <p:nvPr/>
        </p:nvSpPr>
        <p:spPr bwMode="auto">
          <a:xfrm>
            <a:off x="7560442" y="2485296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8" name="Freeform 274">
            <a:extLst>
              <a:ext uri="{FF2B5EF4-FFF2-40B4-BE49-F238E27FC236}">
                <a16:creationId xmlns:a16="http://schemas.microsoft.com/office/drawing/2014/main" id="{9E1E59C7-7972-4342-8AA0-42B18B4818FC}"/>
              </a:ext>
            </a:extLst>
          </p:cNvPr>
          <p:cNvSpPr>
            <a:spLocks noEditPoints="1"/>
          </p:cNvSpPr>
          <p:nvPr/>
        </p:nvSpPr>
        <p:spPr bwMode="auto">
          <a:xfrm>
            <a:off x="7338192" y="2196371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9" name="Freeform 275">
            <a:extLst>
              <a:ext uri="{FF2B5EF4-FFF2-40B4-BE49-F238E27FC236}">
                <a16:creationId xmlns:a16="http://schemas.microsoft.com/office/drawing/2014/main" id="{E9A34C8E-BB78-4FCD-9444-63981FD87613}"/>
              </a:ext>
            </a:extLst>
          </p:cNvPr>
          <p:cNvSpPr>
            <a:spLocks noEditPoints="1"/>
          </p:cNvSpPr>
          <p:nvPr/>
        </p:nvSpPr>
        <p:spPr bwMode="auto">
          <a:xfrm>
            <a:off x="7315967" y="2183671"/>
            <a:ext cx="93718" cy="93714"/>
          </a:xfrm>
          <a:custGeom>
            <a:avLst/>
            <a:gdLst>
              <a:gd name="T0" fmla="*/ 14 w 30"/>
              <a:gd name="T1" fmla="*/ 0 h 30"/>
              <a:gd name="T2" fmla="*/ 14 w 30"/>
              <a:gd name="T3" fmla="*/ 30 h 30"/>
              <a:gd name="T4" fmla="*/ 30 w 30"/>
              <a:gd name="T5" fmla="*/ 16 h 30"/>
              <a:gd name="T6" fmla="*/ 0 w 30"/>
              <a:gd name="T7" fmla="*/ 1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4" y="0"/>
                </a:moveTo>
                <a:lnTo>
                  <a:pt x="14" y="30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0" name="Freeform 276">
            <a:extLst>
              <a:ext uri="{FF2B5EF4-FFF2-40B4-BE49-F238E27FC236}">
                <a16:creationId xmlns:a16="http://schemas.microsoft.com/office/drawing/2014/main" id="{482088A7-5A30-4343-A4D0-21B2750D230B}"/>
              </a:ext>
            </a:extLst>
          </p:cNvPr>
          <p:cNvSpPr>
            <a:spLocks noEditPoints="1"/>
          </p:cNvSpPr>
          <p:nvPr/>
        </p:nvSpPr>
        <p:spPr bwMode="auto">
          <a:xfrm>
            <a:off x="7220717" y="2146390"/>
            <a:ext cx="93718" cy="96838"/>
          </a:xfrm>
          <a:custGeom>
            <a:avLst/>
            <a:gdLst>
              <a:gd name="T0" fmla="*/ 16 w 30"/>
              <a:gd name="T1" fmla="*/ 0 h 31"/>
              <a:gd name="T2" fmla="*/ 16 w 30"/>
              <a:gd name="T3" fmla="*/ 31 h 31"/>
              <a:gd name="T4" fmla="*/ 30 w 30"/>
              <a:gd name="T5" fmla="*/ 15 h 31"/>
              <a:gd name="T6" fmla="*/ 0 w 30"/>
              <a:gd name="T7" fmla="*/ 15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1">
                <a:moveTo>
                  <a:pt x="16" y="0"/>
                </a:moveTo>
                <a:lnTo>
                  <a:pt x="16" y="31"/>
                </a:lnTo>
                <a:moveTo>
                  <a:pt x="30" y="15"/>
                </a:moveTo>
                <a:lnTo>
                  <a:pt x="0" y="15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1" name="Freeform 277">
            <a:extLst>
              <a:ext uri="{FF2B5EF4-FFF2-40B4-BE49-F238E27FC236}">
                <a16:creationId xmlns:a16="http://schemas.microsoft.com/office/drawing/2014/main" id="{D1FF0561-AF2A-4D0E-9161-BDB8D21E37B2}"/>
              </a:ext>
            </a:extLst>
          </p:cNvPr>
          <p:cNvSpPr>
            <a:spLocks noEditPoints="1"/>
          </p:cNvSpPr>
          <p:nvPr/>
        </p:nvSpPr>
        <p:spPr bwMode="auto">
          <a:xfrm>
            <a:off x="9076505" y="3325903"/>
            <a:ext cx="93718" cy="96838"/>
          </a:xfrm>
          <a:custGeom>
            <a:avLst/>
            <a:gdLst>
              <a:gd name="T0" fmla="*/ 14 w 30"/>
              <a:gd name="T1" fmla="*/ 0 h 31"/>
              <a:gd name="T2" fmla="*/ 14 w 30"/>
              <a:gd name="T3" fmla="*/ 31 h 31"/>
              <a:gd name="T4" fmla="*/ 30 w 30"/>
              <a:gd name="T5" fmla="*/ 16 h 31"/>
              <a:gd name="T6" fmla="*/ 0 w 30"/>
              <a:gd name="T7" fmla="*/ 1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1">
                <a:moveTo>
                  <a:pt x="14" y="0"/>
                </a:moveTo>
                <a:lnTo>
                  <a:pt x="14" y="31"/>
                </a:lnTo>
                <a:moveTo>
                  <a:pt x="30" y="16"/>
                </a:moveTo>
                <a:lnTo>
                  <a:pt x="0" y="16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2" name="Freeform 278">
            <a:extLst>
              <a:ext uri="{FF2B5EF4-FFF2-40B4-BE49-F238E27FC236}">
                <a16:creationId xmlns:a16="http://schemas.microsoft.com/office/drawing/2014/main" id="{D69B2379-D814-4085-860F-104122EEB48B}"/>
              </a:ext>
            </a:extLst>
          </p:cNvPr>
          <p:cNvSpPr>
            <a:spLocks noEditPoints="1"/>
          </p:cNvSpPr>
          <p:nvPr/>
        </p:nvSpPr>
        <p:spPr bwMode="auto">
          <a:xfrm>
            <a:off x="9873430" y="3591783"/>
            <a:ext cx="93718" cy="93714"/>
          </a:xfrm>
          <a:custGeom>
            <a:avLst/>
            <a:gdLst>
              <a:gd name="T0" fmla="*/ 16 w 30"/>
              <a:gd name="T1" fmla="*/ 0 h 30"/>
              <a:gd name="T2" fmla="*/ 16 w 30"/>
              <a:gd name="T3" fmla="*/ 30 h 30"/>
              <a:gd name="T4" fmla="*/ 30 w 30"/>
              <a:gd name="T5" fmla="*/ 14 h 30"/>
              <a:gd name="T6" fmla="*/ 0 w 30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" h="30">
                <a:moveTo>
                  <a:pt x="16" y="0"/>
                </a:moveTo>
                <a:lnTo>
                  <a:pt x="16" y="30"/>
                </a:lnTo>
                <a:moveTo>
                  <a:pt x="30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3" name="Freeform 279">
            <a:extLst>
              <a:ext uri="{FF2B5EF4-FFF2-40B4-BE49-F238E27FC236}">
                <a16:creationId xmlns:a16="http://schemas.microsoft.com/office/drawing/2014/main" id="{1FB58EA1-3846-4A9B-8C52-6587E1C1E571}"/>
              </a:ext>
            </a:extLst>
          </p:cNvPr>
          <p:cNvSpPr>
            <a:spLocks noEditPoints="1"/>
          </p:cNvSpPr>
          <p:nvPr/>
        </p:nvSpPr>
        <p:spPr bwMode="auto">
          <a:xfrm>
            <a:off x="9830619" y="3544158"/>
            <a:ext cx="99964" cy="93714"/>
          </a:xfrm>
          <a:custGeom>
            <a:avLst/>
            <a:gdLst>
              <a:gd name="T0" fmla="*/ 16 w 32"/>
              <a:gd name="T1" fmla="*/ 0 h 30"/>
              <a:gd name="T2" fmla="*/ 16 w 32"/>
              <a:gd name="T3" fmla="*/ 30 h 30"/>
              <a:gd name="T4" fmla="*/ 32 w 32"/>
              <a:gd name="T5" fmla="*/ 14 h 30"/>
              <a:gd name="T6" fmla="*/ 0 w 32"/>
              <a:gd name="T7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2" h="30">
                <a:moveTo>
                  <a:pt x="16" y="0"/>
                </a:moveTo>
                <a:lnTo>
                  <a:pt x="16" y="30"/>
                </a:lnTo>
                <a:moveTo>
                  <a:pt x="32" y="14"/>
                </a:moveTo>
                <a:lnTo>
                  <a:pt x="0" y="14"/>
                </a:lnTo>
              </a:path>
            </a:pathLst>
          </a:custGeom>
          <a:noFill/>
          <a:ln w="25400" cap="flat">
            <a:solidFill>
              <a:schemeClr val="accent3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74" name="Rectangle 7">
            <a:extLst>
              <a:ext uri="{FF2B5EF4-FFF2-40B4-BE49-F238E27FC236}">
                <a16:creationId xmlns:a16="http://schemas.microsoft.com/office/drawing/2014/main" id="{AEB61489-378C-41F7-857E-BB7402096E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9270" y="1967002"/>
            <a:ext cx="2099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1.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5" name="Rectangle 9">
            <a:extLst>
              <a:ext uri="{FF2B5EF4-FFF2-40B4-BE49-F238E27FC236}">
                <a16:creationId xmlns:a16="http://schemas.microsoft.com/office/drawing/2014/main" id="{76AAB09F-6931-4C54-8938-0199420AF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9270" y="2387690"/>
            <a:ext cx="2099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0.8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6" name="Rectangle 11">
            <a:extLst>
              <a:ext uri="{FF2B5EF4-FFF2-40B4-BE49-F238E27FC236}">
                <a16:creationId xmlns:a16="http://schemas.microsoft.com/office/drawing/2014/main" id="{68B1C6F1-7579-495D-9CCD-8DAD3285CB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9270" y="2805202"/>
            <a:ext cx="2099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0.6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7" name="Rectangle 13">
            <a:extLst>
              <a:ext uri="{FF2B5EF4-FFF2-40B4-BE49-F238E27FC236}">
                <a16:creationId xmlns:a16="http://schemas.microsoft.com/office/drawing/2014/main" id="{4C5CE098-EEBB-430E-B730-66D0FAEC0A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9270" y="3225890"/>
            <a:ext cx="2099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0.4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8" name="Rectangle 15">
            <a:extLst>
              <a:ext uri="{FF2B5EF4-FFF2-40B4-BE49-F238E27FC236}">
                <a16:creationId xmlns:a16="http://schemas.microsoft.com/office/drawing/2014/main" id="{FF249B4F-415C-4DA3-B6CC-9AB147E234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9270" y="3646577"/>
            <a:ext cx="20999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0.2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79" name="Rectangle 17">
            <a:extLst>
              <a:ext uri="{FF2B5EF4-FFF2-40B4-BE49-F238E27FC236}">
                <a16:creationId xmlns:a16="http://schemas.microsoft.com/office/drawing/2014/main" id="{A4518281-07D4-49FA-8DC2-A76148E985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17511" y="4068852"/>
            <a:ext cx="8175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0" name="Rectangle 19">
            <a:extLst>
              <a:ext uri="{FF2B5EF4-FFF2-40B4-BE49-F238E27FC236}">
                <a16:creationId xmlns:a16="http://schemas.microsoft.com/office/drawing/2014/main" id="{FB2ED7F1-082F-4ED4-A366-F946451BDC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7922" y="4221252"/>
            <a:ext cx="8175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1" name="Rectangle 21">
            <a:extLst>
              <a:ext uri="{FF2B5EF4-FFF2-40B4-BE49-F238E27FC236}">
                <a16:creationId xmlns:a16="http://schemas.microsoft.com/office/drawing/2014/main" id="{299C5CC5-64C0-41DE-9767-EC0732BCB0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40997" y="4221252"/>
            <a:ext cx="8175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3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2" name="Rectangle 23">
            <a:extLst>
              <a:ext uri="{FF2B5EF4-FFF2-40B4-BE49-F238E27FC236}">
                <a16:creationId xmlns:a16="http://schemas.microsoft.com/office/drawing/2014/main" id="{7A23CB45-B9BC-4E0D-8092-C11FB56E5F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88735" y="4221252"/>
            <a:ext cx="8175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9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3" name="Rectangle 25">
            <a:extLst>
              <a:ext uri="{FF2B5EF4-FFF2-40B4-BE49-F238E27FC236}">
                <a16:creationId xmlns:a16="http://schemas.microsoft.com/office/drawing/2014/main" id="{57DB1142-7ABF-4472-BAED-BC5AEAB562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98771" y="4221252"/>
            <a:ext cx="163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1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4" name="Rectangle 27">
            <a:extLst>
              <a:ext uri="{FF2B5EF4-FFF2-40B4-BE49-F238E27FC236}">
                <a16:creationId xmlns:a16="http://schemas.microsoft.com/office/drawing/2014/main" id="{BCD7AD44-98BC-4BF6-9487-2B66ECBF8B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99009" y="4221252"/>
            <a:ext cx="163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27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5" name="Rectangle 29">
            <a:extLst>
              <a:ext uri="{FF2B5EF4-FFF2-40B4-BE49-F238E27FC236}">
                <a16:creationId xmlns:a16="http://schemas.microsoft.com/office/drawing/2014/main" id="{FBDB4BBB-0B93-410C-B1C3-DA88F63AFE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8835" y="4221252"/>
            <a:ext cx="8175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6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6" name="Rectangle 31">
            <a:extLst>
              <a:ext uri="{FF2B5EF4-FFF2-40B4-BE49-F238E27FC236}">
                <a16:creationId xmlns:a16="http://schemas.microsoft.com/office/drawing/2014/main" id="{DD2D2B0F-EBFC-4A44-802C-9CE5285E11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4109" y="4221252"/>
            <a:ext cx="163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12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7" name="Rectangle 33">
            <a:extLst>
              <a:ext uri="{FF2B5EF4-FFF2-40B4-BE49-F238E27FC236}">
                <a16:creationId xmlns:a16="http://schemas.microsoft.com/office/drawing/2014/main" id="{C1EABC5E-2758-4141-88B3-1A1CC4DDAE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71846" y="4221252"/>
            <a:ext cx="163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18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8" name="Rectangle 35">
            <a:extLst>
              <a:ext uri="{FF2B5EF4-FFF2-40B4-BE49-F238E27FC236}">
                <a16:creationId xmlns:a16="http://schemas.microsoft.com/office/drawing/2014/main" id="{79317B72-9BC3-41BE-A78D-913D31AA01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21171" y="4221252"/>
            <a:ext cx="163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24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89" name="Rectangle 37">
            <a:extLst>
              <a:ext uri="{FF2B5EF4-FFF2-40B4-BE49-F238E27FC236}">
                <a16:creationId xmlns:a16="http://schemas.microsoft.com/office/drawing/2014/main" id="{7260C1E4-28D5-4345-8FD9-F824CD6E96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48096" y="4221252"/>
            <a:ext cx="16350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21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90" name="Rectangle 25">
            <a:extLst>
              <a:ext uri="{FF2B5EF4-FFF2-40B4-BE49-F238E27FC236}">
                <a16:creationId xmlns:a16="http://schemas.microsoft.com/office/drawing/2014/main" id="{57919147-182A-48FC-9721-4FCF787E71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76717" y="4423708"/>
            <a:ext cx="93455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Čas</a:t>
            </a: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(</a:t>
            </a:r>
            <a:r>
              <a:rPr kumimoji="0" lang="cs-CZ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měsíce</a:t>
            </a: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)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292" name="Table 674">
            <a:extLst>
              <a:ext uri="{FF2B5EF4-FFF2-40B4-BE49-F238E27FC236}">
                <a16:creationId xmlns:a16="http://schemas.microsoft.com/office/drawing/2014/main" id="{7653C9BE-8175-4F64-8AD2-71AA46D4A7A5}"/>
              </a:ext>
            </a:extLst>
          </p:cNvPr>
          <p:cNvGraphicFramePr>
            <a:graphicFrameLocks noGrp="1"/>
          </p:cNvGraphicFramePr>
          <p:nvPr/>
        </p:nvGraphicFramePr>
        <p:xfrm>
          <a:off x="7799742" y="1589411"/>
          <a:ext cx="3769118" cy="897600"/>
        </p:xfrm>
        <a:graphic>
          <a:graphicData uri="http://schemas.openxmlformats.org/drawingml/2006/table">
            <a:tbl>
              <a:tblPr firstRow="1" bandRow="1"/>
              <a:tblGrid>
                <a:gridCol w="3769118">
                  <a:extLst>
                    <a:ext uri="{9D8B030D-6E8A-4147-A177-3AD203B41FA5}">
                      <a16:colId xmlns:a16="http://schemas.microsoft.com/office/drawing/2014/main" val="16567322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 sz="1000" dirty="0"/>
                        <a:t>HR (95% CI): 0</a:t>
                      </a:r>
                      <a:r>
                        <a:rPr lang="cs-CZ" sz="1000" dirty="0"/>
                        <a:t>,</a:t>
                      </a:r>
                      <a:r>
                        <a:rPr lang="en-GB" sz="1000" dirty="0"/>
                        <a:t>61 (0</a:t>
                      </a:r>
                      <a:r>
                        <a:rPr lang="cs-CZ" sz="1000" dirty="0"/>
                        <a:t>,</a:t>
                      </a:r>
                      <a:r>
                        <a:rPr lang="en-GB" sz="1000" dirty="0"/>
                        <a:t>48–0</a:t>
                      </a:r>
                      <a:r>
                        <a:rPr lang="cs-CZ" sz="1000" dirty="0"/>
                        <a:t>,</a:t>
                      </a:r>
                      <a:r>
                        <a:rPr lang="en-GB" sz="1000" dirty="0"/>
                        <a:t>77)</a:t>
                      </a:r>
                    </a:p>
                  </a:txBody>
                  <a:tcPr marT="36000" marB="36000"/>
                </a:tc>
                <a:extLst>
                  <a:ext uri="{0D108BD9-81ED-4DB2-BD59-A6C34878D82A}">
                    <a16:rowId xmlns:a16="http://schemas.microsoft.com/office/drawing/2014/main" val="88795537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000" dirty="0"/>
                        <a:t>Medi</a:t>
                      </a:r>
                      <a:r>
                        <a:rPr lang="cs-CZ" sz="1000" dirty="0"/>
                        <a:t>á</a:t>
                      </a:r>
                      <a:r>
                        <a:rPr lang="en-GB" sz="1000" dirty="0"/>
                        <a:t>n OS </a:t>
                      </a:r>
                      <a:r>
                        <a:rPr lang="cs-CZ" sz="1000" dirty="0"/>
                        <a:t>v měsících </a:t>
                      </a:r>
                      <a:r>
                        <a:rPr lang="en-GB" sz="1000" dirty="0"/>
                        <a:t>(95% CI)</a:t>
                      </a:r>
                    </a:p>
                  </a:txBody>
                  <a:tcPr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299343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accent3"/>
                          </a:solidFill>
                        </a:rPr>
                        <a:t>ENCO/CETUX</a:t>
                      </a:r>
                      <a:r>
                        <a:rPr lang="en-GB" sz="1000" b="1" baseline="30000" dirty="0">
                          <a:solidFill>
                            <a:schemeClr val="accent3"/>
                          </a:solidFill>
                        </a:rPr>
                        <a:t>‡</a:t>
                      </a:r>
                      <a:r>
                        <a:rPr lang="en-GB" sz="1000" b="1" dirty="0">
                          <a:solidFill>
                            <a:schemeClr val="accent3"/>
                          </a:solidFill>
                        </a:rPr>
                        <a:t> (128 events): 9</a:t>
                      </a:r>
                      <a:r>
                        <a:rPr lang="cs-CZ" sz="1000" b="1" dirty="0">
                          <a:solidFill>
                            <a:schemeClr val="accent3"/>
                          </a:solidFill>
                        </a:rPr>
                        <a:t>,</a:t>
                      </a:r>
                      <a:r>
                        <a:rPr lang="en-GB" sz="1000" b="1" dirty="0">
                          <a:solidFill>
                            <a:schemeClr val="accent3"/>
                          </a:solidFill>
                        </a:rPr>
                        <a:t>3 (8</a:t>
                      </a:r>
                      <a:r>
                        <a:rPr lang="cs-CZ" sz="1000" b="1" dirty="0">
                          <a:solidFill>
                            <a:schemeClr val="accent3"/>
                          </a:solidFill>
                        </a:rPr>
                        <a:t>,</a:t>
                      </a:r>
                      <a:r>
                        <a:rPr lang="en-GB" sz="1000" b="1" dirty="0">
                          <a:solidFill>
                            <a:schemeClr val="accent3"/>
                          </a:solidFill>
                        </a:rPr>
                        <a:t>0–11</a:t>
                      </a:r>
                      <a:r>
                        <a:rPr lang="cs-CZ" sz="1000" b="1" dirty="0">
                          <a:solidFill>
                            <a:schemeClr val="accent3"/>
                          </a:solidFill>
                        </a:rPr>
                        <a:t>,</a:t>
                      </a:r>
                      <a:r>
                        <a:rPr lang="en-GB" sz="1000" b="1" dirty="0">
                          <a:solidFill>
                            <a:schemeClr val="accent3"/>
                          </a:solidFill>
                        </a:rPr>
                        <a:t>3)</a:t>
                      </a:r>
                    </a:p>
                  </a:txBody>
                  <a:tcPr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47030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cs-CZ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Kontrola</a:t>
                      </a:r>
                      <a:r>
                        <a:rPr lang="en-GB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(157 events): 5</a:t>
                      </a:r>
                      <a:r>
                        <a:rPr lang="cs-CZ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,</a:t>
                      </a:r>
                      <a:r>
                        <a:rPr lang="en-GB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9 (5</a:t>
                      </a:r>
                      <a:r>
                        <a:rPr lang="cs-CZ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,</a:t>
                      </a:r>
                      <a:r>
                        <a:rPr lang="en-GB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–7</a:t>
                      </a:r>
                      <a:r>
                        <a:rPr lang="cs-CZ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,</a:t>
                      </a:r>
                      <a:r>
                        <a:rPr lang="en-GB" sz="1000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)</a:t>
                      </a:r>
                    </a:p>
                  </a:txBody>
                  <a:tcPr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8827217"/>
                  </a:ext>
                </a:extLst>
              </a:tr>
            </a:tbl>
          </a:graphicData>
        </a:graphic>
      </p:graphicFrame>
      <p:sp>
        <p:nvSpPr>
          <p:cNvPr id="293" name="TextBox 292">
            <a:extLst>
              <a:ext uri="{FF2B5EF4-FFF2-40B4-BE49-F238E27FC236}">
                <a16:creationId xmlns:a16="http://schemas.microsoft.com/office/drawing/2014/main" id="{EC02661B-F8F6-4D53-ADE6-411676706285}"/>
              </a:ext>
            </a:extLst>
          </p:cNvPr>
          <p:cNvSpPr txBox="1"/>
          <p:nvPr/>
        </p:nvSpPr>
        <p:spPr bwMode="gray">
          <a:xfrm>
            <a:off x="9001947" y="3013166"/>
            <a:ext cx="17255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A5CD5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CO/CETUX</a:t>
            </a:r>
            <a:r>
              <a:rPr kumimoji="0" lang="en-GB" sz="1000" b="1" i="0" u="none" strike="noStrike" kern="1200" cap="none" spc="0" normalizeH="0" baseline="30000" noProof="0" dirty="0">
                <a:ln>
                  <a:noFill/>
                </a:ln>
                <a:solidFill>
                  <a:srgbClr val="A5CD5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‡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A5CD5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D1134CBD-B1C2-410F-B4E6-736B8F31CEAD}"/>
              </a:ext>
            </a:extLst>
          </p:cNvPr>
          <p:cNvSpPr txBox="1"/>
          <p:nvPr/>
        </p:nvSpPr>
        <p:spPr bwMode="gray">
          <a:xfrm>
            <a:off x="8653464" y="3812394"/>
            <a:ext cx="72865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ontrol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59F650C4-2B82-43EC-91B6-4B4F4AD4F8B2}"/>
              </a:ext>
            </a:extLst>
          </p:cNvPr>
          <p:cNvSpPr txBox="1"/>
          <p:nvPr/>
        </p:nvSpPr>
        <p:spPr bwMode="gray">
          <a:xfrm>
            <a:off x="11872141" y="6538953"/>
            <a:ext cx="26996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cs-CZ"/>
            </a:defPPr>
            <a:lvl1pPr marR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Tx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</a:p>
        </p:txBody>
      </p:sp>
      <p:sp>
        <p:nvSpPr>
          <p:cNvPr id="296" name="Rectangle 11">
            <a:extLst>
              <a:ext uri="{FF2B5EF4-FFF2-40B4-BE49-F238E27FC236}">
                <a16:creationId xmlns:a16="http://schemas.microsoft.com/office/drawing/2014/main" id="{2CA60D84-B2B1-44AE-B40A-FC073562D80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531109" y="2991784"/>
            <a:ext cx="1806585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Pravděpodobnost přežití</a:t>
            </a:r>
            <a:r>
              <a:rPr kumimoji="0" lang="en-US" alt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l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9369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EE1A3EF-B7F9-08AE-DB83-A8C7184FE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azuistika : žena *1971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65768D1-AEE0-BB1A-4822-75A286A480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1/2021 resekce TU </a:t>
            </a:r>
            <a:r>
              <a:rPr lang="cs-CZ" dirty="0" err="1"/>
              <a:t>ileocékálního</a:t>
            </a:r>
            <a:r>
              <a:rPr lang="cs-CZ" dirty="0"/>
              <a:t> přechodu  na sektoru</a:t>
            </a:r>
          </a:p>
          <a:p>
            <a:r>
              <a:rPr lang="cs-CZ" dirty="0"/>
              <a:t>3/2021 radikalizující operace – </a:t>
            </a:r>
            <a:r>
              <a:rPr lang="cs-CZ" dirty="0" err="1"/>
              <a:t>pravostr</a:t>
            </a:r>
            <a:r>
              <a:rPr lang="cs-CZ" dirty="0"/>
              <a:t>. </a:t>
            </a:r>
            <a:r>
              <a:rPr lang="cs-CZ" dirty="0" err="1"/>
              <a:t>hemikolektomie</a:t>
            </a:r>
            <a:r>
              <a:rPr lang="cs-CZ" dirty="0"/>
              <a:t>, </a:t>
            </a:r>
            <a:r>
              <a:rPr lang="cs-CZ" dirty="0" err="1"/>
              <a:t>adnexektomie</a:t>
            </a:r>
            <a:r>
              <a:rPr lang="cs-CZ" dirty="0"/>
              <a:t> </a:t>
            </a:r>
            <a:r>
              <a:rPr lang="cs-CZ" dirty="0" err="1"/>
              <a:t>l.dx</a:t>
            </a:r>
            <a:r>
              <a:rPr lang="cs-CZ" dirty="0"/>
              <a:t>., RTP </a:t>
            </a:r>
            <a:r>
              <a:rPr lang="cs-CZ" dirty="0" err="1"/>
              <a:t>lymfadenktomie</a:t>
            </a:r>
            <a:r>
              <a:rPr lang="cs-CZ" dirty="0"/>
              <a:t>  - resekovány všechny makroskopicky </a:t>
            </a:r>
            <a:r>
              <a:rPr lang="cs-CZ" dirty="0" err="1"/>
              <a:t>pozit</a:t>
            </a:r>
            <a:r>
              <a:rPr lang="cs-CZ" dirty="0"/>
              <a:t>. struktury</a:t>
            </a:r>
          </a:p>
          <a:p>
            <a:endParaRPr lang="cs-CZ" dirty="0"/>
          </a:p>
          <a:p>
            <a:r>
              <a:rPr lang="cs-CZ" dirty="0"/>
              <a:t>Histologie: </a:t>
            </a:r>
            <a:r>
              <a:rPr lang="cs-CZ" dirty="0" err="1"/>
              <a:t>Adenoca</a:t>
            </a:r>
            <a:r>
              <a:rPr lang="cs-CZ" dirty="0"/>
              <a:t> G3  pT3 pN2a M1 (ovarium, podkoží) </a:t>
            </a:r>
          </a:p>
          <a:p>
            <a:r>
              <a:rPr lang="cs-CZ" dirty="0"/>
              <a:t>Prediktory: </a:t>
            </a:r>
            <a:r>
              <a:rPr lang="cs-CZ" dirty="0" err="1"/>
              <a:t>wt</a:t>
            </a:r>
            <a:r>
              <a:rPr lang="cs-CZ" dirty="0"/>
              <a:t>-RAS, </a:t>
            </a:r>
            <a:r>
              <a:rPr lang="cs-CZ" dirty="0" err="1"/>
              <a:t>mt</a:t>
            </a:r>
            <a:r>
              <a:rPr lang="cs-CZ" dirty="0"/>
              <a:t>- BRAF V600E, dMMR</a:t>
            </a:r>
          </a:p>
          <a:p>
            <a:endParaRPr lang="cs-CZ" dirty="0"/>
          </a:p>
          <a:p>
            <a:r>
              <a:rPr lang="cs-CZ" dirty="0"/>
              <a:t>„Adjuvance“:  4/2021 – 10/2021  FOLFOX 12 cyklů </a:t>
            </a:r>
          </a:p>
        </p:txBody>
      </p:sp>
    </p:spTree>
    <p:extLst>
      <p:ext uri="{BB962C8B-B14F-4D97-AF65-F5344CB8AC3E}">
        <p14:creationId xmlns:p14="http://schemas.microsoft.com/office/powerpoint/2010/main" val="25145430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F269232-78CF-43D1-EFD2-C4CA6DCC8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ešetření 3/2022 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5425A60-2B1F-F8B9-DAD0-C59F36DF3C6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cs-CZ" dirty="0"/>
              <a:t>Klinicky: hmatný paket v pravém třísle a levém </a:t>
            </a:r>
            <a:r>
              <a:rPr lang="cs-CZ" dirty="0" err="1"/>
              <a:t>nadklíčku</a:t>
            </a:r>
            <a:r>
              <a:rPr lang="cs-CZ" dirty="0"/>
              <a:t> </a:t>
            </a:r>
          </a:p>
          <a:p>
            <a:endParaRPr lang="cs-CZ" dirty="0"/>
          </a:p>
          <a:p>
            <a:r>
              <a:rPr lang="cs-CZ" dirty="0"/>
              <a:t>PET/CT  - </a:t>
            </a:r>
            <a:r>
              <a:rPr lang="cs-CZ" dirty="0" err="1"/>
              <a:t>pozit</a:t>
            </a:r>
            <a:r>
              <a:rPr lang="cs-CZ" dirty="0"/>
              <a:t>. pravé tříslo a levý </a:t>
            </a:r>
            <a:r>
              <a:rPr lang="cs-CZ" dirty="0" err="1"/>
              <a:t>nadklíček</a:t>
            </a:r>
            <a:r>
              <a:rPr lang="cs-CZ" dirty="0"/>
              <a:t> , pravá plíce</a:t>
            </a:r>
          </a:p>
          <a:p>
            <a:endParaRPr lang="cs-CZ" dirty="0"/>
          </a:p>
          <a:p>
            <a:r>
              <a:rPr lang="cs-CZ" dirty="0"/>
              <a:t>Biopsie třísla – verifikace relapsu</a:t>
            </a:r>
          </a:p>
          <a:p>
            <a:endParaRPr lang="cs-CZ" dirty="0"/>
          </a:p>
          <a:p>
            <a:r>
              <a:rPr lang="cs-CZ" dirty="0"/>
              <a:t>Markery norma </a:t>
            </a:r>
          </a:p>
          <a:p>
            <a:endParaRPr lang="cs-CZ" dirty="0"/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569A9052-C917-0C81-2D6F-430B68C2915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cs-CZ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6" name="Obrázek 5" descr="Obsah obrázku text&#10;&#10;Popis byl vytvořen automaticky">
            <a:extLst>
              <a:ext uri="{FF2B5EF4-FFF2-40B4-BE49-F238E27FC236}">
                <a16:creationId xmlns:a16="http://schemas.microsoft.com/office/drawing/2014/main" id="{A3FD479D-FB69-1679-6F1C-0946A7BDF5B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9947" y="650472"/>
            <a:ext cx="5037281" cy="3143732"/>
          </a:xfrm>
          <a:prstGeom prst="rect">
            <a:avLst/>
          </a:prstGeom>
        </p:spPr>
      </p:pic>
      <p:pic>
        <p:nvPicPr>
          <p:cNvPr id="8" name="Obrázek 7" descr="Obsah obrázku text&#10;&#10;Popis byl vytvořen automaticky">
            <a:extLst>
              <a:ext uri="{FF2B5EF4-FFF2-40B4-BE49-F238E27FC236}">
                <a16:creationId xmlns:a16="http://schemas.microsoft.com/office/drawing/2014/main" id="{75C03149-1D95-61E2-88A4-64203F579D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4486" y="4052497"/>
            <a:ext cx="4519314" cy="2636659"/>
          </a:xfrm>
          <a:prstGeom prst="rect">
            <a:avLst/>
          </a:prstGeom>
        </p:spPr>
      </p:pic>
      <p:sp>
        <p:nvSpPr>
          <p:cNvPr id="9" name="Kruh: dutý 8">
            <a:extLst>
              <a:ext uri="{FF2B5EF4-FFF2-40B4-BE49-F238E27FC236}">
                <a16:creationId xmlns:a16="http://schemas.microsoft.com/office/drawing/2014/main" id="{0AE4AC23-58AE-9A1A-9F48-16FE229D81B9}"/>
              </a:ext>
            </a:extLst>
          </p:cNvPr>
          <p:cNvSpPr/>
          <p:nvPr/>
        </p:nvSpPr>
        <p:spPr>
          <a:xfrm>
            <a:off x="8763000" y="3008653"/>
            <a:ext cx="555584" cy="531651"/>
          </a:xfrm>
          <a:prstGeom prst="donut">
            <a:avLst>
              <a:gd name="adj" fmla="val 7759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0" name="Kruh: dutý 9">
            <a:extLst>
              <a:ext uri="{FF2B5EF4-FFF2-40B4-BE49-F238E27FC236}">
                <a16:creationId xmlns:a16="http://schemas.microsoft.com/office/drawing/2014/main" id="{3B0B4A6B-BB6D-B5B7-A132-F39676C305B3}"/>
              </a:ext>
            </a:extLst>
          </p:cNvPr>
          <p:cNvSpPr/>
          <p:nvPr/>
        </p:nvSpPr>
        <p:spPr>
          <a:xfrm>
            <a:off x="9408587" y="842511"/>
            <a:ext cx="555584" cy="531651"/>
          </a:xfrm>
          <a:prstGeom prst="donut">
            <a:avLst>
              <a:gd name="adj" fmla="val 7759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1" name="Kruh: dutý 10">
            <a:extLst>
              <a:ext uri="{FF2B5EF4-FFF2-40B4-BE49-F238E27FC236}">
                <a16:creationId xmlns:a16="http://schemas.microsoft.com/office/drawing/2014/main" id="{E1B05A53-48AD-024C-D04A-727FCBEBCEF5}"/>
              </a:ext>
            </a:extLst>
          </p:cNvPr>
          <p:cNvSpPr/>
          <p:nvPr/>
        </p:nvSpPr>
        <p:spPr>
          <a:xfrm>
            <a:off x="8345645" y="4617787"/>
            <a:ext cx="555584" cy="531651"/>
          </a:xfrm>
          <a:prstGeom prst="donut">
            <a:avLst>
              <a:gd name="adj" fmla="val 7759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7392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1516CF13-3E9E-EC14-8FC9-1FEE7AACF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CRC </a:t>
            </a:r>
            <a:r>
              <a:rPr lang="cs-CZ" dirty="0" err="1"/>
              <a:t>wt</a:t>
            </a:r>
            <a:r>
              <a:rPr lang="cs-CZ" dirty="0"/>
              <a:t>-RAS, </a:t>
            </a:r>
            <a:r>
              <a:rPr lang="cs-CZ" dirty="0" err="1"/>
              <a:t>mt</a:t>
            </a:r>
            <a:r>
              <a:rPr lang="cs-CZ" dirty="0"/>
              <a:t> BRAF V600E, dMMR   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EB017EDD-854F-1B19-D943-649DFCE417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cs-CZ" dirty="0"/>
              <a:t>Jakou vybrat léčbu u </a:t>
            </a:r>
            <a:r>
              <a:rPr lang="cs-CZ" dirty="0" err="1"/>
              <a:t>pacietky</a:t>
            </a:r>
            <a:r>
              <a:rPr lang="cs-CZ" dirty="0"/>
              <a:t> již předléčené oxaliplatinou v „adjuvanci“</a:t>
            </a:r>
          </a:p>
          <a:p>
            <a:endParaRPr lang="cs-CZ" dirty="0"/>
          </a:p>
          <a:p>
            <a:pPr marL="0" indent="0">
              <a:buNone/>
            </a:pPr>
            <a:r>
              <a:rPr lang="cs-CZ" dirty="0"/>
              <a:t>Imunoterapie  nebo kombinovaná cílená léčba? </a:t>
            </a:r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r>
              <a:rPr lang="cs-CZ" dirty="0"/>
              <a:t>3/2022  - zahájena terapie cetuximab/enkorafenib  </a:t>
            </a:r>
          </a:p>
          <a:p>
            <a:pPr marL="0" indent="0">
              <a:buNone/>
            </a:pPr>
            <a:r>
              <a:rPr lang="cs-CZ" sz="2200" dirty="0"/>
              <a:t>(Imunoterapie neměla v té době stanovenu úhradu z prostředků zdravotního pojištění) </a:t>
            </a:r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r>
              <a:rPr lang="cs-CZ" dirty="0"/>
              <a:t>NUL: HAF </a:t>
            </a:r>
            <a:r>
              <a:rPr lang="cs-CZ" dirty="0" err="1"/>
              <a:t>sy</a:t>
            </a:r>
            <a:r>
              <a:rPr lang="cs-CZ" dirty="0"/>
              <a:t> G2, exantém G1-2 ... postupně horší tolerance </a:t>
            </a:r>
          </a:p>
        </p:txBody>
      </p:sp>
    </p:spTree>
    <p:extLst>
      <p:ext uri="{BB962C8B-B14F-4D97-AF65-F5344CB8AC3E}">
        <p14:creationId xmlns:p14="http://schemas.microsoft.com/office/powerpoint/2010/main" val="20155683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907B48F-7C5D-6B13-299B-F96536D01C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etuximab + enkorafenib – efekt léčby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DAC4DE2-0B15-6386-CA0F-FBBDC492B2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>
                <a:solidFill>
                  <a:srgbClr val="FF0000"/>
                </a:solidFill>
              </a:rPr>
              <a:t>PET/CT  …. Ložisko v hrudníku</a:t>
            </a:r>
          </a:p>
        </p:txBody>
      </p:sp>
      <p:pic>
        <p:nvPicPr>
          <p:cNvPr id="14" name="Zástupný obsah 13" descr="Obsah obrázku text">
            <a:extLst>
              <a:ext uri="{FF2B5EF4-FFF2-40B4-BE49-F238E27FC236}">
                <a16:creationId xmlns:a16="http://schemas.microsoft.com/office/drawing/2014/main" id="{2E785C6E-38C2-5DCE-9289-8011839F40E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2842790"/>
            <a:ext cx="5285124" cy="3083448"/>
          </a:xfrm>
        </p:spPr>
      </p:pic>
      <p:pic>
        <p:nvPicPr>
          <p:cNvPr id="16" name="Zástupný obsah 15" descr="Obsah obrázku text, černá, dezert&#10;&#10;Popis byl vytvořen automaticky">
            <a:extLst>
              <a:ext uri="{FF2B5EF4-FFF2-40B4-BE49-F238E27FC236}">
                <a16:creationId xmlns:a16="http://schemas.microsoft.com/office/drawing/2014/main" id="{C96A4D08-0254-4F13-2E1B-E2CFAACB81BF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0" y="2835381"/>
            <a:ext cx="5183188" cy="3023976"/>
          </a:xfrm>
        </p:spPr>
      </p:pic>
      <p:sp>
        <p:nvSpPr>
          <p:cNvPr id="17" name="Kruh: dutý 16">
            <a:extLst>
              <a:ext uri="{FF2B5EF4-FFF2-40B4-BE49-F238E27FC236}">
                <a16:creationId xmlns:a16="http://schemas.microsoft.com/office/drawing/2014/main" id="{5E2B89CC-931A-8615-1608-37A55363F597}"/>
              </a:ext>
            </a:extLst>
          </p:cNvPr>
          <p:cNvSpPr/>
          <p:nvPr/>
        </p:nvSpPr>
        <p:spPr>
          <a:xfrm>
            <a:off x="2926766" y="3784882"/>
            <a:ext cx="555584" cy="531651"/>
          </a:xfrm>
          <a:prstGeom prst="donut">
            <a:avLst>
              <a:gd name="adj" fmla="val 7759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777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A999EFD-80C3-BF50-94D6-6B05D5DF54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etuximab + enkorafenib – efekt léčby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5846F113-9902-FECB-4267-0EBB7E15377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cs-CZ" dirty="0"/>
              <a:t>PFS: 17 měsíců</a:t>
            </a:r>
          </a:p>
          <a:p>
            <a:pPr marL="0" indent="0">
              <a:buNone/>
            </a:pPr>
            <a:r>
              <a:rPr lang="cs-CZ" dirty="0"/>
              <a:t>Efekt : klinický nástup účinku  během 1. měsíce léčby … výrazná PR</a:t>
            </a:r>
          </a:p>
          <a:p>
            <a:pPr marL="0" indent="0">
              <a:buNone/>
            </a:pPr>
            <a:r>
              <a:rPr lang="cs-CZ" dirty="0"/>
              <a:t>ECOG-PS: 1</a:t>
            </a:r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r>
              <a:rPr lang="cs-CZ" dirty="0"/>
              <a:t>Tolerance NUL max G2 exantém, po zaléčení G1</a:t>
            </a:r>
          </a:p>
          <a:p>
            <a:endParaRPr lang="cs-CZ" dirty="0"/>
          </a:p>
        </p:txBody>
      </p:sp>
      <p:pic>
        <p:nvPicPr>
          <p:cNvPr id="6" name="Zástupný obsah 7" descr="Obsah obrázku text">
            <a:extLst>
              <a:ext uri="{FF2B5EF4-FFF2-40B4-BE49-F238E27FC236}">
                <a16:creationId xmlns:a16="http://schemas.microsoft.com/office/drawing/2014/main" id="{AC3CCFE4-B51E-A7C4-B394-ADE1A8969497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4246" y="2096230"/>
            <a:ext cx="5181600" cy="3023050"/>
          </a:xfrm>
        </p:spPr>
      </p:pic>
      <p:sp>
        <p:nvSpPr>
          <p:cNvPr id="7" name="Šipka: doprava 6">
            <a:extLst>
              <a:ext uri="{FF2B5EF4-FFF2-40B4-BE49-F238E27FC236}">
                <a16:creationId xmlns:a16="http://schemas.microsoft.com/office/drawing/2014/main" id="{71416171-1930-6E89-6C11-AA67310881A5}"/>
              </a:ext>
            </a:extLst>
          </p:cNvPr>
          <p:cNvSpPr/>
          <p:nvPr/>
        </p:nvSpPr>
        <p:spPr bwMode="auto">
          <a:xfrm>
            <a:off x="7126563" y="4379700"/>
            <a:ext cx="960699" cy="203876"/>
          </a:xfrm>
          <a:prstGeom prst="rightArrow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cs-CZ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8" name="Šipka: dolů 7">
            <a:extLst>
              <a:ext uri="{FF2B5EF4-FFF2-40B4-BE49-F238E27FC236}">
                <a16:creationId xmlns:a16="http://schemas.microsoft.com/office/drawing/2014/main" id="{D5157650-A5C6-4160-F6C3-A48723BD2E15}"/>
              </a:ext>
            </a:extLst>
          </p:cNvPr>
          <p:cNvSpPr/>
          <p:nvPr/>
        </p:nvSpPr>
        <p:spPr bwMode="auto">
          <a:xfrm>
            <a:off x="9097701" y="1273968"/>
            <a:ext cx="243069" cy="1103313"/>
          </a:xfrm>
          <a:prstGeom prst="downArrow">
            <a:avLst/>
          </a:prstGeom>
          <a:solidFill>
            <a:schemeClr val="accent1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cs-CZ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05274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736F34ED-544B-14F9-7B44-37D0CC738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/2023 – klinická progrese 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4F368406-E63E-E327-B35F-EBDCC5EDA6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cs-CZ" dirty="0" err="1"/>
              <a:t>Subj</a:t>
            </a:r>
            <a:r>
              <a:rPr lang="cs-CZ" dirty="0"/>
              <a:t>.: zvětšuje se paket v pravém třísle – během 3 týdnů</a:t>
            </a:r>
          </a:p>
          <a:p>
            <a:pPr marL="0" indent="0">
              <a:buNone/>
            </a:pPr>
            <a:r>
              <a:rPr lang="cs-CZ" dirty="0" err="1"/>
              <a:t>Obj</a:t>
            </a:r>
            <a:r>
              <a:rPr lang="cs-CZ" dirty="0"/>
              <a:t>.: PS: 0, nově zřetelná progrese paketu v pravém třísle – 3x5cm tuhý</a:t>
            </a:r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r>
              <a:rPr lang="cs-CZ" dirty="0"/>
              <a:t>Laboratoř: vše v mezích, včetně markerů, TSH </a:t>
            </a:r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r>
              <a:rPr lang="cs-CZ" b="1" dirty="0"/>
              <a:t>UZ pravé </a:t>
            </a:r>
            <a:r>
              <a:rPr lang="cs-CZ" b="1" dirty="0" err="1"/>
              <a:t>inguiny</a:t>
            </a:r>
            <a:r>
              <a:rPr lang="cs-CZ" b="1" dirty="0"/>
              <a:t> 28.8.2023</a:t>
            </a:r>
            <a:r>
              <a:rPr lang="cs-CZ" dirty="0"/>
              <a:t>: v místě hmatné </a:t>
            </a:r>
            <a:r>
              <a:rPr lang="cs-CZ" dirty="0" err="1"/>
              <a:t>rezist</a:t>
            </a:r>
            <a:r>
              <a:rPr lang="cs-CZ" dirty="0"/>
              <a:t> laločnatá </a:t>
            </a:r>
            <a:r>
              <a:rPr lang="cs-CZ" dirty="0" err="1"/>
              <a:t>patol</a:t>
            </a:r>
            <a:r>
              <a:rPr lang="cs-CZ" dirty="0"/>
              <a:t>. Uzlina velikosti cca 33x33x20mm – ve srovnání s PET/CT v progresi, při </a:t>
            </a:r>
            <a:r>
              <a:rPr lang="cs-CZ" dirty="0" err="1"/>
              <a:t>laterálím</a:t>
            </a:r>
            <a:r>
              <a:rPr lang="cs-CZ" dirty="0"/>
              <a:t> </a:t>
            </a:r>
            <a:r>
              <a:rPr lang="cs-CZ" dirty="0" err="1"/>
              <a:t>polu</a:t>
            </a:r>
            <a:r>
              <a:rPr lang="cs-CZ" dirty="0"/>
              <a:t> této největší uzliny další výrazně laločnatá léze asi 30x17mm – také charakter uzliny – v okolí lehký lymfedém – vše v progresi </a:t>
            </a:r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869854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ehled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Prediktivní a prognostické </a:t>
            </a:r>
            <a:r>
              <a:rPr lang="cs-CZ" dirty="0" err="1"/>
              <a:t>markery</a:t>
            </a:r>
            <a:r>
              <a:rPr lang="cs-CZ" dirty="0"/>
              <a:t> </a:t>
            </a:r>
            <a:r>
              <a:rPr lang="cs-CZ" dirty="0" err="1"/>
              <a:t>mCRC</a:t>
            </a:r>
            <a:endParaRPr lang="cs-CZ" dirty="0"/>
          </a:p>
          <a:p>
            <a:r>
              <a:rPr lang="cs-CZ" dirty="0"/>
              <a:t>Postavení prediktorů  - ESMO, Modrá kniha </a:t>
            </a:r>
          </a:p>
          <a:p>
            <a:r>
              <a:rPr lang="cs-CZ" dirty="0"/>
              <a:t> mutace BRAF  - prediktivní a prognostický význam </a:t>
            </a:r>
          </a:p>
          <a:p>
            <a:r>
              <a:rPr lang="cs-CZ" dirty="0" err="1"/>
              <a:t>dMMR</a:t>
            </a:r>
            <a:r>
              <a:rPr lang="cs-CZ" dirty="0"/>
              <a:t>/MSI- </a:t>
            </a:r>
            <a:r>
              <a:rPr lang="cs-CZ" dirty="0" err="1"/>
              <a:t>high</a:t>
            </a:r>
            <a:r>
              <a:rPr lang="cs-CZ" dirty="0"/>
              <a:t> </a:t>
            </a:r>
          </a:p>
          <a:p>
            <a:r>
              <a:rPr lang="cs-CZ" dirty="0"/>
              <a:t>Kazuistika 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883746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6221E4E-67E6-E377-632C-5AFEBFD36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udie CheckMate 142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5A05C7B-A410-0B31-F9C3-E64D2D7AED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9223" y="1916113"/>
            <a:ext cx="10515600" cy="4351338"/>
          </a:xfrm>
        </p:spPr>
        <p:txBody>
          <a:bodyPr/>
          <a:lstStyle/>
          <a:p>
            <a:r>
              <a:rPr lang="cs-CZ" dirty="0"/>
              <a:t>Rameno nivo3 + ipi1   n= 119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C1BDA445-503B-44D4-80E8-D6D5E596B41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6132" r="2174"/>
          <a:stretch/>
        </p:blipFill>
        <p:spPr>
          <a:xfrm>
            <a:off x="6096000" y="313376"/>
            <a:ext cx="5571281" cy="6179500"/>
          </a:xfrm>
          <a:prstGeom prst="rect">
            <a:avLst/>
          </a:prstGeom>
        </p:spPr>
      </p:pic>
      <p:sp>
        <p:nvSpPr>
          <p:cNvPr id="6" name="Šipka: doprava 5">
            <a:extLst>
              <a:ext uri="{FF2B5EF4-FFF2-40B4-BE49-F238E27FC236}">
                <a16:creationId xmlns:a16="http://schemas.microsoft.com/office/drawing/2014/main" id="{309FAC63-A19D-3D5B-D781-7301AF89EBBB}"/>
              </a:ext>
            </a:extLst>
          </p:cNvPr>
          <p:cNvSpPr/>
          <p:nvPr/>
        </p:nvSpPr>
        <p:spPr>
          <a:xfrm>
            <a:off x="4745621" y="4788077"/>
            <a:ext cx="1516283" cy="70593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736378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AD10685-580F-9789-9DB2-2B5E0B2CC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udie CheckMate 142:  nivo3 + ipi1 </a:t>
            </a:r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FBFBFD93-FE3F-F723-04E6-593D46A4B7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98400" y="1690688"/>
            <a:ext cx="7988966" cy="4397596"/>
          </a:xfrm>
        </p:spPr>
      </p:pic>
    </p:spTree>
    <p:extLst>
      <p:ext uri="{BB962C8B-B14F-4D97-AF65-F5344CB8AC3E}">
        <p14:creationId xmlns:p14="http://schemas.microsoft.com/office/powerpoint/2010/main" val="21352928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EE1A3EF-B7F9-08AE-DB83-A8C7184FE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azuistika : žena *1971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65768D1-AEE0-BB1A-4822-75A286A480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1/2021 resekce TU </a:t>
            </a:r>
            <a:r>
              <a:rPr lang="cs-CZ" dirty="0" err="1"/>
              <a:t>ileocékálního</a:t>
            </a:r>
            <a:r>
              <a:rPr lang="cs-CZ" dirty="0"/>
              <a:t> přechodu  na sektoru</a:t>
            </a:r>
          </a:p>
          <a:p>
            <a:r>
              <a:rPr lang="cs-CZ" dirty="0"/>
              <a:t>3/2021 radikalizující operace</a:t>
            </a:r>
          </a:p>
          <a:p>
            <a:r>
              <a:rPr lang="cs-CZ" dirty="0"/>
              <a:t>Histologie: </a:t>
            </a:r>
            <a:r>
              <a:rPr lang="cs-CZ" dirty="0" err="1"/>
              <a:t>Adenoca</a:t>
            </a:r>
            <a:r>
              <a:rPr lang="cs-CZ" dirty="0"/>
              <a:t> G3  pT3 pN2a M1 (ovarium, podkoží) </a:t>
            </a:r>
          </a:p>
          <a:p>
            <a:r>
              <a:rPr lang="cs-CZ" dirty="0"/>
              <a:t>Prediktory: </a:t>
            </a:r>
            <a:r>
              <a:rPr lang="cs-CZ" dirty="0" err="1"/>
              <a:t>wt</a:t>
            </a:r>
            <a:r>
              <a:rPr lang="cs-CZ" dirty="0"/>
              <a:t>-RAS, </a:t>
            </a:r>
            <a:r>
              <a:rPr lang="cs-CZ" dirty="0" err="1"/>
              <a:t>mt</a:t>
            </a:r>
            <a:r>
              <a:rPr lang="cs-CZ" dirty="0"/>
              <a:t>- BRAF V600E, dMMR</a:t>
            </a:r>
          </a:p>
          <a:p>
            <a:r>
              <a:rPr lang="cs-CZ" dirty="0"/>
              <a:t>„Adjuvance“:  4/2021 – 10/2021  FOLFOX 12 cyklů </a:t>
            </a:r>
          </a:p>
          <a:p>
            <a:r>
              <a:rPr lang="cs-CZ" dirty="0"/>
              <a:t>Relaps 3/2022 – LU tříslo, </a:t>
            </a:r>
            <a:r>
              <a:rPr lang="cs-CZ" dirty="0" err="1"/>
              <a:t>nadklíček</a:t>
            </a:r>
            <a:r>
              <a:rPr lang="cs-CZ" dirty="0"/>
              <a:t>, plíce </a:t>
            </a:r>
          </a:p>
          <a:p>
            <a:r>
              <a:rPr lang="cs-CZ" dirty="0" err="1"/>
              <a:t>St.p</a:t>
            </a:r>
            <a:r>
              <a:rPr lang="cs-CZ" dirty="0"/>
              <a:t>. I. linii </a:t>
            </a:r>
            <a:r>
              <a:rPr lang="cs-CZ" dirty="0" err="1"/>
              <a:t>paliat</a:t>
            </a:r>
            <a:r>
              <a:rPr lang="cs-CZ" dirty="0"/>
              <a:t> terapie </a:t>
            </a:r>
            <a:r>
              <a:rPr lang="cs-CZ" dirty="0" err="1"/>
              <a:t>cetux</a:t>
            </a:r>
            <a:r>
              <a:rPr lang="cs-CZ" dirty="0"/>
              <a:t>/enkorafenib – max efekt PR, PFS 17m</a:t>
            </a:r>
          </a:p>
          <a:p>
            <a:r>
              <a:rPr lang="cs-CZ" dirty="0"/>
              <a:t>II. linie nivo3- ipi1 od 8/2023 – po 1. cyklu klinicky regrese LU </a:t>
            </a:r>
          </a:p>
        </p:txBody>
      </p:sp>
    </p:spTree>
    <p:extLst>
      <p:ext uri="{BB962C8B-B14F-4D97-AF65-F5344CB8AC3E}">
        <p14:creationId xmlns:p14="http://schemas.microsoft.com/office/powerpoint/2010/main" val="22927443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A9DBCF-5E47-86A3-A14C-C7FE2A92F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Toxicita imunoterapie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8C38167-40BD-E69E-5960-BCAF013EF0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Po 1. cyklu kožní toxicita G1, po 2. cyklu jaterní toxicita G1</a:t>
            </a:r>
          </a:p>
          <a:p>
            <a:endParaRPr lang="cs-CZ" dirty="0"/>
          </a:p>
          <a:p>
            <a:r>
              <a:rPr lang="cs-CZ" dirty="0"/>
              <a:t>Po 3. cyklu 10/2023 :  </a:t>
            </a:r>
            <a:r>
              <a:rPr lang="cs-CZ" dirty="0" err="1"/>
              <a:t>Subj</a:t>
            </a:r>
            <a:r>
              <a:rPr lang="cs-CZ" dirty="0"/>
              <a:t>.: bolest hlavy, skotomy </a:t>
            </a:r>
            <a:r>
              <a:rPr lang="cs-CZ" dirty="0" err="1"/>
              <a:t>pravostranně</a:t>
            </a:r>
            <a:r>
              <a:rPr lang="cs-CZ" dirty="0"/>
              <a:t> krátce… během 4 dnů bolet hlavy trvalá </a:t>
            </a:r>
          </a:p>
          <a:p>
            <a:endParaRPr lang="cs-CZ" dirty="0"/>
          </a:p>
          <a:p>
            <a:r>
              <a:rPr lang="cs-CZ" dirty="0"/>
              <a:t>Laboratoř: TSH 0,012, ranní kortizol 58 </a:t>
            </a:r>
            <a:r>
              <a:rPr lang="cs-CZ" dirty="0" err="1"/>
              <a:t>nmol</a:t>
            </a:r>
            <a:r>
              <a:rPr lang="cs-CZ" dirty="0"/>
              <a:t>/l…. norma 166-507 ,  ionty  v mezích </a:t>
            </a:r>
          </a:p>
        </p:txBody>
      </p:sp>
    </p:spTree>
    <p:extLst>
      <p:ext uri="{BB962C8B-B14F-4D97-AF65-F5344CB8AC3E}">
        <p14:creationId xmlns:p14="http://schemas.microsoft.com/office/powerpoint/2010/main" val="35400955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D19B33B9-CB21-2D22-C1C2-FFBA9F392A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2103" y="0"/>
            <a:ext cx="7127794" cy="6858000"/>
          </a:xfrm>
          <a:prstGeom prst="rect">
            <a:avLst/>
          </a:prstGeom>
        </p:spPr>
      </p:pic>
      <p:sp>
        <p:nvSpPr>
          <p:cNvPr id="6" name="Šipka: doprava 5">
            <a:extLst>
              <a:ext uri="{FF2B5EF4-FFF2-40B4-BE49-F238E27FC236}">
                <a16:creationId xmlns:a16="http://schemas.microsoft.com/office/drawing/2014/main" id="{31175555-8672-960A-7359-AA5CABA8C7F8}"/>
              </a:ext>
            </a:extLst>
          </p:cNvPr>
          <p:cNvSpPr/>
          <p:nvPr/>
        </p:nvSpPr>
        <p:spPr>
          <a:xfrm>
            <a:off x="1678329" y="3090441"/>
            <a:ext cx="853774" cy="729205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6808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6E2CC9-4E76-8FB8-0632-3D4B54CBB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r - </a:t>
            </a:r>
            <a:r>
              <a:rPr lang="cs-CZ" dirty="0" err="1"/>
              <a:t>hypofyzitida</a:t>
            </a:r>
            <a:endParaRPr lang="cs-CZ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23B8502-CC6E-165F-4713-B08F000F8D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Incidence  nejvyšší u kombinované terapie anti-PD(L)-1 – anti-CTLA4 terapie (2–6 %) anti-PD-1 terapie (1 %). </a:t>
            </a:r>
          </a:p>
          <a:p>
            <a:r>
              <a:rPr lang="cs-CZ" dirty="0"/>
              <a:t>Pacienti léčení anti-CTLA-4 protilátkou vyvinou Ir-</a:t>
            </a:r>
            <a:r>
              <a:rPr lang="cs-CZ" dirty="0" err="1"/>
              <a:t>hypofyzitidu</a:t>
            </a:r>
            <a:r>
              <a:rPr lang="cs-CZ" dirty="0"/>
              <a:t> během prvních 3–4 měsíců léčby, zatímco výskyt této komplikace v případě monoterapie anti-PD-1 odpovídá mediánu 6 měsíců.</a:t>
            </a:r>
          </a:p>
        </p:txBody>
      </p:sp>
    </p:spTree>
    <p:extLst>
      <p:ext uri="{BB962C8B-B14F-4D97-AF65-F5344CB8AC3E}">
        <p14:creationId xmlns:p14="http://schemas.microsoft.com/office/powerpoint/2010/main" val="31249343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>
            <a:extLst>
              <a:ext uri="{FF2B5EF4-FFF2-40B4-BE49-F238E27FC236}">
                <a16:creationId xmlns:a16="http://schemas.microsoft.com/office/drawing/2014/main" id="{1F6D800F-06A6-3650-4070-36517DA825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889" y="312517"/>
            <a:ext cx="3826107" cy="3657600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EF78BBA0-BC84-C2A2-26C5-04029A189C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02280" y="3343410"/>
            <a:ext cx="3345255" cy="3202073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07643514-BF10-B95E-B227-2CE43FFAC4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28387" y="312517"/>
            <a:ext cx="3471212" cy="3495554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38B645E2-2AD4-1349-1D79-32D07ED691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2684" y="3262448"/>
            <a:ext cx="3345255" cy="3363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93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926DD5B-16C0-8734-4485-536489051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Léčba </a:t>
            </a:r>
            <a:r>
              <a:rPr lang="cs-CZ" dirty="0" err="1"/>
              <a:t>hypofyzitidy</a:t>
            </a:r>
            <a:endParaRPr lang="cs-CZ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B99205D-DF3C-A9A0-50D3-0173801ED7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Kortikoidy (</a:t>
            </a:r>
            <a:r>
              <a:rPr lang="cs-CZ" dirty="0" err="1"/>
              <a:t>methylprednisolon</a:t>
            </a:r>
            <a:r>
              <a:rPr lang="cs-CZ" dirty="0"/>
              <a:t> 1mg/kg + </a:t>
            </a:r>
            <a:r>
              <a:rPr lang="cs-CZ" dirty="0" err="1"/>
              <a:t>hydrocortizon</a:t>
            </a:r>
            <a:r>
              <a:rPr lang="cs-CZ" dirty="0"/>
              <a:t> )</a:t>
            </a:r>
          </a:p>
          <a:p>
            <a:r>
              <a:rPr lang="cs-CZ" dirty="0"/>
              <a:t>Efekt – ústup symptomů během 24 hodin </a:t>
            </a:r>
          </a:p>
          <a:p>
            <a:endParaRPr lang="cs-CZ" dirty="0"/>
          </a:p>
          <a:p>
            <a:r>
              <a:rPr lang="cs-CZ" dirty="0"/>
              <a:t>Pomalé vysazování </a:t>
            </a:r>
          </a:p>
          <a:p>
            <a:endParaRPr lang="cs-CZ" dirty="0"/>
          </a:p>
          <a:p>
            <a:r>
              <a:rPr lang="cs-CZ" dirty="0"/>
              <a:t>V odstupu 2 měsíců pokračováno nivo mono … po 2 cyklech znovu </a:t>
            </a:r>
            <a:r>
              <a:rPr lang="cs-CZ" dirty="0" err="1"/>
              <a:t>hypofyzitida</a:t>
            </a:r>
            <a:r>
              <a:rPr lang="cs-CZ" dirty="0"/>
              <a:t> G2  - kortikoterapie …. Imunoterapie ukončena </a:t>
            </a:r>
          </a:p>
        </p:txBody>
      </p:sp>
    </p:spTree>
    <p:extLst>
      <p:ext uri="{BB962C8B-B14F-4D97-AF65-F5344CB8AC3E}">
        <p14:creationId xmlns:p14="http://schemas.microsoft.com/office/powerpoint/2010/main" val="17667967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F483583-566E-6BCC-984B-81A677F6E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Co si zapamatovat: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1430311-DC15-8F0F-A647-0F077ED24C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dirty="0"/>
              <a:t>Testovat RAS, BRAF V600E, MMR/MSI  současně hned v době diagnózy IV. klinického stadia  (ke zvážení u rizikového III. klin. stadia)</a:t>
            </a:r>
          </a:p>
          <a:p>
            <a:r>
              <a:rPr lang="cs-CZ" dirty="0"/>
              <a:t>Testování musí vyžádat klinik, obvykle onkolog</a:t>
            </a:r>
          </a:p>
          <a:p>
            <a:r>
              <a:rPr lang="cs-CZ" dirty="0" err="1"/>
              <a:t>Cetuximab</a:t>
            </a:r>
            <a:r>
              <a:rPr lang="cs-CZ" dirty="0"/>
              <a:t>/</a:t>
            </a:r>
            <a:r>
              <a:rPr lang="cs-CZ" dirty="0" err="1"/>
              <a:t>enkorafenib</a:t>
            </a:r>
            <a:r>
              <a:rPr lang="cs-CZ" dirty="0"/>
              <a:t> pro pacienty </a:t>
            </a:r>
            <a:r>
              <a:rPr lang="cs-CZ" dirty="0" err="1"/>
              <a:t>předléčené</a:t>
            </a:r>
            <a:r>
              <a:rPr lang="cs-CZ" dirty="0"/>
              <a:t> chemoterapií (již není požadavek na </a:t>
            </a:r>
            <a:r>
              <a:rPr lang="cs-CZ" dirty="0" err="1"/>
              <a:t>předléčení</a:t>
            </a:r>
            <a:r>
              <a:rPr lang="cs-CZ" dirty="0"/>
              <a:t> </a:t>
            </a:r>
            <a:r>
              <a:rPr lang="cs-CZ" dirty="0" err="1"/>
              <a:t>oxaliplatinou</a:t>
            </a:r>
            <a:r>
              <a:rPr lang="cs-CZ" dirty="0"/>
              <a:t>) </a:t>
            </a:r>
          </a:p>
          <a:p>
            <a:r>
              <a:rPr lang="cs-CZ" dirty="0"/>
              <a:t>V případě </a:t>
            </a:r>
            <a:r>
              <a:rPr lang="cs-CZ" dirty="0" err="1"/>
              <a:t>mt</a:t>
            </a:r>
            <a:r>
              <a:rPr lang="cs-CZ" dirty="0"/>
              <a:t>-BRAF V600E se neřídíme stranovou lokalizací primárního TU</a:t>
            </a:r>
          </a:p>
          <a:p>
            <a:r>
              <a:rPr lang="cs-CZ" dirty="0"/>
              <a:t>Pokud je </a:t>
            </a:r>
            <a:r>
              <a:rPr lang="cs-CZ" dirty="0" err="1"/>
              <a:t>mt</a:t>
            </a:r>
            <a:r>
              <a:rPr lang="cs-CZ" dirty="0"/>
              <a:t>-BRAF a dMMR současně, je nutné volit léčbu individuálně.... preference imunoterapie.     </a:t>
            </a:r>
          </a:p>
        </p:txBody>
      </p:sp>
    </p:spTree>
    <p:extLst>
      <p:ext uri="{BB962C8B-B14F-4D97-AF65-F5344CB8AC3E}">
        <p14:creationId xmlns:p14="http://schemas.microsoft.com/office/powerpoint/2010/main" val="131010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0A0C7-B29D-4AD0-B415-88E3375EBE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omarker</a:t>
            </a:r>
            <a:r>
              <a:rPr lang="cs-CZ" dirty="0"/>
              <a:t>y</a:t>
            </a:r>
            <a:r>
              <a:rPr lang="en-US" dirty="0"/>
              <a:t> </a:t>
            </a:r>
            <a:r>
              <a:rPr lang="cs-CZ" dirty="0"/>
              <a:t> u </a:t>
            </a:r>
            <a:r>
              <a:rPr lang="en-US" dirty="0"/>
              <a:t>CRC</a:t>
            </a:r>
            <a:r>
              <a:rPr lang="cs-CZ" dirty="0"/>
              <a:t> …. klinicky relevantní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7877BA-2695-4D47-BAE6-53E1B71B73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Všechny nádory</a:t>
            </a:r>
            <a:r>
              <a:rPr lang="en-US" dirty="0"/>
              <a:t>:</a:t>
            </a:r>
          </a:p>
          <a:p>
            <a:pPr lvl="1"/>
            <a:r>
              <a:rPr lang="en-US" b="1" dirty="0">
                <a:solidFill>
                  <a:srgbClr val="FF0000"/>
                </a:solidFill>
              </a:rPr>
              <a:t>MMR</a:t>
            </a:r>
          </a:p>
          <a:p>
            <a:pPr lvl="1"/>
            <a:r>
              <a:rPr lang="en-US" b="1" dirty="0">
                <a:solidFill>
                  <a:srgbClr val="FF0000"/>
                </a:solidFill>
              </a:rPr>
              <a:t>Microsatellite stability</a:t>
            </a:r>
          </a:p>
          <a:p>
            <a:r>
              <a:rPr lang="cs-CZ" dirty="0"/>
              <a:t>Metastatické onemocnění</a:t>
            </a:r>
            <a:r>
              <a:rPr lang="en-US" dirty="0"/>
              <a:t>: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RAS</a:t>
            </a:r>
          </a:p>
          <a:p>
            <a:pPr lvl="1"/>
            <a:r>
              <a:rPr lang="en-US" b="1" i="1" dirty="0">
                <a:solidFill>
                  <a:srgbClr val="FF0000"/>
                </a:solidFill>
              </a:rPr>
              <a:t>BRAF</a:t>
            </a:r>
          </a:p>
          <a:p>
            <a:pPr lvl="1"/>
            <a:r>
              <a:rPr lang="en-US" b="1" i="1" dirty="0"/>
              <a:t>HER2</a:t>
            </a:r>
            <a:r>
              <a:rPr lang="cs-CZ" b="1" i="1" dirty="0"/>
              <a:t> </a:t>
            </a:r>
            <a:endParaRPr lang="en-US" b="1" i="1" dirty="0"/>
          </a:p>
          <a:p>
            <a:pPr lvl="1"/>
            <a:r>
              <a:rPr lang="en-US" b="1" i="1" dirty="0"/>
              <a:t>NTR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02C60BE-190D-5544-89ED-C8E9E949352D}"/>
              </a:ext>
            </a:extLst>
          </p:cNvPr>
          <p:cNvSpPr txBox="1"/>
          <p:nvPr/>
        </p:nvSpPr>
        <p:spPr bwMode="auto">
          <a:xfrm>
            <a:off x="5487265" y="1515235"/>
            <a:ext cx="5786767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Mole</a:t>
            </a:r>
            <a:r>
              <a:rPr kumimoji="0" lang="cs-CZ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kulární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klasifikac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 CRC 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 odpovídající cílená léčb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 Box 11">
            <a:extLst>
              <a:ext uri="{FF2B5EF4-FFF2-40B4-BE49-F238E27FC236}">
                <a16:creationId xmlns:a16="http://schemas.microsoft.com/office/drawing/2014/main" id="{7D0036A5-F739-45FF-8819-53B6199E37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5769" y="6408600"/>
            <a:ext cx="822821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Wingdings" panose="05000000000000000000" pitchFamily="2" charset="2"/>
              <a:buChar char="§"/>
              <a:defRPr sz="2800">
                <a:solidFill>
                  <a:srgbClr val="FEFDDE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600">
                <a:solidFill>
                  <a:srgbClr val="FEFDDE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400">
                <a:solidFill>
                  <a:srgbClr val="FEFDDE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200">
                <a:solidFill>
                  <a:srgbClr val="FEFDDE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1000"/>
              </a:spcBef>
              <a:spcAft>
                <a:spcPts val="700"/>
              </a:spcAft>
              <a:buClr>
                <a:srgbClr val="FEFDDE"/>
              </a:buClr>
              <a:buFont typeface="Arial" panose="020B0604020202020204" pitchFamily="34" charset="0"/>
              <a:buChar char="–"/>
              <a:defRPr sz="2000">
                <a:solidFill>
                  <a:srgbClr val="FEFDDE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555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Dienstmann. Am Soc Clin Oncol Educ Book. 2018;38:231.</a:t>
            </a:r>
          </a:p>
        </p:txBody>
      </p:sp>
      <p:grpSp>
        <p:nvGrpSpPr>
          <p:cNvPr id="4106" name="Group 4105">
            <a:extLst>
              <a:ext uri="{FF2B5EF4-FFF2-40B4-BE49-F238E27FC236}">
                <a16:creationId xmlns:a16="http://schemas.microsoft.com/office/drawing/2014/main" id="{ED933DA4-A486-4D67-A406-074C87753C2F}"/>
              </a:ext>
            </a:extLst>
          </p:cNvPr>
          <p:cNvGrpSpPr/>
          <p:nvPr/>
        </p:nvGrpSpPr>
        <p:grpSpPr>
          <a:xfrm>
            <a:off x="3588377" y="2196885"/>
            <a:ext cx="8407874" cy="3987424"/>
            <a:chOff x="3365200" y="1911353"/>
            <a:chExt cx="8407874" cy="3987424"/>
          </a:xfrm>
        </p:grpSpPr>
        <p:graphicFrame>
          <p:nvGraphicFramePr>
            <p:cNvPr id="44" name="Chart 43">
              <a:extLst>
                <a:ext uri="{FF2B5EF4-FFF2-40B4-BE49-F238E27FC236}">
                  <a16:creationId xmlns:a16="http://schemas.microsoft.com/office/drawing/2014/main" id="{9F36751C-DAF8-476D-8109-38E9E122CD41}"/>
                </a:ext>
              </a:extLst>
            </p:cNvPr>
            <p:cNvGraphicFramePr/>
            <p:nvPr/>
          </p:nvGraphicFramePr>
          <p:xfrm>
            <a:off x="5877060" y="1911353"/>
            <a:ext cx="5396972" cy="359798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9" name="Rectangle 31">
              <a:extLst>
                <a:ext uri="{FF2B5EF4-FFF2-40B4-BE49-F238E27FC236}">
                  <a16:creationId xmlns:a16="http://schemas.microsoft.com/office/drawing/2014/main" id="{AD2907D0-AD5B-48A3-8925-6978CFDA09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51184" y="2806388"/>
              <a:ext cx="25327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8%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Rectangle 32">
              <a:extLst>
                <a:ext uri="{FF2B5EF4-FFF2-40B4-BE49-F238E27FC236}">
                  <a16:creationId xmlns:a16="http://schemas.microsoft.com/office/drawing/2014/main" id="{AAA767EB-FA1E-4555-ACB7-0CE8D4E3C0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09614" y="3913145"/>
              <a:ext cx="35747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26%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Rectangle 33">
              <a:extLst>
                <a:ext uri="{FF2B5EF4-FFF2-40B4-BE49-F238E27FC236}">
                  <a16:creationId xmlns:a16="http://schemas.microsoft.com/office/drawing/2014/main" id="{1B08D6AC-F54A-443F-AFF8-8E14253F8A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8369" y="4268733"/>
              <a:ext cx="25327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8%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96" name="Rectangle 34">
              <a:extLst>
                <a:ext uri="{FF2B5EF4-FFF2-40B4-BE49-F238E27FC236}">
                  <a16:creationId xmlns:a16="http://schemas.microsoft.com/office/drawing/2014/main" id="{0A714461-5991-465E-A209-3872740DDF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8001" y="4641674"/>
              <a:ext cx="30409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2%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97" name="Rectangle 35">
              <a:extLst>
                <a:ext uri="{FF2B5EF4-FFF2-40B4-BE49-F238E27FC236}">
                  <a16:creationId xmlns:a16="http://schemas.microsoft.com/office/drawing/2014/main" id="{1D5027F5-2C13-4B90-A5BC-A6CC7AC550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2991" y="4494087"/>
              <a:ext cx="25327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2%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98" name="Rectangle 36">
              <a:extLst>
                <a:ext uri="{FF2B5EF4-FFF2-40B4-BE49-F238E27FC236}">
                  <a16:creationId xmlns:a16="http://schemas.microsoft.com/office/drawing/2014/main" id="{48B9BA04-3FFF-4EFB-BE7C-79F1483B05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9717" y="4343394"/>
              <a:ext cx="25327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2%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99" name="Rectangle 37">
              <a:extLst>
                <a:ext uri="{FF2B5EF4-FFF2-40B4-BE49-F238E27FC236}">
                  <a16:creationId xmlns:a16="http://schemas.microsoft.com/office/drawing/2014/main" id="{761C9A3F-5F9F-4342-83CF-F3C6814DC1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9717" y="3951148"/>
              <a:ext cx="25327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1%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100" name="Rectangle 38">
              <a:extLst>
                <a:ext uri="{FF2B5EF4-FFF2-40B4-BE49-F238E27FC236}">
                  <a16:creationId xmlns:a16="http://schemas.microsoft.com/office/drawing/2014/main" id="{362749F2-D52D-44E3-925B-BCFBBA7D6C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9537" y="4022512"/>
              <a:ext cx="25327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2%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103" name="Rectangle 39">
              <a:extLst>
                <a:ext uri="{FF2B5EF4-FFF2-40B4-BE49-F238E27FC236}">
                  <a16:creationId xmlns:a16="http://schemas.microsoft.com/office/drawing/2014/main" id="{BCB65660-475A-4D41-926E-05A7599BA7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1997" y="3730372"/>
              <a:ext cx="25327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2%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104" name="Rectangle 40">
              <a:extLst>
                <a:ext uri="{FF2B5EF4-FFF2-40B4-BE49-F238E27FC236}">
                  <a16:creationId xmlns:a16="http://schemas.microsoft.com/office/drawing/2014/main" id="{41DF7013-8517-4E95-8678-D6EBEF3A5C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7972" y="3575219"/>
              <a:ext cx="25327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1%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105" name="Rectangle 41">
              <a:extLst>
                <a:ext uri="{FF2B5EF4-FFF2-40B4-BE49-F238E27FC236}">
                  <a16:creationId xmlns:a16="http://schemas.microsoft.com/office/drawing/2014/main" id="{E3A82F5F-70F6-47A0-A09F-89EE0896DE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16149" y="2705717"/>
              <a:ext cx="35747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45%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E51508F-5A2F-46E9-8329-E0C6BE2036A4}"/>
                </a:ext>
              </a:extLst>
            </p:cNvPr>
            <p:cNvSpPr txBox="1"/>
            <p:nvPr/>
          </p:nvSpPr>
          <p:spPr bwMode="auto">
            <a:xfrm>
              <a:off x="5824897" y="2085650"/>
              <a:ext cx="125027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1" u="none" strike="noStrike" kern="1200" cap="none" spc="0" normalizeH="0" baseline="0" noProof="0" dirty="0">
                  <a:ln>
                    <a:noFill/>
                  </a:ln>
                  <a:solidFill>
                    <a:srgbClr val="015873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RAS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5873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15873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muta</a:t>
              </a:r>
              <a:r>
                <a:rPr kumimoji="0" lang="cs-CZ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15873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ce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15873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5738670-119F-468B-AD48-A4D5A6244544}"/>
                </a:ext>
              </a:extLst>
            </p:cNvPr>
            <p:cNvSpPr txBox="1"/>
            <p:nvPr/>
          </p:nvSpPr>
          <p:spPr bwMode="auto">
            <a:xfrm rot="20878412">
              <a:off x="4974363" y="4154625"/>
              <a:ext cx="120738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DB338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Gene fusion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0A8D881-C240-4312-AB14-0C0072B9462C}"/>
                </a:ext>
              </a:extLst>
            </p:cNvPr>
            <p:cNvSpPr txBox="1"/>
            <p:nvPr/>
          </p:nvSpPr>
          <p:spPr bwMode="auto">
            <a:xfrm rot="20511445">
              <a:off x="5242130" y="4315105"/>
              <a:ext cx="98937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DB338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MET amp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581636A-013A-4C9E-B36C-2B64F1B15DA8}"/>
                </a:ext>
              </a:extLst>
            </p:cNvPr>
            <p:cNvSpPr txBox="1"/>
            <p:nvPr/>
          </p:nvSpPr>
          <p:spPr bwMode="auto">
            <a:xfrm rot="20511445">
              <a:off x="5372682" y="4481042"/>
              <a:ext cx="1058303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5556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HER2 amp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C052E7E-4E5F-41C4-A73B-1047AA9CC7FD}"/>
                </a:ext>
              </a:extLst>
            </p:cNvPr>
            <p:cNvSpPr txBox="1"/>
            <p:nvPr/>
          </p:nvSpPr>
          <p:spPr bwMode="auto">
            <a:xfrm rot="20511445">
              <a:off x="5529349" y="4649274"/>
              <a:ext cx="1043876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DA1BB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POLE amp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5890522-7C40-49D1-A2A1-59AD922F9AE8}"/>
                </a:ext>
              </a:extLst>
            </p:cNvPr>
            <p:cNvSpPr txBox="1"/>
            <p:nvPr/>
          </p:nvSpPr>
          <p:spPr bwMode="auto">
            <a:xfrm rot="20511445">
              <a:off x="5626309" y="4814067"/>
              <a:ext cx="1180131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682E74">
                      <a:lumMod val="40000"/>
                      <a:lumOff val="6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MSI + other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EEFE8262-B657-487D-8600-B24538B9408A}"/>
                </a:ext>
              </a:extLst>
            </p:cNvPr>
            <p:cNvSpPr txBox="1"/>
            <p:nvPr/>
          </p:nvSpPr>
          <p:spPr bwMode="auto">
            <a:xfrm rot="20511445">
              <a:off x="6461117" y="4850275"/>
              <a:ext cx="516488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3A3A3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MSI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E123A36-4139-4F17-BFE5-4941E70471F7}"/>
                </a:ext>
              </a:extLst>
            </p:cNvPr>
            <p:cNvSpPr txBox="1"/>
            <p:nvPr/>
          </p:nvSpPr>
          <p:spPr bwMode="auto">
            <a:xfrm rot="20511445">
              <a:off x="5836830" y="5119364"/>
              <a:ext cx="1510350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1" u="none" strike="noStrike" kern="1200" cap="none" spc="0" normalizeH="0" baseline="0" noProof="0" dirty="0">
                  <a:ln>
                    <a:noFill/>
                  </a:ln>
                  <a:solidFill>
                    <a:srgbClr val="682E74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BRAF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682E74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 non-V600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5DB52A75-00B8-45D8-88A3-89B0707406EE}"/>
                </a:ext>
              </a:extLst>
            </p:cNvPr>
            <p:cNvSpPr txBox="1"/>
            <p:nvPr/>
          </p:nvSpPr>
          <p:spPr bwMode="auto">
            <a:xfrm>
              <a:off x="7442212" y="5325986"/>
              <a:ext cx="121539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1" u="none" strike="noStrike" kern="1200" cap="none" spc="0" normalizeH="0" baseline="0" noProof="0" dirty="0">
                  <a:ln>
                    <a:noFill/>
                  </a:ln>
                  <a:solidFill>
                    <a:srgbClr val="FDB338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BRAF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DB338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 V600E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179B6CA-6895-4FD1-8372-839CD99688D3}"/>
                </a:ext>
              </a:extLst>
            </p:cNvPr>
            <p:cNvSpPr txBox="1"/>
            <p:nvPr/>
          </p:nvSpPr>
          <p:spPr bwMode="auto">
            <a:xfrm>
              <a:off x="3365200" y="4120114"/>
              <a:ext cx="169376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NTRK inhibitory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488996F8-8A74-4D41-9C2D-50BEC74A2C1E}"/>
                </a:ext>
              </a:extLst>
            </p:cNvPr>
            <p:cNvSpPr txBox="1"/>
            <p:nvPr/>
          </p:nvSpPr>
          <p:spPr bwMode="auto">
            <a:xfrm>
              <a:off x="3631281" y="4801469"/>
              <a:ext cx="163444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Anti-HER2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EE5BB30-6018-4620-A883-F941FEBC1F06}"/>
                </a:ext>
              </a:extLst>
            </p:cNvPr>
            <p:cNvSpPr txBox="1"/>
            <p:nvPr/>
          </p:nvSpPr>
          <p:spPr bwMode="auto">
            <a:xfrm>
              <a:off x="3665305" y="5240072"/>
              <a:ext cx="2019295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Anti–PD-1/PD-L1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2D0D03B5-2093-4A66-A5F1-C7E4B6F45FAC}"/>
                </a:ext>
              </a:extLst>
            </p:cNvPr>
            <p:cNvSpPr txBox="1"/>
            <p:nvPr/>
          </p:nvSpPr>
          <p:spPr bwMode="auto">
            <a:xfrm>
              <a:off x="7442212" y="5560223"/>
              <a:ext cx="433086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Enkorafenib + cetuximab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59" name="Left Brace 58">
              <a:extLst>
                <a:ext uri="{FF2B5EF4-FFF2-40B4-BE49-F238E27FC236}">
                  <a16:creationId xmlns:a16="http://schemas.microsoft.com/office/drawing/2014/main" id="{88A084BB-0C7F-4F15-9380-2E907360A7DD}"/>
                </a:ext>
              </a:extLst>
            </p:cNvPr>
            <p:cNvSpPr/>
            <p:nvPr/>
          </p:nvSpPr>
          <p:spPr bwMode="auto">
            <a:xfrm rot="19621034">
              <a:off x="5515294" y="5076790"/>
              <a:ext cx="293429" cy="426968"/>
            </a:xfrm>
            <a:prstGeom prst="leftBrace">
              <a:avLst/>
            </a:prstGeom>
            <a:noFill/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67EFCF1-B4DD-45CD-9821-F8F8C566EB46}"/>
                </a:ext>
              </a:extLst>
            </p:cNvPr>
            <p:cNvSpPr txBox="1"/>
            <p:nvPr/>
          </p:nvSpPr>
          <p:spPr bwMode="auto">
            <a:xfrm>
              <a:off x="10262524" y="2371180"/>
              <a:ext cx="1376724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1" u="none" strike="noStrike" kern="1200" cap="none" spc="0" normalizeH="0" baseline="0" noProof="0" dirty="0">
                  <a:ln>
                    <a:noFill/>
                  </a:ln>
                  <a:solidFill>
                    <a:srgbClr val="E1471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PIK3CA/PTEN </a:t>
              </a:r>
              <a:b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1471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1471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muta</a:t>
              </a:r>
              <a:r>
                <a:rPr kumimoji="0" lang="cs-CZ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1471D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ce</a:t>
              </a:r>
              <a:endPara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1471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4968B7A3-3BD1-4EED-B6B4-DA5F3742B1A1}"/>
                </a:ext>
              </a:extLst>
            </p:cNvPr>
            <p:cNvSpPr txBox="1"/>
            <p:nvPr/>
          </p:nvSpPr>
          <p:spPr bwMode="auto">
            <a:xfrm>
              <a:off x="9740383" y="4855815"/>
              <a:ext cx="100860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823B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wild-type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DCA9A77-609D-4BDD-AAB0-CEC8670BCBD7}"/>
                </a:ext>
              </a:extLst>
            </p:cNvPr>
            <p:cNvSpPr txBox="1"/>
            <p:nvPr/>
          </p:nvSpPr>
          <p:spPr bwMode="auto">
            <a:xfrm>
              <a:off x="9740383" y="5086980"/>
              <a:ext cx="103893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anose="020B0604020202020204" pitchFamily="34" charset="0"/>
                </a:rPr>
                <a:t>Anti-EGFR</a:t>
              </a:r>
            </a:p>
          </p:txBody>
        </p:sp>
      </p:grpSp>
      <p:sp>
        <p:nvSpPr>
          <p:cNvPr id="4" name="Kruh: dutý 3">
            <a:extLst>
              <a:ext uri="{FF2B5EF4-FFF2-40B4-BE49-F238E27FC236}">
                <a16:creationId xmlns:a16="http://schemas.microsoft.com/office/drawing/2014/main" id="{DBB95143-C2D4-0FCD-3BA0-ACBB58C1360A}"/>
              </a:ext>
            </a:extLst>
          </p:cNvPr>
          <p:cNvSpPr/>
          <p:nvPr/>
        </p:nvSpPr>
        <p:spPr bwMode="auto">
          <a:xfrm>
            <a:off x="7402279" y="5305434"/>
            <a:ext cx="2835528" cy="1344877"/>
          </a:xfrm>
          <a:prstGeom prst="donut">
            <a:avLst>
              <a:gd name="adj" fmla="val 6062"/>
            </a:avLst>
          </a:prstGeom>
          <a:solidFill>
            <a:srgbClr val="FF0000"/>
          </a:solidFill>
          <a:ln w="0">
            <a:solidFill>
              <a:schemeClr val="bg1"/>
            </a:solidFill>
            <a:miter lim="800000"/>
            <a:headEnd/>
            <a:tailEnd/>
          </a:ln>
        </p:spPr>
        <p:txBody>
          <a:bodyPr rtlCol="0" anchor="b"/>
          <a:lstStyle/>
          <a:p>
            <a:pPr algn="ctr" eaLnBrk="1" hangingPunct="1">
              <a:spcBef>
                <a:spcPct val="35000"/>
              </a:spcBef>
              <a:spcAft>
                <a:spcPct val="25000"/>
              </a:spcAft>
              <a:buClr>
                <a:schemeClr val="folHlink"/>
              </a:buClr>
              <a:buNone/>
            </a:pPr>
            <a:endParaRPr lang="cs-CZ" sz="1800" b="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5121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0635C34A-3BA9-285A-3435-BE920C7EE74B}"/>
              </a:ext>
            </a:extLst>
          </p:cNvPr>
          <p:cNvGrpSpPr/>
          <p:nvPr/>
        </p:nvGrpSpPr>
        <p:grpSpPr>
          <a:xfrm>
            <a:off x="6086869" y="2071796"/>
            <a:ext cx="2524689" cy="3931437"/>
            <a:chOff x="1178846" y="2106632"/>
            <a:chExt cx="2618963" cy="3529166"/>
          </a:xfrm>
        </p:grpSpPr>
        <p:sp>
          <p:nvSpPr>
            <p:cNvPr id="21" name="Round Same-side Corner of Rectangle 37">
              <a:extLst>
                <a:ext uri="{FF2B5EF4-FFF2-40B4-BE49-F238E27FC236}">
                  <a16:creationId xmlns:a16="http://schemas.microsoft.com/office/drawing/2014/main" id="{BEE3D118-ED26-108E-B070-8F5BF1DEC269}"/>
                </a:ext>
              </a:extLst>
            </p:cNvPr>
            <p:cNvSpPr/>
            <p:nvPr/>
          </p:nvSpPr>
          <p:spPr>
            <a:xfrm>
              <a:off x="1178846" y="2579184"/>
              <a:ext cx="2618963" cy="3056614"/>
            </a:xfrm>
            <a:prstGeom prst="round2SameRect">
              <a:avLst>
                <a:gd name="adj1" fmla="val 0"/>
                <a:gd name="adj2" fmla="val 9223"/>
              </a:avLst>
            </a:prstGeom>
            <a:solidFill>
              <a:schemeClr val="tx2">
                <a:lumMod val="60000"/>
                <a:lumOff val="40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576000" rIns="0" bIns="144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ositive predictive biomarker for ICI treatment response</a:t>
              </a:r>
              <a:r>
                <a:rPr kumimoji="0" lang="en-GB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Round Same-side Corner of Rectangle 34">
              <a:extLst>
                <a:ext uri="{FF2B5EF4-FFF2-40B4-BE49-F238E27FC236}">
                  <a16:creationId xmlns:a16="http://schemas.microsoft.com/office/drawing/2014/main" id="{50CC269D-B920-3B9C-CD95-40E337DF9133}"/>
                </a:ext>
              </a:extLst>
            </p:cNvPr>
            <p:cNvSpPr/>
            <p:nvPr/>
          </p:nvSpPr>
          <p:spPr>
            <a:xfrm>
              <a:off x="1178846" y="2106632"/>
              <a:ext cx="2618963" cy="775596"/>
            </a:xfrm>
            <a:prstGeom prst="round2SameRect">
              <a:avLst>
                <a:gd name="adj1" fmla="val 27733"/>
                <a:gd name="adj2" fmla="val 0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18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SI/dMMR status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7FB8A6D-78F0-9033-5FA9-A550FC1C0D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301" y="366184"/>
            <a:ext cx="11084983" cy="609600"/>
          </a:xfrm>
        </p:spPr>
        <p:txBody>
          <a:bodyPr/>
          <a:lstStyle/>
          <a:p>
            <a:r>
              <a:rPr lang="en-GB" noProof="0" dirty="0"/>
              <a:t>Predictive and prognostic value of mCRC biomarkers and clinical featur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6A30A59-7663-F367-EF42-C0AD8FCCE287}"/>
              </a:ext>
            </a:extLst>
          </p:cNvPr>
          <p:cNvGrpSpPr/>
          <p:nvPr/>
        </p:nvGrpSpPr>
        <p:grpSpPr>
          <a:xfrm>
            <a:off x="646449" y="2071796"/>
            <a:ext cx="2524689" cy="3931439"/>
            <a:chOff x="1178846" y="2106632"/>
            <a:chExt cx="2618963" cy="3529168"/>
          </a:xfrm>
        </p:grpSpPr>
        <p:sp>
          <p:nvSpPr>
            <p:cNvPr id="10" name="Round Same-side Corner of Rectangle 37">
              <a:extLst>
                <a:ext uri="{FF2B5EF4-FFF2-40B4-BE49-F238E27FC236}">
                  <a16:creationId xmlns:a16="http://schemas.microsoft.com/office/drawing/2014/main" id="{A55A08BF-57B9-3E75-7470-F9CD40416F5D}"/>
                </a:ext>
              </a:extLst>
            </p:cNvPr>
            <p:cNvSpPr/>
            <p:nvPr/>
          </p:nvSpPr>
          <p:spPr>
            <a:xfrm>
              <a:off x="1178846" y="2579185"/>
              <a:ext cx="2618963" cy="3056615"/>
            </a:xfrm>
            <a:prstGeom prst="round2SameRect">
              <a:avLst>
                <a:gd name="adj1" fmla="val 0"/>
                <a:gd name="adj2" fmla="val 9223"/>
              </a:avLst>
            </a:prstGeom>
            <a:solidFill>
              <a:schemeClr val="accent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576000" rIns="0" bIns="144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egative predictive biomarker for 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nti-EGFR treatment response</a:t>
              </a:r>
              <a:r>
                <a:rPr kumimoji="0" lang="en-GB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Round Same-side Corner of Rectangle 34">
              <a:extLst>
                <a:ext uri="{FF2B5EF4-FFF2-40B4-BE49-F238E27FC236}">
                  <a16:creationId xmlns:a16="http://schemas.microsoft.com/office/drawing/2014/main" id="{A370F606-8F02-3D94-2585-D38D816E91DA}"/>
                </a:ext>
              </a:extLst>
            </p:cNvPr>
            <p:cNvSpPr/>
            <p:nvPr/>
          </p:nvSpPr>
          <p:spPr>
            <a:xfrm>
              <a:off x="1178846" y="2106632"/>
              <a:ext cx="2618963" cy="775596"/>
            </a:xfrm>
            <a:prstGeom prst="round2SameRect">
              <a:avLst>
                <a:gd name="adj1" fmla="val 27733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18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AS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mutation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6D749FA-3F31-4663-A7BF-76D282698F78}"/>
              </a:ext>
            </a:extLst>
          </p:cNvPr>
          <p:cNvGrpSpPr/>
          <p:nvPr/>
        </p:nvGrpSpPr>
        <p:grpSpPr>
          <a:xfrm>
            <a:off x="3366659" y="2071796"/>
            <a:ext cx="2524689" cy="3931438"/>
            <a:chOff x="1178846" y="2106632"/>
            <a:chExt cx="2618963" cy="3529167"/>
          </a:xfrm>
        </p:grpSpPr>
        <p:sp>
          <p:nvSpPr>
            <p:cNvPr id="16" name="Round Same-side Corner of Rectangle 37">
              <a:extLst>
                <a:ext uri="{FF2B5EF4-FFF2-40B4-BE49-F238E27FC236}">
                  <a16:creationId xmlns:a16="http://schemas.microsoft.com/office/drawing/2014/main" id="{1428EE9A-8E57-A414-F857-E53EB206C61C}"/>
                </a:ext>
              </a:extLst>
            </p:cNvPr>
            <p:cNvSpPr/>
            <p:nvPr/>
          </p:nvSpPr>
          <p:spPr>
            <a:xfrm>
              <a:off x="1178846" y="2579185"/>
              <a:ext cx="2618963" cy="3056614"/>
            </a:xfrm>
            <a:prstGeom prst="round2SameRect">
              <a:avLst>
                <a:gd name="adj1" fmla="val 0"/>
                <a:gd name="adj2" fmla="val 9223"/>
              </a:avLst>
            </a:prstGeom>
            <a:solidFill>
              <a:schemeClr val="accent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576000" rIns="0" bIns="144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rong negative prognostic biomarker</a:t>
              </a:r>
              <a:r>
                <a:rPr kumimoji="0" lang="en-GB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egative predictive biomarker for 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nti-EGFR treatment response</a:t>
              </a:r>
              <a:r>
                <a:rPr kumimoji="0" lang="en-GB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,3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hould be assessed for the option of treatment with BRAF inhibitor +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nti-EGFR therapy</a:t>
              </a:r>
              <a:r>
                <a:rPr kumimoji="0" lang="en-GB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7" name="Round Same-side Corner of Rectangle 34">
              <a:extLst>
                <a:ext uri="{FF2B5EF4-FFF2-40B4-BE49-F238E27FC236}">
                  <a16:creationId xmlns:a16="http://schemas.microsoft.com/office/drawing/2014/main" id="{EBEFE853-9A6E-3CC8-2A11-1D927C8CA54A}"/>
                </a:ext>
              </a:extLst>
            </p:cNvPr>
            <p:cNvSpPr/>
            <p:nvPr/>
          </p:nvSpPr>
          <p:spPr>
            <a:xfrm>
              <a:off x="1178846" y="2106632"/>
              <a:ext cx="2618963" cy="775596"/>
            </a:xfrm>
            <a:prstGeom prst="round2SameRect">
              <a:avLst>
                <a:gd name="adj1" fmla="val 27733"/>
                <a:gd name="adj2" fmla="val 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18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BRAF</a:t>
              </a:r>
              <a:r>
                <a:rPr kumimoji="0" lang="en-GB" sz="1800" b="1" i="1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600E</a:t>
              </a: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mutation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B02849D-56C4-149D-5D4A-628C1D4AF832}"/>
              </a:ext>
            </a:extLst>
          </p:cNvPr>
          <p:cNvGrpSpPr/>
          <p:nvPr/>
        </p:nvGrpSpPr>
        <p:grpSpPr>
          <a:xfrm>
            <a:off x="8807080" y="2071796"/>
            <a:ext cx="2524689" cy="3931437"/>
            <a:chOff x="1178846" y="2106632"/>
            <a:chExt cx="2618963" cy="3529166"/>
          </a:xfrm>
        </p:grpSpPr>
        <p:sp>
          <p:nvSpPr>
            <p:cNvPr id="26" name="Round Same-side Corner of Rectangle 37">
              <a:extLst>
                <a:ext uri="{FF2B5EF4-FFF2-40B4-BE49-F238E27FC236}">
                  <a16:creationId xmlns:a16="http://schemas.microsoft.com/office/drawing/2014/main" id="{23BCF900-3912-6645-8F64-10635FB61F67}"/>
                </a:ext>
              </a:extLst>
            </p:cNvPr>
            <p:cNvSpPr/>
            <p:nvPr/>
          </p:nvSpPr>
          <p:spPr>
            <a:xfrm>
              <a:off x="1178846" y="2579185"/>
              <a:ext cx="2618963" cy="3056613"/>
            </a:xfrm>
            <a:prstGeom prst="round2SameRect">
              <a:avLst>
                <a:gd name="adj1" fmla="val 0"/>
                <a:gd name="adj2" fmla="val 9223"/>
              </a:avLst>
            </a:prstGeom>
            <a:solidFill>
              <a:schemeClr val="accent2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576000" rIns="0" bIns="144000"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imary tumour location can be prognostic 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nd predictive of 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nti-EGFR treatment response in </a:t>
              </a:r>
              <a:r>
                <a:rPr kumimoji="0" lang="en-GB" sz="160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AS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wild-type mCRC</a:t>
              </a:r>
              <a:r>
                <a:rPr kumimoji="0" lang="en-GB" sz="16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,4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Round Same-side Corner of Rectangle 34">
              <a:extLst>
                <a:ext uri="{FF2B5EF4-FFF2-40B4-BE49-F238E27FC236}">
                  <a16:creationId xmlns:a16="http://schemas.microsoft.com/office/drawing/2014/main" id="{1840517A-7642-8B55-8139-ED9C95057321}"/>
                </a:ext>
              </a:extLst>
            </p:cNvPr>
            <p:cNvSpPr/>
            <p:nvPr/>
          </p:nvSpPr>
          <p:spPr>
            <a:xfrm>
              <a:off x="1178846" y="2106632"/>
              <a:ext cx="2618963" cy="775596"/>
            </a:xfrm>
            <a:prstGeom prst="round2SameRect">
              <a:avLst>
                <a:gd name="adj1" fmla="val 27733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18000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umour sidedness</a:t>
              </a:r>
            </a:p>
          </p:txBody>
        </p:sp>
      </p:grpSp>
      <p:sp>
        <p:nvSpPr>
          <p:cNvPr id="8" name="Oval 7">
            <a:extLst>
              <a:ext uri="{FF2B5EF4-FFF2-40B4-BE49-F238E27FC236}">
                <a16:creationId xmlns:a16="http://schemas.microsoft.com/office/drawing/2014/main" id="{114BD4C7-E6DC-0732-78CB-C9C6916A7E48}"/>
              </a:ext>
            </a:extLst>
          </p:cNvPr>
          <p:cNvSpPr/>
          <p:nvPr/>
        </p:nvSpPr>
        <p:spPr>
          <a:xfrm>
            <a:off x="1382512" y="1387315"/>
            <a:ext cx="1052562" cy="10512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2" name="Picture 6" descr="new mutation Icon 3984371">
            <a:extLst>
              <a:ext uri="{FF2B5EF4-FFF2-40B4-BE49-F238E27FC236}">
                <a16:creationId xmlns:a16="http://schemas.microsoft.com/office/drawing/2014/main" id="{01FCA04B-5376-1B02-47A8-F5512DFA15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176" y="1362209"/>
            <a:ext cx="1125233" cy="1125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: Rounded Corners 5">
            <a:hlinkClick r:id="rId4" action="ppaction://hlinksldjump" tooltip="Chapter"/>
            <a:extLst>
              <a:ext uri="{FF2B5EF4-FFF2-40B4-BE49-F238E27FC236}">
                <a16:creationId xmlns:a16="http://schemas.microsoft.com/office/drawing/2014/main" id="{D8FFAD9F-3090-CAFA-AF6A-D1EE4CF32410}"/>
              </a:ext>
            </a:extLst>
          </p:cNvPr>
          <p:cNvSpPr/>
          <p:nvPr/>
        </p:nvSpPr>
        <p:spPr>
          <a:xfrm>
            <a:off x="10432869" y="48214"/>
            <a:ext cx="444136" cy="49171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E238248C-B72E-2C57-8EEA-0C95B28ACF57}"/>
              </a:ext>
            </a:extLst>
          </p:cNvPr>
          <p:cNvSpPr/>
          <p:nvPr/>
        </p:nvSpPr>
        <p:spPr>
          <a:xfrm>
            <a:off x="4082681" y="1387315"/>
            <a:ext cx="1052562" cy="10512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6" descr="new mutation Icon 3984371">
            <a:extLst>
              <a:ext uri="{FF2B5EF4-FFF2-40B4-BE49-F238E27FC236}">
                <a16:creationId xmlns:a16="http://schemas.microsoft.com/office/drawing/2014/main" id="{277A5F03-A9B8-9FF3-9BC4-A208167257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6386" y="1362209"/>
            <a:ext cx="1125233" cy="1125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E880C9D1-1BAB-E141-42F2-572FA48700C6}"/>
              </a:ext>
            </a:extLst>
          </p:cNvPr>
          <p:cNvSpPr/>
          <p:nvPr/>
        </p:nvSpPr>
        <p:spPr>
          <a:xfrm>
            <a:off x="6824244" y="1387315"/>
            <a:ext cx="1052562" cy="1051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580CBEC-75F3-B736-DCF5-F9DF9227F934}"/>
              </a:ext>
            </a:extLst>
          </p:cNvPr>
          <p:cNvSpPr/>
          <p:nvPr/>
        </p:nvSpPr>
        <p:spPr>
          <a:xfrm>
            <a:off x="9543143" y="1387315"/>
            <a:ext cx="1052562" cy="1051200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8" name="Picture 2" descr="Colon Icon 2024413">
            <a:extLst>
              <a:ext uri="{FF2B5EF4-FFF2-40B4-BE49-F238E27FC236}">
                <a16:creationId xmlns:a16="http://schemas.microsoft.com/office/drawing/2014/main" id="{D881509A-2089-7CD0-6E54-8ABBDDF998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3693" y="1392334"/>
            <a:ext cx="1111463" cy="1111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dna repairing Icon 4291322">
            <a:extLst>
              <a:ext uri="{FF2B5EF4-FFF2-40B4-BE49-F238E27FC236}">
                <a16:creationId xmlns:a16="http://schemas.microsoft.com/office/drawing/2014/main" id="{A8339429-B3E2-7BAA-270B-7A19A1668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565756">
            <a:off x="6856846" y="1355584"/>
            <a:ext cx="1075821" cy="1075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477E7FE3-1ED5-EF29-8DE9-EEA3355D80B0}"/>
              </a:ext>
            </a:extLst>
          </p:cNvPr>
          <p:cNvGrpSpPr/>
          <p:nvPr/>
        </p:nvGrpSpPr>
        <p:grpSpPr>
          <a:xfrm>
            <a:off x="77037" y="3281200"/>
            <a:ext cx="283450" cy="283450"/>
            <a:chOff x="77037" y="3281200"/>
            <a:chExt cx="283450" cy="28345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AF3AC3DF-741C-BAF6-11B4-84DB22458A03}"/>
                </a:ext>
              </a:extLst>
            </p:cNvPr>
            <p:cNvSpPr/>
            <p:nvPr userDrawn="1"/>
          </p:nvSpPr>
          <p:spPr>
            <a:xfrm>
              <a:off x="77037" y="3281200"/>
              <a:ext cx="283450" cy="283450"/>
            </a:xfrm>
            <a:prstGeom prst="ellipse">
              <a:avLst/>
            </a:prstGeom>
            <a:noFill/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40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Graphic 23">
              <a:extLst>
                <a:ext uri="{FF2B5EF4-FFF2-40B4-BE49-F238E27FC236}">
                  <a16:creationId xmlns:a16="http://schemas.microsoft.com/office/drawing/2014/main" id="{1B4AF980-F253-CA4F-2F40-C9E10D5BED9F}"/>
                </a:ext>
              </a:extLst>
            </p:cNvPr>
            <p:cNvSpPr/>
            <p:nvPr userDrawn="1"/>
          </p:nvSpPr>
          <p:spPr>
            <a:xfrm rot="10800000">
              <a:off x="157255" y="3344816"/>
              <a:ext cx="103135" cy="156218"/>
            </a:xfrm>
            <a:custGeom>
              <a:avLst/>
              <a:gdLst>
                <a:gd name="connsiteX0" fmla="*/ 616506 w 2543651"/>
                <a:gd name="connsiteY0" fmla="*/ 3852863 h 3852862"/>
                <a:gd name="connsiteX1" fmla="*/ 314563 w 2543651"/>
                <a:gd name="connsiteY1" fmla="*/ 3728085 h 3852862"/>
                <a:gd name="connsiteX2" fmla="*/ 125016 w 2543651"/>
                <a:gd name="connsiteY2" fmla="*/ 3538538 h 3852862"/>
                <a:gd name="connsiteX3" fmla="*/ 125016 w 2543651"/>
                <a:gd name="connsiteY3" fmla="*/ 2934653 h 3852862"/>
                <a:gd name="connsiteX4" fmla="*/ 1133713 w 2543651"/>
                <a:gd name="connsiteY4" fmla="*/ 1926908 h 3852862"/>
                <a:gd name="connsiteX5" fmla="*/ 125968 w 2543651"/>
                <a:gd name="connsiteY5" fmla="*/ 918210 h 3852862"/>
                <a:gd name="connsiteX6" fmla="*/ 125968 w 2543651"/>
                <a:gd name="connsiteY6" fmla="*/ 314325 h 3852862"/>
                <a:gd name="connsiteX7" fmla="*/ 315516 w 2543651"/>
                <a:gd name="connsiteY7" fmla="*/ 124778 h 3852862"/>
                <a:gd name="connsiteX8" fmla="*/ 617458 w 2543651"/>
                <a:gd name="connsiteY8" fmla="*/ 0 h 3852862"/>
                <a:gd name="connsiteX9" fmla="*/ 919401 w 2543651"/>
                <a:gd name="connsiteY9" fmla="*/ 124778 h 3852862"/>
                <a:gd name="connsiteX10" fmla="*/ 2418636 w 2543651"/>
                <a:gd name="connsiteY10" fmla="*/ 1624013 h 3852862"/>
                <a:gd name="connsiteX11" fmla="*/ 2418636 w 2543651"/>
                <a:gd name="connsiteY11" fmla="*/ 2227898 h 3852862"/>
                <a:gd name="connsiteX12" fmla="*/ 918448 w 2543651"/>
                <a:gd name="connsiteY12" fmla="*/ 3728085 h 3852862"/>
                <a:gd name="connsiteX13" fmla="*/ 616506 w 2543651"/>
                <a:gd name="connsiteY13" fmla="*/ 3852863 h 3852862"/>
                <a:gd name="connsiteX14" fmla="*/ 616506 w 2543651"/>
                <a:gd name="connsiteY14" fmla="*/ 195262 h 3852862"/>
                <a:gd name="connsiteX15" fmla="*/ 452676 w 2543651"/>
                <a:gd name="connsiteY15" fmla="*/ 262890 h 3852862"/>
                <a:gd name="connsiteX16" fmla="*/ 263128 w 2543651"/>
                <a:gd name="connsiteY16" fmla="*/ 452437 h 3852862"/>
                <a:gd name="connsiteX17" fmla="*/ 263128 w 2543651"/>
                <a:gd name="connsiteY17" fmla="*/ 780098 h 3852862"/>
                <a:gd name="connsiteX18" fmla="*/ 1340406 w 2543651"/>
                <a:gd name="connsiteY18" fmla="*/ 1857375 h 3852862"/>
                <a:gd name="connsiteX19" fmla="*/ 1340406 w 2543651"/>
                <a:gd name="connsiteY19" fmla="*/ 1995488 h 3852862"/>
                <a:gd name="connsiteX20" fmla="*/ 263128 w 2543651"/>
                <a:gd name="connsiteY20" fmla="*/ 3072765 h 3852862"/>
                <a:gd name="connsiteX21" fmla="*/ 263128 w 2543651"/>
                <a:gd name="connsiteY21" fmla="*/ 3400425 h 3852862"/>
                <a:gd name="connsiteX22" fmla="*/ 452676 w 2543651"/>
                <a:gd name="connsiteY22" fmla="*/ 3589973 h 3852862"/>
                <a:gd name="connsiteX23" fmla="*/ 616506 w 2543651"/>
                <a:gd name="connsiteY23" fmla="*/ 3657600 h 3852862"/>
                <a:gd name="connsiteX24" fmla="*/ 780336 w 2543651"/>
                <a:gd name="connsiteY24" fmla="*/ 3589973 h 3852862"/>
                <a:gd name="connsiteX25" fmla="*/ 2279571 w 2543651"/>
                <a:gd name="connsiteY25" fmla="*/ 2090738 h 3852862"/>
                <a:gd name="connsiteX26" fmla="*/ 2279571 w 2543651"/>
                <a:gd name="connsiteY26" fmla="*/ 1763078 h 3852862"/>
                <a:gd name="connsiteX27" fmla="*/ 780336 w 2543651"/>
                <a:gd name="connsiteY27" fmla="*/ 263843 h 3852862"/>
                <a:gd name="connsiteX28" fmla="*/ 616506 w 2543651"/>
                <a:gd name="connsiteY28" fmla="*/ 195262 h 385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43651" h="3852862">
                  <a:moveTo>
                    <a:pt x="616506" y="3852863"/>
                  </a:moveTo>
                  <a:cubicBezTo>
                    <a:pt x="502206" y="3852863"/>
                    <a:pt x="395526" y="3808095"/>
                    <a:pt x="314563" y="3728085"/>
                  </a:cubicBezTo>
                  <a:lnTo>
                    <a:pt x="125016" y="3538538"/>
                  </a:lnTo>
                  <a:cubicBezTo>
                    <a:pt x="-41672" y="3371850"/>
                    <a:pt x="-41672" y="3101340"/>
                    <a:pt x="125016" y="2934653"/>
                  </a:cubicBezTo>
                  <a:lnTo>
                    <a:pt x="1133713" y="1926908"/>
                  </a:lnTo>
                  <a:lnTo>
                    <a:pt x="125968" y="918210"/>
                  </a:lnTo>
                  <a:cubicBezTo>
                    <a:pt x="-40719" y="751523"/>
                    <a:pt x="-40719" y="481012"/>
                    <a:pt x="125968" y="314325"/>
                  </a:cubicBezTo>
                  <a:lnTo>
                    <a:pt x="315516" y="124778"/>
                  </a:lnTo>
                  <a:cubicBezTo>
                    <a:pt x="396478" y="43815"/>
                    <a:pt x="503158" y="0"/>
                    <a:pt x="617458" y="0"/>
                  </a:cubicBezTo>
                  <a:cubicBezTo>
                    <a:pt x="731758" y="0"/>
                    <a:pt x="838438" y="44768"/>
                    <a:pt x="919401" y="124778"/>
                  </a:cubicBezTo>
                  <a:lnTo>
                    <a:pt x="2418636" y="1624013"/>
                  </a:lnTo>
                  <a:cubicBezTo>
                    <a:pt x="2585323" y="1790700"/>
                    <a:pt x="2585323" y="2061210"/>
                    <a:pt x="2418636" y="2227898"/>
                  </a:cubicBezTo>
                  <a:lnTo>
                    <a:pt x="918448" y="3728085"/>
                  </a:lnTo>
                  <a:cubicBezTo>
                    <a:pt x="838438" y="3809048"/>
                    <a:pt x="730806" y="3852863"/>
                    <a:pt x="616506" y="3852863"/>
                  </a:cubicBezTo>
                  <a:close/>
                  <a:moveTo>
                    <a:pt x="616506" y="195262"/>
                  </a:moveTo>
                  <a:cubicBezTo>
                    <a:pt x="554593" y="195262"/>
                    <a:pt x="496491" y="219075"/>
                    <a:pt x="452676" y="262890"/>
                  </a:cubicBezTo>
                  <a:lnTo>
                    <a:pt x="263128" y="452437"/>
                  </a:lnTo>
                  <a:cubicBezTo>
                    <a:pt x="172641" y="542925"/>
                    <a:pt x="172641" y="689610"/>
                    <a:pt x="263128" y="780098"/>
                  </a:cubicBezTo>
                  <a:lnTo>
                    <a:pt x="1340406" y="1857375"/>
                  </a:lnTo>
                  <a:cubicBezTo>
                    <a:pt x="1378506" y="1895475"/>
                    <a:pt x="1378506" y="1957388"/>
                    <a:pt x="1340406" y="1995488"/>
                  </a:cubicBezTo>
                  <a:lnTo>
                    <a:pt x="263128" y="3072765"/>
                  </a:lnTo>
                  <a:cubicBezTo>
                    <a:pt x="172641" y="3163253"/>
                    <a:pt x="172641" y="3309938"/>
                    <a:pt x="263128" y="3400425"/>
                  </a:cubicBezTo>
                  <a:lnTo>
                    <a:pt x="452676" y="3589973"/>
                  </a:lnTo>
                  <a:cubicBezTo>
                    <a:pt x="496491" y="3633788"/>
                    <a:pt x="554593" y="3657600"/>
                    <a:pt x="616506" y="3657600"/>
                  </a:cubicBezTo>
                  <a:cubicBezTo>
                    <a:pt x="678418" y="3657600"/>
                    <a:pt x="736521" y="3633788"/>
                    <a:pt x="780336" y="3589973"/>
                  </a:cubicBezTo>
                  <a:lnTo>
                    <a:pt x="2279571" y="2090738"/>
                  </a:lnTo>
                  <a:cubicBezTo>
                    <a:pt x="2370058" y="2000250"/>
                    <a:pt x="2370058" y="1853565"/>
                    <a:pt x="2279571" y="1763078"/>
                  </a:cubicBezTo>
                  <a:lnTo>
                    <a:pt x="780336" y="263843"/>
                  </a:lnTo>
                  <a:cubicBezTo>
                    <a:pt x="736521" y="220028"/>
                    <a:pt x="678418" y="195262"/>
                    <a:pt x="616506" y="19526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E1C89EF-3242-B379-9857-67B9047FA104}"/>
              </a:ext>
            </a:extLst>
          </p:cNvPr>
          <p:cNvGrpSpPr/>
          <p:nvPr/>
        </p:nvGrpSpPr>
        <p:grpSpPr>
          <a:xfrm rot="10800000">
            <a:off x="11824059" y="3281200"/>
            <a:ext cx="283450" cy="283450"/>
            <a:chOff x="77037" y="3281200"/>
            <a:chExt cx="283450" cy="28345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F0426719-8075-961A-CB5F-0E8F9D5B75A5}"/>
                </a:ext>
              </a:extLst>
            </p:cNvPr>
            <p:cNvSpPr/>
            <p:nvPr userDrawn="1"/>
          </p:nvSpPr>
          <p:spPr>
            <a:xfrm>
              <a:off x="77037" y="3281200"/>
              <a:ext cx="283450" cy="283450"/>
            </a:xfrm>
            <a:prstGeom prst="ellipse">
              <a:avLst/>
            </a:prstGeom>
            <a:noFill/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40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Graphic 23">
              <a:extLst>
                <a:ext uri="{FF2B5EF4-FFF2-40B4-BE49-F238E27FC236}">
                  <a16:creationId xmlns:a16="http://schemas.microsoft.com/office/drawing/2014/main" id="{6780EEDB-80EA-7866-F12F-01A2ED51C2C0}"/>
                </a:ext>
              </a:extLst>
            </p:cNvPr>
            <p:cNvSpPr/>
            <p:nvPr userDrawn="1"/>
          </p:nvSpPr>
          <p:spPr>
            <a:xfrm rot="10800000">
              <a:off x="157255" y="3344816"/>
              <a:ext cx="103135" cy="156218"/>
            </a:xfrm>
            <a:custGeom>
              <a:avLst/>
              <a:gdLst>
                <a:gd name="connsiteX0" fmla="*/ 616506 w 2543651"/>
                <a:gd name="connsiteY0" fmla="*/ 3852863 h 3852862"/>
                <a:gd name="connsiteX1" fmla="*/ 314563 w 2543651"/>
                <a:gd name="connsiteY1" fmla="*/ 3728085 h 3852862"/>
                <a:gd name="connsiteX2" fmla="*/ 125016 w 2543651"/>
                <a:gd name="connsiteY2" fmla="*/ 3538538 h 3852862"/>
                <a:gd name="connsiteX3" fmla="*/ 125016 w 2543651"/>
                <a:gd name="connsiteY3" fmla="*/ 2934653 h 3852862"/>
                <a:gd name="connsiteX4" fmla="*/ 1133713 w 2543651"/>
                <a:gd name="connsiteY4" fmla="*/ 1926908 h 3852862"/>
                <a:gd name="connsiteX5" fmla="*/ 125968 w 2543651"/>
                <a:gd name="connsiteY5" fmla="*/ 918210 h 3852862"/>
                <a:gd name="connsiteX6" fmla="*/ 125968 w 2543651"/>
                <a:gd name="connsiteY6" fmla="*/ 314325 h 3852862"/>
                <a:gd name="connsiteX7" fmla="*/ 315516 w 2543651"/>
                <a:gd name="connsiteY7" fmla="*/ 124778 h 3852862"/>
                <a:gd name="connsiteX8" fmla="*/ 617458 w 2543651"/>
                <a:gd name="connsiteY8" fmla="*/ 0 h 3852862"/>
                <a:gd name="connsiteX9" fmla="*/ 919401 w 2543651"/>
                <a:gd name="connsiteY9" fmla="*/ 124778 h 3852862"/>
                <a:gd name="connsiteX10" fmla="*/ 2418636 w 2543651"/>
                <a:gd name="connsiteY10" fmla="*/ 1624013 h 3852862"/>
                <a:gd name="connsiteX11" fmla="*/ 2418636 w 2543651"/>
                <a:gd name="connsiteY11" fmla="*/ 2227898 h 3852862"/>
                <a:gd name="connsiteX12" fmla="*/ 918448 w 2543651"/>
                <a:gd name="connsiteY12" fmla="*/ 3728085 h 3852862"/>
                <a:gd name="connsiteX13" fmla="*/ 616506 w 2543651"/>
                <a:gd name="connsiteY13" fmla="*/ 3852863 h 3852862"/>
                <a:gd name="connsiteX14" fmla="*/ 616506 w 2543651"/>
                <a:gd name="connsiteY14" fmla="*/ 195262 h 3852862"/>
                <a:gd name="connsiteX15" fmla="*/ 452676 w 2543651"/>
                <a:gd name="connsiteY15" fmla="*/ 262890 h 3852862"/>
                <a:gd name="connsiteX16" fmla="*/ 263128 w 2543651"/>
                <a:gd name="connsiteY16" fmla="*/ 452437 h 3852862"/>
                <a:gd name="connsiteX17" fmla="*/ 263128 w 2543651"/>
                <a:gd name="connsiteY17" fmla="*/ 780098 h 3852862"/>
                <a:gd name="connsiteX18" fmla="*/ 1340406 w 2543651"/>
                <a:gd name="connsiteY18" fmla="*/ 1857375 h 3852862"/>
                <a:gd name="connsiteX19" fmla="*/ 1340406 w 2543651"/>
                <a:gd name="connsiteY19" fmla="*/ 1995488 h 3852862"/>
                <a:gd name="connsiteX20" fmla="*/ 263128 w 2543651"/>
                <a:gd name="connsiteY20" fmla="*/ 3072765 h 3852862"/>
                <a:gd name="connsiteX21" fmla="*/ 263128 w 2543651"/>
                <a:gd name="connsiteY21" fmla="*/ 3400425 h 3852862"/>
                <a:gd name="connsiteX22" fmla="*/ 452676 w 2543651"/>
                <a:gd name="connsiteY22" fmla="*/ 3589973 h 3852862"/>
                <a:gd name="connsiteX23" fmla="*/ 616506 w 2543651"/>
                <a:gd name="connsiteY23" fmla="*/ 3657600 h 3852862"/>
                <a:gd name="connsiteX24" fmla="*/ 780336 w 2543651"/>
                <a:gd name="connsiteY24" fmla="*/ 3589973 h 3852862"/>
                <a:gd name="connsiteX25" fmla="*/ 2279571 w 2543651"/>
                <a:gd name="connsiteY25" fmla="*/ 2090738 h 3852862"/>
                <a:gd name="connsiteX26" fmla="*/ 2279571 w 2543651"/>
                <a:gd name="connsiteY26" fmla="*/ 1763078 h 3852862"/>
                <a:gd name="connsiteX27" fmla="*/ 780336 w 2543651"/>
                <a:gd name="connsiteY27" fmla="*/ 263843 h 3852862"/>
                <a:gd name="connsiteX28" fmla="*/ 616506 w 2543651"/>
                <a:gd name="connsiteY28" fmla="*/ 195262 h 385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43651" h="3852862">
                  <a:moveTo>
                    <a:pt x="616506" y="3852863"/>
                  </a:moveTo>
                  <a:cubicBezTo>
                    <a:pt x="502206" y="3852863"/>
                    <a:pt x="395526" y="3808095"/>
                    <a:pt x="314563" y="3728085"/>
                  </a:cubicBezTo>
                  <a:lnTo>
                    <a:pt x="125016" y="3538538"/>
                  </a:lnTo>
                  <a:cubicBezTo>
                    <a:pt x="-41672" y="3371850"/>
                    <a:pt x="-41672" y="3101340"/>
                    <a:pt x="125016" y="2934653"/>
                  </a:cubicBezTo>
                  <a:lnTo>
                    <a:pt x="1133713" y="1926908"/>
                  </a:lnTo>
                  <a:lnTo>
                    <a:pt x="125968" y="918210"/>
                  </a:lnTo>
                  <a:cubicBezTo>
                    <a:pt x="-40719" y="751523"/>
                    <a:pt x="-40719" y="481012"/>
                    <a:pt x="125968" y="314325"/>
                  </a:cubicBezTo>
                  <a:lnTo>
                    <a:pt x="315516" y="124778"/>
                  </a:lnTo>
                  <a:cubicBezTo>
                    <a:pt x="396478" y="43815"/>
                    <a:pt x="503158" y="0"/>
                    <a:pt x="617458" y="0"/>
                  </a:cubicBezTo>
                  <a:cubicBezTo>
                    <a:pt x="731758" y="0"/>
                    <a:pt x="838438" y="44768"/>
                    <a:pt x="919401" y="124778"/>
                  </a:cubicBezTo>
                  <a:lnTo>
                    <a:pt x="2418636" y="1624013"/>
                  </a:lnTo>
                  <a:cubicBezTo>
                    <a:pt x="2585323" y="1790700"/>
                    <a:pt x="2585323" y="2061210"/>
                    <a:pt x="2418636" y="2227898"/>
                  </a:cubicBezTo>
                  <a:lnTo>
                    <a:pt x="918448" y="3728085"/>
                  </a:lnTo>
                  <a:cubicBezTo>
                    <a:pt x="838438" y="3809048"/>
                    <a:pt x="730806" y="3852863"/>
                    <a:pt x="616506" y="3852863"/>
                  </a:cubicBezTo>
                  <a:close/>
                  <a:moveTo>
                    <a:pt x="616506" y="195262"/>
                  </a:moveTo>
                  <a:cubicBezTo>
                    <a:pt x="554593" y="195262"/>
                    <a:pt x="496491" y="219075"/>
                    <a:pt x="452676" y="262890"/>
                  </a:cubicBezTo>
                  <a:lnTo>
                    <a:pt x="263128" y="452437"/>
                  </a:lnTo>
                  <a:cubicBezTo>
                    <a:pt x="172641" y="542925"/>
                    <a:pt x="172641" y="689610"/>
                    <a:pt x="263128" y="780098"/>
                  </a:cubicBezTo>
                  <a:lnTo>
                    <a:pt x="1340406" y="1857375"/>
                  </a:lnTo>
                  <a:cubicBezTo>
                    <a:pt x="1378506" y="1895475"/>
                    <a:pt x="1378506" y="1957388"/>
                    <a:pt x="1340406" y="1995488"/>
                  </a:cubicBezTo>
                  <a:lnTo>
                    <a:pt x="263128" y="3072765"/>
                  </a:lnTo>
                  <a:cubicBezTo>
                    <a:pt x="172641" y="3163253"/>
                    <a:pt x="172641" y="3309938"/>
                    <a:pt x="263128" y="3400425"/>
                  </a:cubicBezTo>
                  <a:lnTo>
                    <a:pt x="452676" y="3589973"/>
                  </a:lnTo>
                  <a:cubicBezTo>
                    <a:pt x="496491" y="3633788"/>
                    <a:pt x="554593" y="3657600"/>
                    <a:pt x="616506" y="3657600"/>
                  </a:cubicBezTo>
                  <a:cubicBezTo>
                    <a:pt x="678418" y="3657600"/>
                    <a:pt x="736521" y="3633788"/>
                    <a:pt x="780336" y="3589973"/>
                  </a:cubicBezTo>
                  <a:lnTo>
                    <a:pt x="2279571" y="2090738"/>
                  </a:lnTo>
                  <a:cubicBezTo>
                    <a:pt x="2370058" y="2000250"/>
                    <a:pt x="2370058" y="1853565"/>
                    <a:pt x="2279571" y="1763078"/>
                  </a:cubicBezTo>
                  <a:lnTo>
                    <a:pt x="780336" y="263843"/>
                  </a:lnTo>
                  <a:cubicBezTo>
                    <a:pt x="736521" y="220028"/>
                    <a:pt x="678418" y="195262"/>
                    <a:pt x="616506" y="19526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5" name="Rectangle 24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1ACAFC7E-7A76-1EB7-3965-246653433FB7}"/>
              </a:ext>
            </a:extLst>
          </p:cNvPr>
          <p:cNvSpPr/>
          <p:nvPr/>
        </p:nvSpPr>
        <p:spPr>
          <a:xfrm>
            <a:off x="11781813" y="3216826"/>
            <a:ext cx="367941" cy="412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28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3D3E306E-FA79-7729-C34C-99E983957CF0}"/>
              </a:ext>
            </a:extLst>
          </p:cNvPr>
          <p:cNvSpPr/>
          <p:nvPr/>
        </p:nvSpPr>
        <p:spPr>
          <a:xfrm>
            <a:off x="33761" y="3216826"/>
            <a:ext cx="367941" cy="412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1B6B9E82-2DA7-D805-4005-4334A358F88A}"/>
              </a:ext>
            </a:extLst>
          </p:cNvPr>
          <p:cNvGrpSpPr/>
          <p:nvPr/>
        </p:nvGrpSpPr>
        <p:grpSpPr>
          <a:xfrm>
            <a:off x="11370735" y="238192"/>
            <a:ext cx="423331" cy="423331"/>
            <a:chOff x="8501571" y="159769"/>
            <a:chExt cx="357756" cy="357756"/>
          </a:xfrm>
        </p:grpSpPr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A6311623-C37D-7701-6F5E-0F0F5994CDE6}"/>
                </a:ext>
              </a:extLst>
            </p:cNvPr>
            <p:cNvSpPr/>
            <p:nvPr userDrawn="1"/>
          </p:nvSpPr>
          <p:spPr>
            <a:xfrm>
              <a:off x="8501571" y="159769"/>
              <a:ext cx="357756" cy="3577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7F95BE8-723F-5685-839A-353093151F1A}"/>
                </a:ext>
              </a:extLst>
            </p:cNvPr>
            <p:cNvCxnSpPr/>
            <p:nvPr userDrawn="1"/>
          </p:nvCxnSpPr>
          <p:spPr>
            <a:xfrm>
              <a:off x="8566150" y="342900"/>
              <a:ext cx="241300" cy="0"/>
            </a:xfrm>
            <a:prstGeom prst="line">
              <a:avLst/>
            </a:prstGeom>
            <a:ln w="38100" cap="rnd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5DA144F6-BA12-8624-B67F-228725CA6DB6}"/>
                </a:ext>
              </a:extLst>
            </p:cNvPr>
            <p:cNvCxnSpPr/>
            <p:nvPr userDrawn="1"/>
          </p:nvCxnSpPr>
          <p:spPr>
            <a:xfrm>
              <a:off x="8566150" y="275420"/>
              <a:ext cx="241300" cy="0"/>
            </a:xfrm>
            <a:prstGeom prst="line">
              <a:avLst/>
            </a:prstGeom>
            <a:ln w="38100" cap="rnd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54CC8072-9614-49A5-FBDA-12EEE44C5258}"/>
                </a:ext>
              </a:extLst>
            </p:cNvPr>
            <p:cNvCxnSpPr/>
            <p:nvPr userDrawn="1"/>
          </p:nvCxnSpPr>
          <p:spPr>
            <a:xfrm>
              <a:off x="8566150" y="410380"/>
              <a:ext cx="241300" cy="0"/>
            </a:xfrm>
            <a:prstGeom prst="line">
              <a:avLst/>
            </a:prstGeom>
            <a:ln w="38100" cap="rnd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3" name="Rectangle 132">
            <a:extLst>
              <a:ext uri="{FF2B5EF4-FFF2-40B4-BE49-F238E27FC236}">
                <a16:creationId xmlns:a16="http://schemas.microsoft.com/office/drawing/2014/main" id="{3C5AAF09-EDAA-D8CF-27A8-923F742766B5}"/>
              </a:ext>
            </a:extLst>
          </p:cNvPr>
          <p:cNvSpPr/>
          <p:nvPr/>
        </p:nvSpPr>
        <p:spPr>
          <a:xfrm>
            <a:off x="14495359" y="4573"/>
            <a:ext cx="3886047" cy="6858000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9F7E30B-61EA-E0E0-3182-348FCE38F284}"/>
              </a:ext>
            </a:extLst>
          </p:cNvPr>
          <p:cNvGrpSpPr/>
          <p:nvPr/>
        </p:nvGrpSpPr>
        <p:grpSpPr>
          <a:xfrm>
            <a:off x="14927289" y="3197493"/>
            <a:ext cx="3150769" cy="1006217"/>
            <a:chOff x="6370197" y="2300694"/>
            <a:chExt cx="5045403" cy="1006217"/>
          </a:xfrm>
        </p:grpSpPr>
        <p:sp>
          <p:nvSpPr>
            <p:cNvPr id="135" name="TextBox 134">
              <a:hlinkClick r:id="rId7" action="ppaction://hlinksldjump"/>
              <a:extLst>
                <a:ext uri="{FF2B5EF4-FFF2-40B4-BE49-F238E27FC236}">
                  <a16:creationId xmlns:a16="http://schemas.microsoft.com/office/drawing/2014/main" id="{F70F6A80-3B5E-AF65-728D-962BD7F1DF13}"/>
                </a:ext>
              </a:extLst>
            </p:cNvPr>
            <p:cNvSpPr txBox="1"/>
            <p:nvPr/>
          </p:nvSpPr>
          <p:spPr>
            <a:xfrm>
              <a:off x="6370197" y="2300694"/>
              <a:ext cx="1984236" cy="30777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reatment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6" name="TextBox 26, chunk 2">
              <a:hlinkClick r:id="rId8" action="ppaction://hlinksldjump"/>
              <a:extLst>
                <a:ext uri="{FF2B5EF4-FFF2-40B4-BE49-F238E27FC236}">
                  <a16:creationId xmlns:a16="http://schemas.microsoft.com/office/drawing/2014/main" id="{DC91349A-DFC6-AAA4-BC78-0C0684C2F787}"/>
                </a:ext>
              </a:extLst>
            </p:cNvPr>
            <p:cNvSpPr txBox="1"/>
            <p:nvPr/>
          </p:nvSpPr>
          <p:spPr>
            <a:xfrm>
              <a:off x="6512436" y="2716471"/>
              <a:ext cx="4345808" cy="169277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ESMO guidance for the treatment of mCRC</a:t>
              </a:r>
            </a:p>
          </p:txBody>
        </p:sp>
        <p:sp>
          <p:nvSpPr>
            <p:cNvPr id="137" name="TextBox 26, chunk 2">
              <a:hlinkClick r:id="rId9" action="ppaction://hlinksldjump"/>
              <a:extLst>
                <a:ext uri="{FF2B5EF4-FFF2-40B4-BE49-F238E27FC236}">
                  <a16:creationId xmlns:a16="http://schemas.microsoft.com/office/drawing/2014/main" id="{3D352BB5-B213-1370-AAF7-505080673F85}"/>
                </a:ext>
              </a:extLst>
            </p:cNvPr>
            <p:cNvSpPr txBox="1"/>
            <p:nvPr/>
          </p:nvSpPr>
          <p:spPr>
            <a:xfrm>
              <a:off x="6512438" y="2968357"/>
              <a:ext cx="4903162" cy="338554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European expert panel guidance for the treatment of BRAFV600E-mutant mCRC</a:t>
              </a:r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B43C6167-4EEB-6F59-FDB9-940715278B2F}"/>
              </a:ext>
            </a:extLst>
          </p:cNvPr>
          <p:cNvGrpSpPr/>
          <p:nvPr/>
        </p:nvGrpSpPr>
        <p:grpSpPr>
          <a:xfrm>
            <a:off x="14927289" y="2601101"/>
            <a:ext cx="2106346" cy="307777"/>
            <a:chOff x="6370197" y="3962379"/>
            <a:chExt cx="3372946" cy="307777"/>
          </a:xfrm>
        </p:grpSpPr>
        <p:sp>
          <p:nvSpPr>
            <p:cNvPr id="139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D57C2E23-445D-4A67-B137-538018EF8AA9}"/>
                </a:ext>
              </a:extLst>
            </p:cNvPr>
            <p:cNvSpPr txBox="1"/>
            <p:nvPr/>
          </p:nvSpPr>
          <p:spPr>
            <a:xfrm>
              <a:off x="6512436" y="4014527"/>
              <a:ext cx="184819" cy="169277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   </a:t>
              </a:r>
            </a:p>
          </p:txBody>
        </p:sp>
        <p:sp>
          <p:nvSpPr>
            <p:cNvPr id="140" name="TextBox 139">
              <a:hlinkClick r:id="rId4" action="ppaction://hlinksldjump"/>
              <a:extLst>
                <a:ext uri="{FF2B5EF4-FFF2-40B4-BE49-F238E27FC236}">
                  <a16:creationId xmlns:a16="http://schemas.microsoft.com/office/drawing/2014/main" id="{A7D0F7AD-D964-050E-26D6-4A84F7D4E825}"/>
                </a:ext>
              </a:extLst>
            </p:cNvPr>
            <p:cNvSpPr txBox="1"/>
            <p:nvPr/>
          </p:nvSpPr>
          <p:spPr>
            <a:xfrm>
              <a:off x="6370197" y="3962379"/>
              <a:ext cx="3372946" cy="30777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olecular testing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ACA11303-A846-6638-3C4D-B76D7F909B7C}"/>
              </a:ext>
            </a:extLst>
          </p:cNvPr>
          <p:cNvGrpSpPr/>
          <p:nvPr/>
        </p:nvGrpSpPr>
        <p:grpSpPr>
          <a:xfrm>
            <a:off x="14927286" y="4492325"/>
            <a:ext cx="3246763" cy="307777"/>
            <a:chOff x="6370196" y="5232186"/>
            <a:chExt cx="3246763" cy="307777"/>
          </a:xfrm>
        </p:grpSpPr>
        <p:sp>
          <p:nvSpPr>
            <p:cNvPr id="142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99CB933B-5E9D-C211-6BB8-7E43AFFBDB6B}"/>
                </a:ext>
              </a:extLst>
            </p:cNvPr>
            <p:cNvSpPr txBox="1"/>
            <p:nvPr/>
          </p:nvSpPr>
          <p:spPr>
            <a:xfrm>
              <a:off x="6512437" y="5301435"/>
              <a:ext cx="1142943" cy="169277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43" name="TextBox 142">
              <a:hlinkClick r:id="" action="ppaction://noaction"/>
              <a:extLst>
                <a:ext uri="{FF2B5EF4-FFF2-40B4-BE49-F238E27FC236}">
                  <a16:creationId xmlns:a16="http://schemas.microsoft.com/office/drawing/2014/main" id="{72A73C1C-64A3-AD4E-D3D1-F071F0C80C4F}"/>
                </a:ext>
              </a:extLst>
            </p:cNvPr>
            <p:cNvSpPr txBox="1"/>
            <p:nvPr/>
          </p:nvSpPr>
          <p:spPr>
            <a:xfrm>
              <a:off x="6370196" y="5232186"/>
              <a:ext cx="324676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ollow-up &amp; survivorship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3F2869C9-F20C-449B-8897-8E6B2FB96A35}"/>
              </a:ext>
            </a:extLst>
          </p:cNvPr>
          <p:cNvGrpSpPr/>
          <p:nvPr/>
        </p:nvGrpSpPr>
        <p:grpSpPr>
          <a:xfrm>
            <a:off x="14850659" y="487315"/>
            <a:ext cx="974311" cy="444045"/>
            <a:chOff x="6198682" y="635060"/>
            <a:chExt cx="974311" cy="444045"/>
          </a:xfrm>
        </p:grpSpPr>
        <p:sp>
          <p:nvSpPr>
            <p:cNvPr id="145" name="TextBox 144">
              <a:hlinkClick r:id="rId10" action="ppaction://hlinksldjump"/>
              <a:extLst>
                <a:ext uri="{FF2B5EF4-FFF2-40B4-BE49-F238E27FC236}">
                  <a16:creationId xmlns:a16="http://schemas.microsoft.com/office/drawing/2014/main" id="{01BF6FB4-BFAA-7312-057D-F4C7BFDFAC4E}"/>
                </a:ext>
              </a:extLst>
            </p:cNvPr>
            <p:cNvSpPr txBox="1"/>
            <p:nvPr/>
          </p:nvSpPr>
          <p:spPr>
            <a:xfrm>
              <a:off x="6695298" y="863661"/>
              <a:ext cx="477695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ome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46" name="Graphic 145">
              <a:hlinkClick r:id="rId10" action="ppaction://hlinksldjump"/>
              <a:extLst>
                <a:ext uri="{FF2B5EF4-FFF2-40B4-BE49-F238E27FC236}">
                  <a16:creationId xmlns:a16="http://schemas.microsoft.com/office/drawing/2014/main" id="{EC1E6548-D4D3-DB2D-AE3A-B9FD37C362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198682" y="635060"/>
              <a:ext cx="431761" cy="431761"/>
            </a:xfrm>
            <a:prstGeom prst="rect">
              <a:avLst/>
            </a:prstGeom>
          </p:spPr>
        </p:pic>
      </p:grpSp>
      <p:sp>
        <p:nvSpPr>
          <p:cNvPr id="147" name="Freeform 53">
            <a:extLst>
              <a:ext uri="{FF2B5EF4-FFF2-40B4-BE49-F238E27FC236}">
                <a16:creationId xmlns:a16="http://schemas.microsoft.com/office/drawing/2014/main" id="{7CFAFFD7-5998-ED74-A836-BC220A7BD188}"/>
              </a:ext>
            </a:extLst>
          </p:cNvPr>
          <p:cNvSpPr/>
          <p:nvPr/>
        </p:nvSpPr>
        <p:spPr>
          <a:xfrm rot="2700000">
            <a:off x="17611548" y="257149"/>
            <a:ext cx="330985" cy="330985"/>
          </a:xfrm>
          <a:custGeom>
            <a:avLst/>
            <a:gdLst>
              <a:gd name="connsiteX0" fmla="*/ 162000 w 324000"/>
              <a:gd name="connsiteY0" fmla="*/ 0 h 324000"/>
              <a:gd name="connsiteX1" fmla="*/ 180000 w 324000"/>
              <a:gd name="connsiteY1" fmla="*/ 18000 h 324000"/>
              <a:gd name="connsiteX2" fmla="*/ 180000 w 324000"/>
              <a:gd name="connsiteY2" fmla="*/ 144000 h 324000"/>
              <a:gd name="connsiteX3" fmla="*/ 306000 w 324000"/>
              <a:gd name="connsiteY3" fmla="*/ 144000 h 324000"/>
              <a:gd name="connsiteX4" fmla="*/ 324000 w 324000"/>
              <a:gd name="connsiteY4" fmla="*/ 162000 h 324000"/>
              <a:gd name="connsiteX5" fmla="*/ 306000 w 324000"/>
              <a:gd name="connsiteY5" fmla="*/ 180000 h 324000"/>
              <a:gd name="connsiteX6" fmla="*/ 180000 w 324000"/>
              <a:gd name="connsiteY6" fmla="*/ 180000 h 324000"/>
              <a:gd name="connsiteX7" fmla="*/ 180000 w 324000"/>
              <a:gd name="connsiteY7" fmla="*/ 306000 h 324000"/>
              <a:gd name="connsiteX8" fmla="*/ 162000 w 324000"/>
              <a:gd name="connsiteY8" fmla="*/ 324000 h 324000"/>
              <a:gd name="connsiteX9" fmla="*/ 144000 w 324000"/>
              <a:gd name="connsiteY9" fmla="*/ 306000 h 324000"/>
              <a:gd name="connsiteX10" fmla="*/ 144000 w 324000"/>
              <a:gd name="connsiteY10" fmla="*/ 180000 h 324000"/>
              <a:gd name="connsiteX11" fmla="*/ 18000 w 324000"/>
              <a:gd name="connsiteY11" fmla="*/ 180000 h 324000"/>
              <a:gd name="connsiteX12" fmla="*/ 0 w 324000"/>
              <a:gd name="connsiteY12" fmla="*/ 162000 h 324000"/>
              <a:gd name="connsiteX13" fmla="*/ 18000 w 324000"/>
              <a:gd name="connsiteY13" fmla="*/ 144000 h 324000"/>
              <a:gd name="connsiteX14" fmla="*/ 144000 w 324000"/>
              <a:gd name="connsiteY14" fmla="*/ 144000 h 324000"/>
              <a:gd name="connsiteX15" fmla="*/ 144000 w 324000"/>
              <a:gd name="connsiteY15" fmla="*/ 18000 h 324000"/>
              <a:gd name="connsiteX16" fmla="*/ 162000 w 324000"/>
              <a:gd name="connsiteY16" fmla="*/ 0 h 3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24000" h="324000">
                <a:moveTo>
                  <a:pt x="162000" y="0"/>
                </a:moveTo>
                <a:cubicBezTo>
                  <a:pt x="171941" y="0"/>
                  <a:pt x="180000" y="8059"/>
                  <a:pt x="180000" y="18000"/>
                </a:cubicBezTo>
                <a:lnTo>
                  <a:pt x="180000" y="144000"/>
                </a:lnTo>
                <a:lnTo>
                  <a:pt x="306000" y="144000"/>
                </a:lnTo>
                <a:cubicBezTo>
                  <a:pt x="315941" y="144000"/>
                  <a:pt x="324000" y="152059"/>
                  <a:pt x="324000" y="162000"/>
                </a:cubicBezTo>
                <a:cubicBezTo>
                  <a:pt x="324000" y="171941"/>
                  <a:pt x="315941" y="180000"/>
                  <a:pt x="306000" y="180000"/>
                </a:cubicBezTo>
                <a:lnTo>
                  <a:pt x="180000" y="180000"/>
                </a:lnTo>
                <a:lnTo>
                  <a:pt x="180000" y="306000"/>
                </a:lnTo>
                <a:cubicBezTo>
                  <a:pt x="180000" y="315941"/>
                  <a:pt x="171941" y="324000"/>
                  <a:pt x="162000" y="324000"/>
                </a:cubicBezTo>
                <a:cubicBezTo>
                  <a:pt x="152059" y="324000"/>
                  <a:pt x="144000" y="315941"/>
                  <a:pt x="144000" y="306000"/>
                </a:cubicBezTo>
                <a:lnTo>
                  <a:pt x="144000" y="180000"/>
                </a:lnTo>
                <a:lnTo>
                  <a:pt x="18000" y="180000"/>
                </a:lnTo>
                <a:cubicBezTo>
                  <a:pt x="8059" y="180000"/>
                  <a:pt x="0" y="171941"/>
                  <a:pt x="0" y="162000"/>
                </a:cubicBezTo>
                <a:cubicBezTo>
                  <a:pt x="0" y="152059"/>
                  <a:pt x="8059" y="144000"/>
                  <a:pt x="18000" y="144000"/>
                </a:cubicBezTo>
                <a:lnTo>
                  <a:pt x="144000" y="144000"/>
                </a:lnTo>
                <a:lnTo>
                  <a:pt x="144000" y="18000"/>
                </a:lnTo>
                <a:cubicBezTo>
                  <a:pt x="144000" y="8059"/>
                  <a:pt x="152059" y="0"/>
                  <a:pt x="162000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Triangle 5">
            <a:extLst>
              <a:ext uri="{FF2B5EF4-FFF2-40B4-BE49-F238E27FC236}">
                <a16:creationId xmlns:a16="http://schemas.microsoft.com/office/drawing/2014/main" id="{64332F32-6183-D80C-E2C1-ABA0ED56ACF5}"/>
              </a:ext>
            </a:extLst>
          </p:cNvPr>
          <p:cNvSpPr/>
          <p:nvPr/>
        </p:nvSpPr>
        <p:spPr>
          <a:xfrm rot="5400000">
            <a:off x="14811018" y="3653398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ADA73143-5A75-5A5E-8DE0-C7717A270E87}"/>
              </a:ext>
            </a:extLst>
          </p:cNvPr>
          <p:cNvGrpSpPr/>
          <p:nvPr/>
        </p:nvGrpSpPr>
        <p:grpSpPr>
          <a:xfrm>
            <a:off x="12545015" y="3313834"/>
            <a:ext cx="2431425" cy="475588"/>
            <a:chOff x="4572000" y="1813393"/>
            <a:chExt cx="1823569" cy="356691"/>
          </a:xfrm>
        </p:grpSpPr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8F9BF523-3820-8C66-F5CF-F467ACC12B89}"/>
                </a:ext>
              </a:extLst>
            </p:cNvPr>
            <p:cNvGrpSpPr/>
            <p:nvPr/>
          </p:nvGrpSpPr>
          <p:grpSpPr>
            <a:xfrm>
              <a:off x="4572000" y="1813393"/>
              <a:ext cx="1823569" cy="356691"/>
              <a:chOff x="4572000" y="1813393"/>
              <a:chExt cx="1823569" cy="356691"/>
            </a:xfrm>
            <a:solidFill>
              <a:schemeClr val="accent2">
                <a:lumMod val="75000"/>
                <a:alpha val="90000"/>
              </a:schemeClr>
            </a:solidFill>
          </p:grpSpPr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51EC6EC9-CAF8-7A35-6747-BB571915F044}"/>
                  </a:ext>
                </a:extLst>
              </p:cNvPr>
              <p:cNvSpPr/>
              <p:nvPr/>
            </p:nvSpPr>
            <p:spPr>
              <a:xfrm>
                <a:off x="4572000" y="1813393"/>
                <a:ext cx="1661570" cy="356691"/>
              </a:xfrm>
              <a:prstGeom prst="rect">
                <a:avLst/>
              </a:prstGeom>
              <a:solidFill>
                <a:schemeClr val="tx2">
                  <a:lumMod val="50000"/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55" name="Round Same-side Corner of Rectangle 139">
                <a:extLst>
                  <a:ext uri="{FF2B5EF4-FFF2-40B4-BE49-F238E27FC236}">
                    <a16:creationId xmlns:a16="http://schemas.microsoft.com/office/drawing/2014/main" id="{DCB57621-5276-5538-965E-D74BBB7A204A}"/>
                  </a:ext>
                </a:extLst>
              </p:cNvPr>
              <p:cNvSpPr/>
              <p:nvPr/>
            </p:nvSpPr>
            <p:spPr>
              <a:xfrm rot="5400000">
                <a:off x="6233569" y="2008084"/>
                <a:ext cx="162000" cy="162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82AD7FF7-0263-9C70-23BD-DA5CA93DBF41}"/>
                </a:ext>
              </a:extLst>
            </p:cNvPr>
            <p:cNvGrpSpPr/>
            <p:nvPr/>
          </p:nvGrpSpPr>
          <p:grpSpPr>
            <a:xfrm>
              <a:off x="4685641" y="1866260"/>
              <a:ext cx="1434287" cy="256326"/>
              <a:chOff x="6338520" y="2037143"/>
              <a:chExt cx="3062350" cy="341769"/>
            </a:xfrm>
          </p:grpSpPr>
          <p:sp>
            <p:nvSpPr>
              <p:cNvPr id="152" name="TextBox 26, chunk 2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C37069FF-C0B6-5C7E-CE42-655B4D706A36}"/>
                  </a:ext>
                </a:extLst>
              </p:cNvPr>
              <p:cNvSpPr txBox="1"/>
              <p:nvPr/>
            </p:nvSpPr>
            <p:spPr>
              <a:xfrm>
                <a:off x="6338520" y="2037143"/>
                <a:ext cx="1973971" cy="143886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Resectable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 disease</a:t>
                </a:r>
              </a:p>
            </p:txBody>
          </p:sp>
          <p:sp>
            <p:nvSpPr>
              <p:cNvPr id="153" name="TextBox 26, chunk 2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45652DF2-5F78-888D-B2D3-9B4294846824}"/>
                  </a:ext>
                </a:extLst>
              </p:cNvPr>
              <p:cNvSpPr txBox="1"/>
              <p:nvPr/>
            </p:nvSpPr>
            <p:spPr>
              <a:xfrm>
                <a:off x="6338520" y="2235026"/>
                <a:ext cx="3062350" cy="143886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Unresectable stage IV disease</a:t>
                </a:r>
              </a:p>
            </p:txBody>
          </p:sp>
        </p:grpSp>
      </p:grpSp>
      <p:sp>
        <p:nvSpPr>
          <p:cNvPr id="156" name="Triangle 5">
            <a:extLst>
              <a:ext uri="{FF2B5EF4-FFF2-40B4-BE49-F238E27FC236}">
                <a16:creationId xmlns:a16="http://schemas.microsoft.com/office/drawing/2014/main" id="{B7105C7B-A0A0-B8AD-939A-5010FD63555B}"/>
              </a:ext>
            </a:extLst>
          </p:cNvPr>
          <p:cNvSpPr/>
          <p:nvPr/>
        </p:nvSpPr>
        <p:spPr>
          <a:xfrm rot="16200000">
            <a:off x="14811619" y="3653286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6B3F9A0A-C0B4-940F-D92E-09EB3F477F68}"/>
              </a:ext>
            </a:extLst>
          </p:cNvPr>
          <p:cNvGrpSpPr/>
          <p:nvPr/>
        </p:nvGrpSpPr>
        <p:grpSpPr>
          <a:xfrm>
            <a:off x="14927285" y="1450153"/>
            <a:ext cx="2256082" cy="862333"/>
            <a:chOff x="10988323" y="909210"/>
            <a:chExt cx="1692062" cy="646749"/>
          </a:xfrm>
        </p:grpSpPr>
        <p:sp>
          <p:nvSpPr>
            <p:cNvPr id="158" name="TextBox 157">
              <a:hlinkClick r:id="rId14" action="ppaction://hlinksldjump"/>
              <a:extLst>
                <a:ext uri="{FF2B5EF4-FFF2-40B4-BE49-F238E27FC236}">
                  <a16:creationId xmlns:a16="http://schemas.microsoft.com/office/drawing/2014/main" id="{6DBC175F-DBD3-F832-FDE1-62371B03F67E}"/>
                </a:ext>
              </a:extLst>
            </p:cNvPr>
            <p:cNvSpPr txBox="1"/>
            <p:nvPr/>
          </p:nvSpPr>
          <p:spPr>
            <a:xfrm>
              <a:off x="10988323" y="909210"/>
              <a:ext cx="1197443" cy="230833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thodology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9" name="TextBox 26, chunk 2">
              <a:hlinkClick r:id="rId15" action="ppaction://hlinksldjump"/>
              <a:extLst>
                <a:ext uri="{FF2B5EF4-FFF2-40B4-BE49-F238E27FC236}">
                  <a16:creationId xmlns:a16="http://schemas.microsoft.com/office/drawing/2014/main" id="{D5A5F367-A3C7-9F96-56DD-6FCCC496C731}"/>
                </a:ext>
              </a:extLst>
            </p:cNvPr>
            <p:cNvSpPr txBox="1"/>
            <p:nvPr/>
          </p:nvSpPr>
          <p:spPr>
            <a:xfrm>
              <a:off x="11054940" y="1221043"/>
              <a:ext cx="1625445" cy="126958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ESMO Clinical Practice Guidelines</a:t>
              </a:r>
            </a:p>
          </p:txBody>
        </p:sp>
        <p:sp>
          <p:nvSpPr>
            <p:cNvPr id="160" name="TextBox 26, chunk 2">
              <a:hlinkClick r:id="rId14" action="ppaction://hlinksldjump"/>
              <a:extLst>
                <a:ext uri="{FF2B5EF4-FFF2-40B4-BE49-F238E27FC236}">
                  <a16:creationId xmlns:a16="http://schemas.microsoft.com/office/drawing/2014/main" id="{25458407-CC71-916B-D4CC-16627A166516}"/>
                </a:ext>
              </a:extLst>
            </p:cNvPr>
            <p:cNvSpPr txBox="1"/>
            <p:nvPr/>
          </p:nvSpPr>
          <p:spPr>
            <a:xfrm>
              <a:off x="11054940" y="1429001"/>
              <a:ext cx="1605007" cy="126958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kern="0"/>
              </a:defPPr>
              <a:lvl1pPr>
                <a:lnSpc>
                  <a:spcPct val="85000"/>
                </a:lnSpc>
                <a:defRPr sz="825" kern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uropean expert panel consensus</a:t>
              </a:r>
            </a:p>
          </p:txBody>
        </p:sp>
      </p:grpSp>
      <p:sp>
        <p:nvSpPr>
          <p:cNvPr id="161" name="Triangle 5">
            <a:extLst>
              <a:ext uri="{FF2B5EF4-FFF2-40B4-BE49-F238E27FC236}">
                <a16:creationId xmlns:a16="http://schemas.microsoft.com/office/drawing/2014/main" id="{71C2039B-D103-9B03-E3E6-CCDD66A04E55}"/>
              </a:ext>
            </a:extLst>
          </p:cNvPr>
          <p:cNvSpPr/>
          <p:nvPr/>
        </p:nvSpPr>
        <p:spPr>
          <a:xfrm rot="5400000">
            <a:off x="14811018" y="3910346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9060BCAB-C69C-116C-9E32-6C65BA3E79CB}"/>
              </a:ext>
            </a:extLst>
          </p:cNvPr>
          <p:cNvGrpSpPr/>
          <p:nvPr/>
        </p:nvGrpSpPr>
        <p:grpSpPr>
          <a:xfrm>
            <a:off x="12545016" y="3829821"/>
            <a:ext cx="2432044" cy="475588"/>
            <a:chOff x="4572000" y="1990638"/>
            <a:chExt cx="1824033" cy="356691"/>
          </a:xfrm>
        </p:grpSpPr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B1ACFC84-875D-5153-C95C-B8FD206BC6ED}"/>
                </a:ext>
              </a:extLst>
            </p:cNvPr>
            <p:cNvGrpSpPr/>
            <p:nvPr/>
          </p:nvGrpSpPr>
          <p:grpSpPr>
            <a:xfrm>
              <a:off x="4572000" y="1990638"/>
              <a:ext cx="1824033" cy="356691"/>
              <a:chOff x="4572000" y="1990638"/>
              <a:chExt cx="1824033" cy="356691"/>
            </a:xfrm>
            <a:solidFill>
              <a:schemeClr val="accent2">
                <a:lumMod val="75000"/>
                <a:alpha val="90000"/>
              </a:schemeClr>
            </a:solidFill>
          </p:grpSpPr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76D010E9-F50C-225F-FB19-B3B5584ECB74}"/>
                  </a:ext>
                </a:extLst>
              </p:cNvPr>
              <p:cNvSpPr/>
              <p:nvPr/>
            </p:nvSpPr>
            <p:spPr>
              <a:xfrm>
                <a:off x="4572000" y="1990638"/>
                <a:ext cx="1661570" cy="356691"/>
              </a:xfrm>
              <a:prstGeom prst="rect">
                <a:avLst/>
              </a:prstGeom>
              <a:solidFill>
                <a:schemeClr val="tx2">
                  <a:lumMod val="50000"/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68" name="Round Same-side Corner of Rectangle 164">
                <a:extLst>
                  <a:ext uri="{FF2B5EF4-FFF2-40B4-BE49-F238E27FC236}">
                    <a16:creationId xmlns:a16="http://schemas.microsoft.com/office/drawing/2014/main" id="{1270CCF8-9380-E70D-0151-8C56DA86780E}"/>
                  </a:ext>
                </a:extLst>
              </p:cNvPr>
              <p:cNvSpPr/>
              <p:nvPr/>
            </p:nvSpPr>
            <p:spPr>
              <a:xfrm rot="5400000">
                <a:off x="6234033" y="1990638"/>
                <a:ext cx="162000" cy="162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C1C44C09-690B-2142-185D-B9EA80E92016}"/>
                </a:ext>
              </a:extLst>
            </p:cNvPr>
            <p:cNvGrpSpPr/>
            <p:nvPr/>
          </p:nvGrpSpPr>
          <p:grpSpPr>
            <a:xfrm>
              <a:off x="4685640" y="2045170"/>
              <a:ext cx="1051971" cy="257735"/>
              <a:chOff x="6338520" y="2275666"/>
              <a:chExt cx="2246067" cy="343644"/>
            </a:xfrm>
          </p:grpSpPr>
          <p:sp>
            <p:nvSpPr>
              <p:cNvPr id="165" name="TextBox 26, chunk 2">
                <a:hlinkClick r:id="rId16" action="ppaction://hlinksldjump"/>
                <a:extLst>
                  <a:ext uri="{FF2B5EF4-FFF2-40B4-BE49-F238E27FC236}">
                    <a16:creationId xmlns:a16="http://schemas.microsoft.com/office/drawing/2014/main" id="{A43FA221-841A-F409-BBD7-B91436221C9F}"/>
                  </a:ext>
                </a:extLst>
              </p:cNvPr>
              <p:cNvSpPr txBox="1"/>
              <p:nvPr/>
            </p:nvSpPr>
            <p:spPr>
              <a:xfrm>
                <a:off x="6338520" y="2275666"/>
                <a:ext cx="2246067" cy="143885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Key recommendations</a:t>
                </a:r>
              </a:p>
            </p:txBody>
          </p:sp>
          <p:sp>
            <p:nvSpPr>
              <p:cNvPr id="166" name="TextBox 26, chunk 2">
                <a:hlinkClick r:id="rId17" action="ppaction://hlinksldjump"/>
                <a:extLst>
                  <a:ext uri="{FF2B5EF4-FFF2-40B4-BE49-F238E27FC236}">
                    <a16:creationId xmlns:a16="http://schemas.microsoft.com/office/drawing/2014/main" id="{C9111D65-5BDF-527F-8DDF-5F1FC5EF85C9}"/>
                  </a:ext>
                </a:extLst>
              </p:cNvPr>
              <p:cNvSpPr txBox="1"/>
              <p:nvPr/>
            </p:nvSpPr>
            <p:spPr>
              <a:xfrm>
                <a:off x="6338520" y="2475425"/>
                <a:ext cx="1732680" cy="143885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Patient scenarios</a:t>
                </a:r>
              </a:p>
            </p:txBody>
          </p:sp>
        </p:grpSp>
      </p:grpSp>
      <p:sp>
        <p:nvSpPr>
          <p:cNvPr id="169" name="Triangle 5">
            <a:extLst>
              <a:ext uri="{FF2B5EF4-FFF2-40B4-BE49-F238E27FC236}">
                <a16:creationId xmlns:a16="http://schemas.microsoft.com/office/drawing/2014/main" id="{03B5862E-9B0C-4DE3-2290-847567C24D06}"/>
              </a:ext>
            </a:extLst>
          </p:cNvPr>
          <p:cNvSpPr/>
          <p:nvPr/>
        </p:nvSpPr>
        <p:spPr>
          <a:xfrm rot="16200000">
            <a:off x="14811619" y="3910234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7BD3F798-FBB4-DD7F-6258-6ABAD27462A0}"/>
              </a:ext>
            </a:extLst>
          </p:cNvPr>
          <p:cNvGrpSpPr/>
          <p:nvPr/>
        </p:nvGrpSpPr>
        <p:grpSpPr>
          <a:xfrm>
            <a:off x="14927286" y="5088717"/>
            <a:ext cx="3246763" cy="307777"/>
            <a:chOff x="6370196" y="5232186"/>
            <a:chExt cx="3246763" cy="307777"/>
          </a:xfrm>
        </p:grpSpPr>
        <p:sp>
          <p:nvSpPr>
            <p:cNvPr id="171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BD93A01E-9CB6-93EE-2D7E-CCC80656C2CD}"/>
                </a:ext>
              </a:extLst>
            </p:cNvPr>
            <p:cNvSpPr txBox="1"/>
            <p:nvPr/>
          </p:nvSpPr>
          <p:spPr>
            <a:xfrm>
              <a:off x="6512437" y="5301435"/>
              <a:ext cx="1142943" cy="169277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72" name="TextBox 171">
              <a:hlinkClick r:id="rId18" action="ppaction://hlinksldjump"/>
              <a:extLst>
                <a:ext uri="{FF2B5EF4-FFF2-40B4-BE49-F238E27FC236}">
                  <a16:creationId xmlns:a16="http://schemas.microsoft.com/office/drawing/2014/main" id="{AFEB4FE8-39C7-26C2-5705-3F60735F856A}"/>
                </a:ext>
              </a:extLst>
            </p:cNvPr>
            <p:cNvSpPr txBox="1"/>
            <p:nvPr/>
          </p:nvSpPr>
          <p:spPr>
            <a:xfrm>
              <a:off x="6370196" y="5232186"/>
              <a:ext cx="324676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lossary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BF769E5F-FC58-8BAD-BEAF-8F1CE7BD9137}"/>
              </a:ext>
            </a:extLst>
          </p:cNvPr>
          <p:cNvGrpSpPr/>
          <p:nvPr/>
        </p:nvGrpSpPr>
        <p:grpSpPr>
          <a:xfrm>
            <a:off x="14927286" y="5685109"/>
            <a:ext cx="3246763" cy="307777"/>
            <a:chOff x="6370196" y="5232186"/>
            <a:chExt cx="3246763" cy="307777"/>
          </a:xfrm>
        </p:grpSpPr>
        <p:sp>
          <p:nvSpPr>
            <p:cNvPr id="174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D8D863B1-E842-530D-F20B-39778881A7A2}"/>
                </a:ext>
              </a:extLst>
            </p:cNvPr>
            <p:cNvSpPr txBox="1"/>
            <p:nvPr/>
          </p:nvSpPr>
          <p:spPr>
            <a:xfrm>
              <a:off x="6512437" y="5301435"/>
              <a:ext cx="1142943" cy="169277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75" name="TextBox 174">
              <a:hlinkClick r:id="rId19" action="ppaction://hlinksldjump"/>
              <a:extLst>
                <a:ext uri="{FF2B5EF4-FFF2-40B4-BE49-F238E27FC236}">
                  <a16:creationId xmlns:a16="http://schemas.microsoft.com/office/drawing/2014/main" id="{461BD3C8-E16E-F58D-4805-A2EB5C287E84}"/>
                </a:ext>
              </a:extLst>
            </p:cNvPr>
            <p:cNvSpPr txBox="1"/>
            <p:nvPr/>
          </p:nvSpPr>
          <p:spPr>
            <a:xfrm>
              <a:off x="6370196" y="5232186"/>
              <a:ext cx="324676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ferences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1943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4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2" repeatCount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1000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2" accel="50000" decel="5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1000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2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1000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2" accel="50000" decel="5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1000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1000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xit" presetSubtype="2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1000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3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" presetClass="exit" presetSubtype="2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9" dur="1000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2" presetClass="exit" presetSubtype="2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3" dur="1000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3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3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3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" presetClass="exit" presetSubtype="2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6" dur="1000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1000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" presetClass="exit" presetSubtype="2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0" dur="1000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1000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" presetClass="exit" presetSubtype="2" accel="50000" decel="5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4" dur="1000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1000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2" presetClass="exit" presetSubtype="2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8" dur="1000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1000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7"/>
                  </p:tgtEl>
                </p:cond>
              </p:nextCondLst>
            </p:seq>
            <p:seq concurrent="1" nextAc="seek">
              <p:cTn id="61" restart="whenNotActive" fill="hold" evtFilter="cancelBubble" nodeType="interactiveSeq">
                <p:stCondLst>
                  <p:cond evt="onClick" delay="0">
                    <p:tgtEl>
                      <p:spTgt spid="12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62" fill="hold">
                      <p:stCondLst>
                        <p:cond delay="0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-4.44444E-6 L -0.50612 -4.44444E-6 " pathEditMode="relative" rAng="0" ptsTypes="AA">
                                      <p:cBhvr>
                                        <p:cTn id="65" dur="2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13" y="0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35" presetClass="path" presetSubtype="0" accel="50000" decel="5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4.16667E-6 4.44444E-6 L -0.25 4.44444E-6 " pathEditMode="relative" rAng="0" ptsTypes="AA">
                                      <p:cBhvr>
                                        <p:cTn id="97" dur="20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0" y="0"/>
                                    </p:animMotion>
                                  </p:childTnLst>
                                </p:cTn>
                              </p:par>
                              <p:par>
                                <p:cTn id="98" presetID="35" presetClass="path" presetSubtype="0" accel="50000" decel="5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2.70833E-6 -2.22222E-6 L -0.50638 -2.22222E-6 " pathEditMode="relative" rAng="0" ptsTypes="AA">
                                      <p:cBhvr>
                                        <p:cTn id="99" dur="2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26" y="0"/>
                                    </p:animMotion>
                                  </p:childTnLst>
                                </p:cTn>
                              </p:par>
                              <p:par>
                                <p:cTn id="100" presetID="35" presetClass="path" presetSubtype="0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3.125E-6 4.44444E-6 L -0.50742 4.44444E-6 " pathEditMode="relative" rAng="0" ptsTypes="AA">
                                      <p:cBhvr>
                                        <p:cTn id="101" dur="2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78" y="0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35" presetClass="path" presetSubtype="0" accel="50000" decel="5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2.91667E-6 -3.7037E-7 L -0.50716 -3.7037E-7 " pathEditMode="relative" rAng="0" ptsTypes="AA">
                                      <p:cBhvr>
                                        <p:cTn id="103" dur="2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65" y="0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35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375E-6 -3.33333E-6 L -0.50586 -3.33333E-6 " pathEditMode="relative" rAng="0" ptsTypes="AA">
                                      <p:cBhvr>
                                        <p:cTn id="105" dur="2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35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16667E-6 -4.07407E-6 L -0.50573 -4.07407E-6 " pathEditMode="relative" rAng="0" ptsTypes="AA">
                                      <p:cBhvr>
                                        <p:cTn id="107" dur="2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86" y="0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35" presetClass="pat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1.11111E-6 L -0.50677 -1.11111E-6 " pathEditMode="relative" rAng="0" ptsTypes="AA">
                                      <p:cBhvr>
                                        <p:cTn id="109" dur="2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39" y="0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35" presetClass="pat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1.11111E-6 L -0.50677 -1.11111E-6 " pathEditMode="relative" rAng="0" ptsTypes="AA">
                                      <p:cBhvr>
                                        <p:cTn id="111" dur="20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39" y="0"/>
                                    </p:animMotion>
                                  </p:childTnLst>
                                </p:cTn>
                              </p:par>
                              <p:par>
                                <p:cTn id="112" presetID="35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16667E-6 4.44444E-6 L -0.50586 4.44444E-6 " pathEditMode="relative" rAng="0" ptsTypes="AA">
                                      <p:cBhvr>
                                        <p:cTn id="113" dur="20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35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0.00185 L -0.50612 -0.00185 " pathEditMode="relative" rAng="0" ptsTypes="AA">
                                      <p:cBhvr>
                                        <p:cTn id="115" dur="20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13" y="0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35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0.00185 L -0.50612 -0.00185 " pathEditMode="relative" rAng="0" ptsTypes="AA">
                                      <p:cBhvr>
                                        <p:cTn id="117" dur="20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13" y="0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35" presetClass="path" presetSubtype="0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875E-6 3.7037E-6 L -0.50586 3.7037E-6 " pathEditMode="relative" rAng="0" ptsTypes="AA">
                                      <p:cBhvr>
                                        <p:cTn id="119" dur="2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35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1.85185E-6 L -0.50586 -1.85185E-6 " pathEditMode="relative" rAng="0" ptsTypes="AA">
                                      <p:cBhvr>
                                        <p:cTn id="121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35" presetClass="path" presetSubtype="0" accel="50000" decel="5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1.875E-6 1.11111E-6 L -0.50586 1.11111E-6 " pathEditMode="relative" rAng="0" ptsTypes="AA">
                                      <p:cBhvr>
                                        <p:cTn id="123" dur="2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24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-4.07407E-6 L -0.50586 -4.07407E-6 " pathEditMode="relative" rAng="0" ptsTypes="AA">
                                      <p:cBhvr>
                                        <p:cTn id="125" dur="20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8"/>
                  </p:tgtEl>
                </p:cond>
              </p:nextCondLst>
            </p:seq>
            <p:seq concurrent="1" nextAc="seek">
              <p:cTn id="126" restart="whenNotActive" fill="hold" evtFilter="cancelBubble" nodeType="interactiveSeq">
                <p:stCondLst>
                  <p:cond evt="onClick" delay="0">
                    <p:tgtEl>
                      <p:spTgt spid="14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7" fill="hold">
                      <p:stCondLst>
                        <p:cond delay="0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1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8"/>
                  </p:tgtEl>
                </p:cond>
              </p:nextCondLst>
            </p:seq>
            <p:seq concurrent="1" nextAc="seek">
              <p:cTn id="138" restart="whenNotActive" fill="hold" evtFilter="cancelBubble" nodeType="interactiveSeq">
                <p:stCondLst>
                  <p:cond evt="onClick" delay="0">
                    <p:tgtEl>
                      <p:spTgt spid="15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9" fill="hold">
                      <p:stCondLst>
                        <p:cond delay="0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2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4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6"/>
                  </p:tgtEl>
                </p:cond>
              </p:nextCondLst>
            </p:seq>
            <p:seq concurrent="1" nextAc="seek">
              <p:cTn id="150" restart="whenNotActive" fill="hold" evtFilter="cancelBubble" nodeType="interactiveSeq">
                <p:stCondLst>
                  <p:cond evt="onClick" delay="0">
                    <p:tgtEl>
                      <p:spTgt spid="16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1" fill="hold">
                      <p:stCondLst>
                        <p:cond delay="0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5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7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1"/>
                  </p:tgtEl>
                </p:cond>
              </p:nextCondLst>
            </p:seq>
            <p:seq concurrent="1" nextAc="seek">
              <p:cTn id="162" restart="whenNotActive" fill="hold" evtFilter="cancelBubble" nodeType="interactiveSeq">
                <p:stCondLst>
                  <p:cond evt="onClick" delay="0">
                    <p:tgtEl>
                      <p:spTgt spid="16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3" fill="hold">
                      <p:stCondLst>
                        <p:cond delay="0"/>
                      </p:stCondLst>
                      <p:childTnLst>
                        <p:par>
                          <p:cTn id="164" fill="hold">
                            <p:stCondLst>
                              <p:cond delay="0"/>
                            </p:stCondLst>
                            <p:childTnLst>
                              <p:par>
                                <p:cTn id="165" presetID="2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66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9" dur="3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9"/>
                  </p:tgtEl>
                </p:cond>
              </p:nextCondLst>
            </p:seq>
          </p:childTnLst>
        </p:cTn>
      </p:par>
    </p:tnLst>
    <p:bldLst>
      <p:bldP spid="133" grpId="0" animBg="1"/>
      <p:bldP spid="133" grpId="1" animBg="1"/>
      <p:bldP spid="133" grpId="2" animBg="1"/>
      <p:bldP spid="147" grpId="0" animBg="1"/>
      <p:bldP spid="147" grpId="1" animBg="1"/>
      <p:bldP spid="147" grpId="2" animBg="1"/>
      <p:bldP spid="148" grpId="0" animBg="1"/>
      <p:bldP spid="148" grpId="1" animBg="1"/>
      <p:bldP spid="148" grpId="2" animBg="1"/>
      <p:bldP spid="148" grpId="3" animBg="1"/>
      <p:bldP spid="148" grpId="4" animBg="1"/>
      <p:bldP spid="156" grpId="0" animBg="1"/>
      <p:bldP spid="156" grpId="1" animBg="1"/>
      <p:bldP spid="156" grpId="2" animBg="1"/>
      <p:bldP spid="156" grpId="3" animBg="1"/>
      <p:bldP spid="158" grpId="0"/>
      <p:bldP spid="161" grpId="0" animBg="1"/>
      <p:bldP spid="161" grpId="1" animBg="1"/>
      <p:bldP spid="161" grpId="2" animBg="1"/>
      <p:bldP spid="161" grpId="3" animBg="1"/>
      <p:bldP spid="161" grpId="4" animBg="1"/>
      <p:bldP spid="169" grpId="0" animBg="1"/>
      <p:bldP spid="169" grpId="1" animBg="1"/>
      <p:bldP spid="169" grpId="2" animBg="1"/>
      <p:bldP spid="169" grpId="3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Round Same-side Corner of Rectangle 138">
            <a:extLst>
              <a:ext uri="{FF2B5EF4-FFF2-40B4-BE49-F238E27FC236}">
                <a16:creationId xmlns:a16="http://schemas.microsoft.com/office/drawing/2014/main" id="{967EF4BC-327A-561B-1A6E-E0481992FA4D}"/>
              </a:ext>
            </a:extLst>
          </p:cNvPr>
          <p:cNvSpPr/>
          <p:nvPr/>
        </p:nvSpPr>
        <p:spPr>
          <a:xfrm rot="10800000">
            <a:off x="532012" y="3988863"/>
            <a:ext cx="4153142" cy="1871999"/>
          </a:xfrm>
          <a:prstGeom prst="round2SameRect">
            <a:avLst>
              <a:gd name="adj1" fmla="val 6091"/>
              <a:gd name="adj2" fmla="val 0"/>
            </a:avLst>
          </a:prstGeom>
          <a:solidFill>
            <a:schemeClr val="tx2">
              <a:lumMod val="60000"/>
              <a:lumOff val="4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Round Same-side Corner of Rectangle 139">
            <a:extLst>
              <a:ext uri="{FF2B5EF4-FFF2-40B4-BE49-F238E27FC236}">
                <a16:creationId xmlns:a16="http://schemas.microsoft.com/office/drawing/2014/main" id="{909B986C-9B58-0E2B-D4A4-249DE0F5D38A}"/>
              </a:ext>
            </a:extLst>
          </p:cNvPr>
          <p:cNvSpPr/>
          <p:nvPr/>
        </p:nvSpPr>
        <p:spPr>
          <a:xfrm>
            <a:off x="532015" y="1340874"/>
            <a:ext cx="4153142" cy="1872000"/>
          </a:xfrm>
          <a:prstGeom prst="round2SameRect">
            <a:avLst>
              <a:gd name="adj1" fmla="val 6091"/>
              <a:gd name="adj2" fmla="val 0"/>
            </a:avLst>
          </a:prstGeom>
          <a:solidFill>
            <a:schemeClr val="accent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Round Same-side Corner of Rectangle 140">
            <a:extLst>
              <a:ext uri="{FF2B5EF4-FFF2-40B4-BE49-F238E27FC236}">
                <a16:creationId xmlns:a16="http://schemas.microsoft.com/office/drawing/2014/main" id="{986A64BE-D36E-2BC5-D78D-3F68C3F0E91B}"/>
              </a:ext>
            </a:extLst>
          </p:cNvPr>
          <p:cNvSpPr/>
          <p:nvPr/>
        </p:nvSpPr>
        <p:spPr>
          <a:xfrm rot="10800000">
            <a:off x="4746656" y="3988864"/>
            <a:ext cx="2053803" cy="1871999"/>
          </a:xfrm>
          <a:prstGeom prst="round2SameRect">
            <a:avLst>
              <a:gd name="adj1" fmla="val 6091"/>
              <a:gd name="adj2" fmla="val 0"/>
            </a:avLst>
          </a:prstGeom>
          <a:solidFill>
            <a:schemeClr val="tx2">
              <a:lumMod val="60000"/>
              <a:lumOff val="4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Round Same-side Corner of Rectangle 141">
            <a:extLst>
              <a:ext uri="{FF2B5EF4-FFF2-40B4-BE49-F238E27FC236}">
                <a16:creationId xmlns:a16="http://schemas.microsoft.com/office/drawing/2014/main" id="{E915C97C-76E5-9230-1A6D-EC747354A1CB}"/>
              </a:ext>
            </a:extLst>
          </p:cNvPr>
          <p:cNvSpPr/>
          <p:nvPr/>
        </p:nvSpPr>
        <p:spPr>
          <a:xfrm>
            <a:off x="4755408" y="1340874"/>
            <a:ext cx="2053803" cy="1872000"/>
          </a:xfrm>
          <a:prstGeom prst="round2SameRect">
            <a:avLst>
              <a:gd name="adj1" fmla="val 6091"/>
              <a:gd name="adj2" fmla="val 0"/>
            </a:avLst>
          </a:prstGeom>
          <a:solidFill>
            <a:schemeClr val="accent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Round Same-side Corner of Rectangle 142">
            <a:extLst>
              <a:ext uri="{FF2B5EF4-FFF2-40B4-BE49-F238E27FC236}">
                <a16:creationId xmlns:a16="http://schemas.microsoft.com/office/drawing/2014/main" id="{721E556C-A198-3CBC-F8FC-9C03B83F6E95}"/>
              </a:ext>
            </a:extLst>
          </p:cNvPr>
          <p:cNvSpPr/>
          <p:nvPr/>
        </p:nvSpPr>
        <p:spPr>
          <a:xfrm rot="10800000">
            <a:off x="6861961" y="3988864"/>
            <a:ext cx="2053803" cy="1871999"/>
          </a:xfrm>
          <a:prstGeom prst="round2SameRect">
            <a:avLst>
              <a:gd name="adj1" fmla="val 6091"/>
              <a:gd name="adj2" fmla="val 0"/>
            </a:avLst>
          </a:prstGeom>
          <a:solidFill>
            <a:schemeClr val="tx2">
              <a:lumMod val="60000"/>
              <a:lumOff val="4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Round Same-side Corner of Rectangle 143">
            <a:extLst>
              <a:ext uri="{FF2B5EF4-FFF2-40B4-BE49-F238E27FC236}">
                <a16:creationId xmlns:a16="http://schemas.microsoft.com/office/drawing/2014/main" id="{98A72F7A-7E48-29A6-07F1-E6314EA69C25}"/>
              </a:ext>
            </a:extLst>
          </p:cNvPr>
          <p:cNvSpPr/>
          <p:nvPr/>
        </p:nvSpPr>
        <p:spPr>
          <a:xfrm>
            <a:off x="6879462" y="1346494"/>
            <a:ext cx="2053803" cy="1866380"/>
          </a:xfrm>
          <a:prstGeom prst="round2SameRect">
            <a:avLst>
              <a:gd name="adj1" fmla="val 6091"/>
              <a:gd name="adj2" fmla="val 0"/>
            </a:avLst>
          </a:prstGeom>
          <a:solidFill>
            <a:schemeClr val="accent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3" name="Round Same-side Corner of Rectangle 142">
            <a:extLst>
              <a:ext uri="{FF2B5EF4-FFF2-40B4-BE49-F238E27FC236}">
                <a16:creationId xmlns:a16="http://schemas.microsoft.com/office/drawing/2014/main" id="{2DA76782-FAF3-20AC-CDAA-F85CE21627C9}"/>
              </a:ext>
            </a:extLst>
          </p:cNvPr>
          <p:cNvSpPr/>
          <p:nvPr/>
        </p:nvSpPr>
        <p:spPr>
          <a:xfrm rot="10800000">
            <a:off x="9003513" y="3983244"/>
            <a:ext cx="2053803" cy="1871999"/>
          </a:xfrm>
          <a:prstGeom prst="round2SameRect">
            <a:avLst>
              <a:gd name="adj1" fmla="val 6091"/>
              <a:gd name="adj2" fmla="val 0"/>
            </a:avLst>
          </a:prstGeom>
          <a:solidFill>
            <a:schemeClr val="tx2">
              <a:lumMod val="60000"/>
              <a:lumOff val="4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4" name="Round Same-side Corner of Rectangle 143">
            <a:extLst>
              <a:ext uri="{FF2B5EF4-FFF2-40B4-BE49-F238E27FC236}">
                <a16:creationId xmlns:a16="http://schemas.microsoft.com/office/drawing/2014/main" id="{C0136AB4-2701-3C59-AA7E-AC9F0B5FC7CE}"/>
              </a:ext>
            </a:extLst>
          </p:cNvPr>
          <p:cNvSpPr/>
          <p:nvPr/>
        </p:nvSpPr>
        <p:spPr>
          <a:xfrm>
            <a:off x="9003517" y="1340874"/>
            <a:ext cx="2053803" cy="1872000"/>
          </a:xfrm>
          <a:prstGeom prst="round2SameRect">
            <a:avLst>
              <a:gd name="adj1" fmla="val 6091"/>
              <a:gd name="adj2" fmla="val 0"/>
            </a:avLst>
          </a:prstGeom>
          <a:solidFill>
            <a:schemeClr val="accent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FB8A6D-78F0-9033-5FA9-A550FC1C0D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301" y="366184"/>
            <a:ext cx="11441237" cy="609600"/>
          </a:xfrm>
        </p:spPr>
        <p:txBody>
          <a:bodyPr/>
          <a:lstStyle/>
          <a:p>
            <a:r>
              <a:rPr lang="en-GB" sz="2400" noProof="0" dirty="0">
                <a:solidFill>
                  <a:schemeClr val="tx2"/>
                </a:solidFill>
              </a:rPr>
              <a:t>ESMO recommends broad molecular testing to guide clinical decision-making</a:t>
            </a:r>
            <a:r>
              <a:rPr lang="en-GB" sz="2400" baseline="30000" noProof="0" dirty="0">
                <a:solidFill>
                  <a:schemeClr val="tx2"/>
                </a:solidFill>
              </a:rPr>
              <a:t>1</a:t>
            </a:r>
            <a:endParaRPr lang="en-GB" noProof="0" dirty="0"/>
          </a:p>
        </p:txBody>
      </p:sp>
      <p:grpSp>
        <p:nvGrpSpPr>
          <p:cNvPr id="258" name="Group 257">
            <a:extLst>
              <a:ext uri="{FF2B5EF4-FFF2-40B4-BE49-F238E27FC236}">
                <a16:creationId xmlns:a16="http://schemas.microsoft.com/office/drawing/2014/main" id="{579A0BA4-4318-3D27-8DE6-5B2B69E44DAF}"/>
              </a:ext>
            </a:extLst>
          </p:cNvPr>
          <p:cNvGrpSpPr/>
          <p:nvPr/>
        </p:nvGrpSpPr>
        <p:grpSpPr>
          <a:xfrm>
            <a:off x="442913" y="2931675"/>
            <a:ext cx="11325017" cy="1345251"/>
            <a:chOff x="442913" y="2931675"/>
            <a:chExt cx="11325017" cy="1345251"/>
          </a:xfrm>
        </p:grpSpPr>
        <p:sp>
          <p:nvSpPr>
            <p:cNvPr id="180" name="Round Same-side Corner of Rectangle 18">
              <a:extLst>
                <a:ext uri="{FF2B5EF4-FFF2-40B4-BE49-F238E27FC236}">
                  <a16:creationId xmlns:a16="http://schemas.microsoft.com/office/drawing/2014/main" id="{23C17265-D8F6-5339-7BDB-512C838AFCCA}"/>
                </a:ext>
              </a:extLst>
            </p:cNvPr>
            <p:cNvSpPr/>
            <p:nvPr/>
          </p:nvSpPr>
          <p:spPr>
            <a:xfrm rot="16200000">
              <a:off x="458007" y="3252318"/>
              <a:ext cx="673200" cy="70338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CE8A3BFC-07CE-ECED-4634-21991DBD4328}"/>
                </a:ext>
              </a:extLst>
            </p:cNvPr>
            <p:cNvGrpSpPr/>
            <p:nvPr/>
          </p:nvGrpSpPr>
          <p:grpSpPr>
            <a:xfrm>
              <a:off x="532011" y="2931675"/>
              <a:ext cx="11235919" cy="1345251"/>
              <a:chOff x="351696" y="3018993"/>
              <a:chExt cx="11235919" cy="1345251"/>
            </a:xfrm>
          </p:grpSpPr>
          <p:sp>
            <p:nvSpPr>
              <p:cNvPr id="179" name="Right Arrow 17">
                <a:extLst>
                  <a:ext uri="{FF2B5EF4-FFF2-40B4-BE49-F238E27FC236}">
                    <a16:creationId xmlns:a16="http://schemas.microsoft.com/office/drawing/2014/main" id="{F2DF7BEF-BC4D-02C0-A4DD-90685F085087}"/>
                  </a:ext>
                </a:extLst>
              </p:cNvPr>
              <p:cNvSpPr/>
              <p:nvPr/>
            </p:nvSpPr>
            <p:spPr>
              <a:xfrm>
                <a:off x="965986" y="3018993"/>
                <a:ext cx="10621629" cy="1345251"/>
              </a:xfrm>
              <a:prstGeom prst="rightArrow">
                <a:avLst/>
              </a:pr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3F444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0" name="Rounded Rectangle 28">
                <a:extLst>
                  <a:ext uri="{FF2B5EF4-FFF2-40B4-BE49-F238E27FC236}">
                    <a16:creationId xmlns:a16="http://schemas.microsoft.com/office/drawing/2014/main" id="{E0DC361B-08C1-8BD0-5472-6865F5E0C8FF}"/>
                  </a:ext>
                </a:extLst>
              </p:cNvPr>
              <p:cNvSpPr/>
              <p:nvPr/>
            </p:nvSpPr>
            <p:spPr>
              <a:xfrm>
                <a:off x="351696" y="3438331"/>
                <a:ext cx="4153145" cy="506574"/>
              </a:xfrm>
              <a:prstGeom prst="roundRect">
                <a:avLst>
                  <a:gd name="adj" fmla="val 50000"/>
                </a:avLst>
              </a:prstGeom>
              <a:solidFill>
                <a:schemeClr val="tx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agnosis</a:t>
                </a:r>
              </a:p>
            </p:txBody>
          </p:sp>
          <p:sp>
            <p:nvSpPr>
              <p:cNvPr id="161" name="Rounded Rectangle 29">
                <a:extLst>
                  <a:ext uri="{FF2B5EF4-FFF2-40B4-BE49-F238E27FC236}">
                    <a16:creationId xmlns:a16="http://schemas.microsoft.com/office/drawing/2014/main" id="{E2315460-DAB4-8A0D-594E-0E0BE39676E3}"/>
                  </a:ext>
                </a:extLst>
              </p:cNvPr>
              <p:cNvSpPr/>
              <p:nvPr/>
            </p:nvSpPr>
            <p:spPr>
              <a:xfrm>
                <a:off x="4566344" y="3438331"/>
                <a:ext cx="2053803" cy="506574"/>
              </a:xfrm>
              <a:prstGeom prst="roundRect">
                <a:avLst>
                  <a:gd name="adj" fmla="val 50000"/>
                </a:avLst>
              </a:prstGeom>
              <a:solidFill>
                <a:schemeClr val="tx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L treatment</a:t>
                </a:r>
              </a:p>
            </p:txBody>
          </p:sp>
          <p:sp>
            <p:nvSpPr>
              <p:cNvPr id="162" name="Rounded Rectangle 30">
                <a:extLst>
                  <a:ext uri="{FF2B5EF4-FFF2-40B4-BE49-F238E27FC236}">
                    <a16:creationId xmlns:a16="http://schemas.microsoft.com/office/drawing/2014/main" id="{D793E14F-00D5-7F41-A22F-3FCFD80D97F9}"/>
                  </a:ext>
                </a:extLst>
              </p:cNvPr>
              <p:cNvSpPr/>
              <p:nvPr/>
            </p:nvSpPr>
            <p:spPr>
              <a:xfrm>
                <a:off x="6681650" y="3438331"/>
                <a:ext cx="2053803" cy="506574"/>
              </a:xfrm>
              <a:prstGeom prst="roundRect">
                <a:avLst>
                  <a:gd name="adj" fmla="val 50000"/>
                </a:avLst>
              </a:prstGeom>
              <a:solidFill>
                <a:schemeClr val="tx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L treatment</a:t>
                </a:r>
              </a:p>
            </p:txBody>
          </p:sp>
          <p:sp>
            <p:nvSpPr>
              <p:cNvPr id="181" name="Rounded Rectangle 30">
                <a:extLst>
                  <a:ext uri="{FF2B5EF4-FFF2-40B4-BE49-F238E27FC236}">
                    <a16:creationId xmlns:a16="http://schemas.microsoft.com/office/drawing/2014/main" id="{00302FCC-35B3-27D4-A0A6-46662C26D088}"/>
                  </a:ext>
                </a:extLst>
              </p:cNvPr>
              <p:cNvSpPr/>
              <p:nvPr/>
            </p:nvSpPr>
            <p:spPr>
              <a:xfrm>
                <a:off x="8892871" y="3438331"/>
                <a:ext cx="2053803" cy="506574"/>
              </a:xfrm>
              <a:prstGeom prst="roundRect">
                <a:avLst>
                  <a:gd name="adj" fmla="val 50000"/>
                </a:avLst>
              </a:prstGeom>
              <a:solidFill>
                <a:schemeClr val="tx1">
                  <a:alpha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L treatment</a:t>
                </a:r>
              </a:p>
            </p:txBody>
          </p:sp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93BB3FD-BE9A-C375-DC11-4A1CDFE65A56}"/>
              </a:ext>
            </a:extLst>
          </p:cNvPr>
          <p:cNvGrpSpPr/>
          <p:nvPr/>
        </p:nvGrpSpPr>
        <p:grpSpPr>
          <a:xfrm>
            <a:off x="922573" y="1696137"/>
            <a:ext cx="1861820" cy="1541225"/>
            <a:chOff x="922573" y="1696137"/>
            <a:chExt cx="1861820" cy="1541225"/>
          </a:xfrm>
        </p:grpSpPr>
        <p:grpSp>
          <p:nvGrpSpPr>
            <p:cNvPr id="193" name="Group 192">
              <a:extLst>
                <a:ext uri="{FF2B5EF4-FFF2-40B4-BE49-F238E27FC236}">
                  <a16:creationId xmlns:a16="http://schemas.microsoft.com/office/drawing/2014/main" id="{AC9F443B-5953-8371-C36D-77967F169D9C}"/>
                </a:ext>
              </a:extLst>
            </p:cNvPr>
            <p:cNvGrpSpPr/>
            <p:nvPr/>
          </p:nvGrpSpPr>
          <p:grpSpPr>
            <a:xfrm>
              <a:off x="922573" y="1696137"/>
              <a:ext cx="1801771" cy="1541225"/>
              <a:chOff x="1588345" y="4455123"/>
              <a:chExt cx="1801771" cy="1541225"/>
            </a:xfrm>
          </p:grpSpPr>
          <p:sp>
            <p:nvSpPr>
              <p:cNvPr id="194" name="Rounded Rectangle 164">
                <a:extLst>
                  <a:ext uri="{FF2B5EF4-FFF2-40B4-BE49-F238E27FC236}">
                    <a16:creationId xmlns:a16="http://schemas.microsoft.com/office/drawing/2014/main" id="{AA91904F-7D7F-B993-DB72-CCFF5A0AACCC}"/>
                  </a:ext>
                </a:extLst>
              </p:cNvPr>
              <p:cNvSpPr/>
              <p:nvPr/>
            </p:nvSpPr>
            <p:spPr>
              <a:xfrm>
                <a:off x="1588345" y="4455123"/>
                <a:ext cx="1801771" cy="25586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tIns="36000" rIns="72000" b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RAF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mutations</a:t>
                </a:r>
              </a:p>
            </p:txBody>
          </p:sp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AA180CD1-B38B-70E2-4E04-8541E44D51B5}"/>
                  </a:ext>
                </a:extLst>
              </p:cNvPr>
              <p:cNvCxnSpPr>
                <a:cxnSpLocks/>
                <a:stCxn id="194" idx="1"/>
              </p:cNvCxnSpPr>
              <p:nvPr/>
            </p:nvCxnSpPr>
            <p:spPr>
              <a:xfrm>
                <a:off x="1588345" y="4583056"/>
                <a:ext cx="1" cy="1413292"/>
              </a:xfrm>
              <a:prstGeom prst="line">
                <a:avLst/>
              </a:prstGeom>
              <a:solidFill>
                <a:schemeClr val="accent1"/>
              </a:solidFill>
              <a:ln w="25400">
                <a:solidFill>
                  <a:schemeClr val="accent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2" name="TextBox 211">
              <a:extLst>
                <a:ext uri="{FF2B5EF4-FFF2-40B4-BE49-F238E27FC236}">
                  <a16:creationId xmlns:a16="http://schemas.microsoft.com/office/drawing/2014/main" id="{0DCF5906-BCA3-48F1-EF8F-989B656BE6C9}"/>
                </a:ext>
              </a:extLst>
            </p:cNvPr>
            <p:cNvSpPr txBox="1"/>
            <p:nvPr/>
          </p:nvSpPr>
          <p:spPr>
            <a:xfrm>
              <a:off x="982623" y="2017649"/>
              <a:ext cx="1801770" cy="9787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RAF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mutation status should be assessed simultaneously with 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AS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for prognostication [I, B] and for treatment selection [I, A]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C8DC3B4-B8E5-142F-8CBA-7A290F02EB7D}"/>
              </a:ext>
            </a:extLst>
          </p:cNvPr>
          <p:cNvGrpSpPr/>
          <p:nvPr/>
        </p:nvGrpSpPr>
        <p:grpSpPr>
          <a:xfrm>
            <a:off x="910912" y="3952317"/>
            <a:ext cx="1813432" cy="1564379"/>
            <a:chOff x="910912" y="3952317"/>
            <a:chExt cx="1813432" cy="1564379"/>
          </a:xfrm>
        </p:grpSpPr>
        <p:grpSp>
          <p:nvGrpSpPr>
            <p:cNvPr id="190" name="Group 189">
              <a:extLst>
                <a:ext uri="{FF2B5EF4-FFF2-40B4-BE49-F238E27FC236}">
                  <a16:creationId xmlns:a16="http://schemas.microsoft.com/office/drawing/2014/main" id="{9E7054D9-C9F3-BE81-DB87-0025F7921F86}"/>
                </a:ext>
              </a:extLst>
            </p:cNvPr>
            <p:cNvGrpSpPr/>
            <p:nvPr/>
          </p:nvGrpSpPr>
          <p:grpSpPr>
            <a:xfrm>
              <a:off x="922574" y="3952317"/>
              <a:ext cx="1801770" cy="544051"/>
              <a:chOff x="1588345" y="4166938"/>
              <a:chExt cx="1801770" cy="544051"/>
            </a:xfrm>
          </p:grpSpPr>
          <p:sp>
            <p:nvSpPr>
              <p:cNvPr id="191" name="Rounded Rectangle 164">
                <a:extLst>
                  <a:ext uri="{FF2B5EF4-FFF2-40B4-BE49-F238E27FC236}">
                    <a16:creationId xmlns:a16="http://schemas.microsoft.com/office/drawing/2014/main" id="{C8BDE035-D8F6-218D-BBDE-5DB2F1B52EFD}"/>
                  </a:ext>
                </a:extLst>
              </p:cNvPr>
              <p:cNvSpPr/>
              <p:nvPr/>
            </p:nvSpPr>
            <p:spPr>
              <a:xfrm>
                <a:off x="1588345" y="4455123"/>
                <a:ext cx="1801770" cy="25586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tIns="36000" rIns="72000" b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AS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mutations</a:t>
                </a:r>
              </a:p>
            </p:txBody>
          </p:sp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44308AB8-3EFD-F9AC-8877-EEF02CB2B947}"/>
                  </a:ext>
                </a:extLst>
              </p:cNvPr>
              <p:cNvCxnSpPr>
                <a:cxnSpLocks/>
                <a:stCxn id="191" idx="1"/>
              </p:cNvCxnSpPr>
              <p:nvPr/>
            </p:nvCxnSpPr>
            <p:spPr>
              <a:xfrm flipV="1">
                <a:off x="1588345" y="4166938"/>
                <a:ext cx="0" cy="416118"/>
              </a:xfrm>
              <a:prstGeom prst="line">
                <a:avLst/>
              </a:prstGeom>
              <a:solidFill>
                <a:schemeClr val="accent1"/>
              </a:solidFill>
              <a:ln w="25400">
                <a:solidFill>
                  <a:schemeClr val="accent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7A296B0D-91A1-7C6C-9C22-D283C26F0014}"/>
                </a:ext>
              </a:extLst>
            </p:cNvPr>
            <p:cNvSpPr txBox="1"/>
            <p:nvPr/>
          </p:nvSpPr>
          <p:spPr>
            <a:xfrm>
              <a:off x="910912" y="4537967"/>
              <a:ext cx="1781746" cy="9787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sting for </a:t>
              </a:r>
              <a:r>
                <a:rPr kumimoji="0" lang="en-GB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RAS </a:t>
              </a:r>
              <a:br>
                <a:rPr kumimoji="0" lang="en-GB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d </a:t>
              </a:r>
              <a:r>
                <a:rPr kumimoji="0" lang="en-GB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RAS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mutations (exons 2, 3, 4) is mandatory prior to initiating anti-EGFR therapy [III, A]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5DF9A54A-563C-CFCC-D181-CE9C92ABD992}"/>
              </a:ext>
            </a:extLst>
          </p:cNvPr>
          <p:cNvGrpSpPr/>
          <p:nvPr/>
        </p:nvGrpSpPr>
        <p:grpSpPr>
          <a:xfrm>
            <a:off x="2934158" y="3955408"/>
            <a:ext cx="1592700" cy="1835017"/>
            <a:chOff x="2934158" y="3955408"/>
            <a:chExt cx="1592700" cy="1835017"/>
          </a:xfrm>
        </p:grpSpPr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C42B6613-FFEC-E19D-EAB1-01EDB121B599}"/>
                </a:ext>
              </a:extLst>
            </p:cNvPr>
            <p:cNvGrpSpPr/>
            <p:nvPr/>
          </p:nvGrpSpPr>
          <p:grpSpPr>
            <a:xfrm>
              <a:off x="2941739" y="3955408"/>
              <a:ext cx="1585119" cy="1088701"/>
              <a:chOff x="1744238" y="3622288"/>
              <a:chExt cx="1585119" cy="1088701"/>
            </a:xfrm>
          </p:grpSpPr>
          <p:sp>
            <p:nvSpPr>
              <p:cNvPr id="117" name="Rounded Rectangle 164">
                <a:extLst>
                  <a:ext uri="{FF2B5EF4-FFF2-40B4-BE49-F238E27FC236}">
                    <a16:creationId xmlns:a16="http://schemas.microsoft.com/office/drawing/2014/main" id="{02D6E0E1-F981-C19C-2507-0A9B0233B827}"/>
                  </a:ext>
                </a:extLst>
              </p:cNvPr>
              <p:cNvSpPr/>
              <p:nvPr/>
            </p:nvSpPr>
            <p:spPr>
              <a:xfrm>
                <a:off x="1744238" y="4455123"/>
                <a:ext cx="1585119" cy="25586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tIns="36000" rIns="72000" b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SI/MMR status</a:t>
                </a:r>
              </a:p>
            </p:txBody>
          </p: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C29F01C0-DF80-A57C-81F0-1C8A8BB62D56}"/>
                  </a:ext>
                </a:extLst>
              </p:cNvPr>
              <p:cNvCxnSpPr>
                <a:cxnSpLocks/>
                <a:stCxn id="117" idx="1"/>
              </p:cNvCxnSpPr>
              <p:nvPr/>
            </p:nvCxnSpPr>
            <p:spPr>
              <a:xfrm flipV="1">
                <a:off x="1744238" y="3622288"/>
                <a:ext cx="0" cy="960768"/>
              </a:xfrm>
              <a:prstGeom prst="line">
                <a:avLst/>
              </a:prstGeom>
              <a:solidFill>
                <a:schemeClr val="accent1"/>
              </a:solidFill>
              <a:ln w="25400">
                <a:solidFill>
                  <a:schemeClr val="accent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A7C247D4-5A23-5CA9-A851-B44B3C2F8C31}"/>
                </a:ext>
              </a:extLst>
            </p:cNvPr>
            <p:cNvSpPr txBox="1"/>
            <p:nvPr/>
          </p:nvSpPr>
          <p:spPr>
            <a:xfrm>
              <a:off x="2934158" y="5107161"/>
              <a:ext cx="1592700" cy="6832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SI/MMR status is recommended for its predictive value for the use of ICIs [I, A]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B6C1212-1988-840C-CC05-6E51055E4EBD}"/>
              </a:ext>
            </a:extLst>
          </p:cNvPr>
          <p:cNvGrpSpPr/>
          <p:nvPr/>
        </p:nvGrpSpPr>
        <p:grpSpPr>
          <a:xfrm>
            <a:off x="4836109" y="1696137"/>
            <a:ext cx="1876462" cy="1551164"/>
            <a:chOff x="4704463" y="1696137"/>
            <a:chExt cx="1876462" cy="1551164"/>
          </a:xfrm>
        </p:grpSpPr>
        <p:grpSp>
          <p:nvGrpSpPr>
            <p:cNvPr id="228" name="Group 227">
              <a:extLst>
                <a:ext uri="{FF2B5EF4-FFF2-40B4-BE49-F238E27FC236}">
                  <a16:creationId xmlns:a16="http://schemas.microsoft.com/office/drawing/2014/main" id="{F079DCBD-C87B-1A46-0D2B-AC8A6A879F44}"/>
                </a:ext>
              </a:extLst>
            </p:cNvPr>
            <p:cNvGrpSpPr/>
            <p:nvPr/>
          </p:nvGrpSpPr>
          <p:grpSpPr>
            <a:xfrm>
              <a:off x="4704463" y="1696137"/>
              <a:ext cx="1876462" cy="1551164"/>
              <a:chOff x="1588346" y="4455123"/>
              <a:chExt cx="1876462" cy="1551164"/>
            </a:xfrm>
          </p:grpSpPr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77B413E1-96E0-87BD-7EB6-6C9138163D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98285" y="4592995"/>
                <a:ext cx="0" cy="1413292"/>
              </a:xfrm>
              <a:prstGeom prst="line">
                <a:avLst/>
              </a:prstGeom>
              <a:solidFill>
                <a:schemeClr val="accent1"/>
              </a:solidFill>
              <a:ln w="25400">
                <a:solidFill>
                  <a:schemeClr val="accent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9" name="Rounded Rectangle 164">
                <a:extLst>
                  <a:ext uri="{FF2B5EF4-FFF2-40B4-BE49-F238E27FC236}">
                    <a16:creationId xmlns:a16="http://schemas.microsoft.com/office/drawing/2014/main" id="{AC46CA72-171B-EBDD-76E3-A1BEDEDCD4CD}"/>
                  </a:ext>
                </a:extLst>
              </p:cNvPr>
              <p:cNvSpPr/>
              <p:nvPr/>
            </p:nvSpPr>
            <p:spPr>
              <a:xfrm>
                <a:off x="1588346" y="4455123"/>
                <a:ext cx="1876462" cy="25586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tIns="36000" rIns="72000" b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PD deficiency</a:t>
                </a:r>
              </a:p>
            </p:txBody>
          </p:sp>
        </p:grpSp>
        <p:sp>
          <p:nvSpPr>
            <p:cNvPr id="231" name="TextBox 230">
              <a:extLst>
                <a:ext uri="{FF2B5EF4-FFF2-40B4-BE49-F238E27FC236}">
                  <a16:creationId xmlns:a16="http://schemas.microsoft.com/office/drawing/2014/main" id="{BBBECEE7-5A45-4B95-7D94-F2100DD5FC66}"/>
                </a:ext>
              </a:extLst>
            </p:cNvPr>
            <p:cNvSpPr txBox="1"/>
            <p:nvPr/>
          </p:nvSpPr>
          <p:spPr>
            <a:xfrm>
              <a:off x="4764512" y="2017649"/>
              <a:ext cx="1802811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sting must be 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ducted before initiating 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5-FU-based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T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[III, A]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DFA5666-7E16-5013-1287-31B7B4521D9B}"/>
              </a:ext>
            </a:extLst>
          </p:cNvPr>
          <p:cNvGrpSpPr/>
          <p:nvPr/>
        </p:nvGrpSpPr>
        <p:grpSpPr>
          <a:xfrm>
            <a:off x="6935342" y="3940612"/>
            <a:ext cx="1888147" cy="1620811"/>
            <a:chOff x="6935342" y="3940612"/>
            <a:chExt cx="1888147" cy="1620811"/>
          </a:xfrm>
        </p:grpSpPr>
        <p:grpSp>
          <p:nvGrpSpPr>
            <p:cNvPr id="113" name="Group 112">
              <a:extLst>
                <a:ext uri="{FF2B5EF4-FFF2-40B4-BE49-F238E27FC236}">
                  <a16:creationId xmlns:a16="http://schemas.microsoft.com/office/drawing/2014/main" id="{AFFC8845-ECB8-D158-CC88-3C38B42CEF19}"/>
                </a:ext>
              </a:extLst>
            </p:cNvPr>
            <p:cNvGrpSpPr/>
            <p:nvPr/>
          </p:nvGrpSpPr>
          <p:grpSpPr>
            <a:xfrm>
              <a:off x="6948622" y="3940612"/>
              <a:ext cx="1806212" cy="725640"/>
              <a:chOff x="5624001" y="2321484"/>
              <a:chExt cx="1806212" cy="725640"/>
            </a:xfrm>
          </p:grpSpPr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A74E1BB7-A903-4D29-B00D-DC7734EDCF2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624001" y="2321484"/>
                <a:ext cx="0" cy="566981"/>
              </a:xfrm>
              <a:prstGeom prst="line">
                <a:avLst/>
              </a:prstGeom>
              <a:ln w="25400">
                <a:solidFill>
                  <a:schemeClr val="accent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Rounded Rectangle 131">
                <a:extLst>
                  <a:ext uri="{FF2B5EF4-FFF2-40B4-BE49-F238E27FC236}">
                    <a16:creationId xmlns:a16="http://schemas.microsoft.com/office/drawing/2014/main" id="{B22D1C0D-FF16-5411-8002-050080B74441}"/>
                  </a:ext>
                </a:extLst>
              </p:cNvPr>
              <p:cNvSpPr/>
              <p:nvPr/>
            </p:nvSpPr>
            <p:spPr>
              <a:xfrm>
                <a:off x="5624001" y="2791258"/>
                <a:ext cx="1806212" cy="25586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tIns="36000" rIns="72000" b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ER2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amplification</a:t>
                </a:r>
              </a:p>
            </p:txBody>
          </p:sp>
        </p:grp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40FB0B7B-C9BB-7F03-34ED-EB64F873E0FD}"/>
                </a:ext>
              </a:extLst>
            </p:cNvPr>
            <p:cNvSpPr txBox="1"/>
            <p:nvPr/>
          </p:nvSpPr>
          <p:spPr>
            <a:xfrm>
              <a:off x="6935342" y="4730426"/>
              <a:ext cx="188814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sting is recommended in </a:t>
              </a:r>
              <a:r>
                <a:rPr kumimoji="0" lang="en-GB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AS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wild-type patients to identify those who may benefit from dual HER2 blockade [III, B]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674DA75-5088-D351-83CF-19B108306DA1}"/>
              </a:ext>
            </a:extLst>
          </p:cNvPr>
          <p:cNvGrpSpPr/>
          <p:nvPr/>
        </p:nvGrpSpPr>
        <p:grpSpPr>
          <a:xfrm>
            <a:off x="9084217" y="1699249"/>
            <a:ext cx="1949515" cy="1538113"/>
            <a:chOff x="9084217" y="1699249"/>
            <a:chExt cx="1949515" cy="1538113"/>
          </a:xfrm>
        </p:grpSpPr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EDEAC0D5-E098-3DA1-7BF5-98EE0BFFD3F4}"/>
                </a:ext>
              </a:extLst>
            </p:cNvPr>
            <p:cNvGrpSpPr/>
            <p:nvPr/>
          </p:nvGrpSpPr>
          <p:grpSpPr>
            <a:xfrm>
              <a:off x="9084217" y="1699249"/>
              <a:ext cx="1806212" cy="1538113"/>
              <a:chOff x="5624001" y="2791258"/>
              <a:chExt cx="1806212" cy="1538113"/>
            </a:xfrm>
          </p:grpSpPr>
          <p:cxnSp>
            <p:nvCxnSpPr>
              <p:cNvPr id="250" name="Straight Connector 249">
                <a:extLst>
                  <a:ext uri="{FF2B5EF4-FFF2-40B4-BE49-F238E27FC236}">
                    <a16:creationId xmlns:a16="http://schemas.microsoft.com/office/drawing/2014/main" id="{122DB421-7B5F-2017-D430-7B7AC95A2E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24001" y="2888465"/>
                <a:ext cx="0" cy="1440906"/>
              </a:xfrm>
              <a:prstGeom prst="line">
                <a:avLst/>
              </a:prstGeom>
              <a:ln w="25400">
                <a:solidFill>
                  <a:schemeClr val="accent1"/>
                </a:solidFill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1" name="Rounded Rectangle 131">
                <a:extLst>
                  <a:ext uri="{FF2B5EF4-FFF2-40B4-BE49-F238E27FC236}">
                    <a16:creationId xmlns:a16="http://schemas.microsoft.com/office/drawing/2014/main" id="{1316D12E-E2A2-38AE-9325-1A494D0559AC}"/>
                  </a:ext>
                </a:extLst>
              </p:cNvPr>
              <p:cNvSpPr/>
              <p:nvPr/>
            </p:nvSpPr>
            <p:spPr>
              <a:xfrm>
                <a:off x="5624001" y="2791258"/>
                <a:ext cx="1806212" cy="255866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72000" tIns="36000" rIns="72000" bIns="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TRK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gene fusions</a:t>
                </a:r>
              </a:p>
            </p:txBody>
          </p:sp>
        </p:grp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8385A2A0-5520-0DC9-D0DE-D5190B6D7978}"/>
                </a:ext>
              </a:extLst>
            </p:cNvPr>
            <p:cNvSpPr txBox="1"/>
            <p:nvPr/>
          </p:nvSpPr>
          <p:spPr>
            <a:xfrm>
              <a:off x="9145585" y="2017649"/>
              <a:ext cx="188814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 the rare event of an NTRK fusion being </a:t>
              </a:r>
              <a:b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tected, treatment with larotrectinib or entrectinib is recommended [III, A]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BBEE0788-02D4-1769-4E4B-E2CE14DB0D5F}"/>
              </a:ext>
            </a:extLst>
          </p:cNvPr>
          <p:cNvGrpSpPr/>
          <p:nvPr/>
        </p:nvGrpSpPr>
        <p:grpSpPr>
          <a:xfrm>
            <a:off x="4644825" y="6125827"/>
            <a:ext cx="2903824" cy="371432"/>
            <a:chOff x="-71642" y="5350102"/>
            <a:chExt cx="2903824" cy="371432"/>
          </a:xfrm>
        </p:grpSpPr>
        <p:sp>
          <p:nvSpPr>
            <p:cNvPr id="11" name="Rounded Rectangle 47">
              <a:hlinkClick r:id="" action="ppaction://noaction"/>
              <a:extLst>
                <a:ext uri="{FF2B5EF4-FFF2-40B4-BE49-F238E27FC236}">
                  <a16:creationId xmlns:a16="http://schemas.microsoft.com/office/drawing/2014/main" id="{C623DC10-6BE4-13BA-3C86-184A0992507E}"/>
                </a:ext>
              </a:extLst>
            </p:cNvPr>
            <p:cNvSpPr/>
            <p:nvPr/>
          </p:nvSpPr>
          <p:spPr>
            <a:xfrm>
              <a:off x="-71642" y="5350102"/>
              <a:ext cx="2903824" cy="371432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23761"/>
                </a:gs>
                <a:gs pos="100000">
                  <a:srgbClr val="0460A9"/>
                </a:gs>
              </a:gsLst>
              <a:path path="circle">
                <a:fillToRect t="100000" r="100000"/>
              </a:path>
            </a:gradFill>
          </p:spPr>
          <p:txBody>
            <a:bodyPr wrap="square" lIns="45720" rIns="45720" rtlCol="0">
              <a:noAutofit/>
            </a:bodyPr>
            <a:lstStyle/>
            <a:p>
              <a:pPr marL="312738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SMO tissue handling procedures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DBD1E18B-2B66-C8CE-0662-F3E8EA636818}"/>
                </a:ext>
              </a:extLst>
            </p:cNvPr>
            <p:cNvSpPr/>
            <p:nvPr/>
          </p:nvSpPr>
          <p:spPr bwMode="gray">
            <a:xfrm>
              <a:off x="23014" y="5401808"/>
              <a:ext cx="254205" cy="25420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95FF"/>
                </a:buClr>
                <a:buSzPct val="90000"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C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 49">
              <a:extLst>
                <a:ext uri="{FF2B5EF4-FFF2-40B4-BE49-F238E27FC236}">
                  <a16:creationId xmlns:a16="http://schemas.microsoft.com/office/drawing/2014/main" id="{106CCFAD-2987-1DF6-F7B2-F94CAF18C5FC}"/>
                </a:ext>
              </a:extLst>
            </p:cNvPr>
            <p:cNvSpPr/>
            <p:nvPr/>
          </p:nvSpPr>
          <p:spPr>
            <a:xfrm rot="20700000" flipH="1">
              <a:off x="75360" y="5457023"/>
              <a:ext cx="143760" cy="143776"/>
            </a:xfrm>
            <a:custGeom>
              <a:avLst/>
              <a:gdLst>
                <a:gd name="connsiteX0" fmla="*/ 2087201 w 2114819"/>
                <a:gd name="connsiteY0" fmla="*/ 1680265 h 2115050"/>
                <a:gd name="connsiteX1" fmla="*/ 1526122 w 2114819"/>
                <a:gd name="connsiteY1" fmla="*/ 1119167 h 2115050"/>
                <a:gd name="connsiteX2" fmla="*/ 1926410 w 2114819"/>
                <a:gd name="connsiteY2" fmla="*/ 887957 h 2115050"/>
                <a:gd name="connsiteX3" fmla="*/ 1973286 w 2114819"/>
                <a:gd name="connsiteY3" fmla="*/ 799530 h 2115050"/>
                <a:gd name="connsiteX4" fmla="*/ 1914183 w 2114819"/>
                <a:gd name="connsiteY4" fmla="*/ 718745 h 2115050"/>
                <a:gd name="connsiteX5" fmla="*/ 129218 w 2114819"/>
                <a:gd name="connsiteY5" fmla="*/ 6719 h 2115050"/>
                <a:gd name="connsiteX6" fmla="*/ 27625 w 2114819"/>
                <a:gd name="connsiteY6" fmla="*/ 27613 h 2115050"/>
                <a:gd name="connsiteX7" fmla="*/ 6712 w 2114819"/>
                <a:gd name="connsiteY7" fmla="*/ 129206 h 2115050"/>
                <a:gd name="connsiteX8" fmla="*/ 718625 w 2114819"/>
                <a:gd name="connsiteY8" fmla="*/ 1914380 h 2115050"/>
                <a:gd name="connsiteX9" fmla="*/ 799419 w 2114819"/>
                <a:gd name="connsiteY9" fmla="*/ 1973493 h 2115050"/>
                <a:gd name="connsiteX10" fmla="*/ 887855 w 2114819"/>
                <a:gd name="connsiteY10" fmla="*/ 1926616 h 2115050"/>
                <a:gd name="connsiteX11" fmla="*/ 1119046 w 2114819"/>
                <a:gd name="connsiteY11" fmla="*/ 1526328 h 2115050"/>
                <a:gd name="connsiteX12" fmla="*/ 1680088 w 2114819"/>
                <a:gd name="connsiteY12" fmla="*/ 2087427 h 2115050"/>
                <a:gd name="connsiteX13" fmla="*/ 1746756 w 2114819"/>
                <a:gd name="connsiteY13" fmla="*/ 2115051 h 2115050"/>
                <a:gd name="connsiteX14" fmla="*/ 1813425 w 2114819"/>
                <a:gd name="connsiteY14" fmla="*/ 2087427 h 2115050"/>
                <a:gd name="connsiteX15" fmla="*/ 2087211 w 2114819"/>
                <a:gd name="connsiteY15" fmla="*/ 1813603 h 2115050"/>
                <a:gd name="connsiteX16" fmla="*/ 2087201 w 2114819"/>
                <a:gd name="connsiteY16" fmla="*/ 1680265 h 2115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14819" h="2115050">
                  <a:moveTo>
                    <a:pt x="2087201" y="1680265"/>
                  </a:moveTo>
                  <a:lnTo>
                    <a:pt x="1526122" y="1119167"/>
                  </a:lnTo>
                  <a:lnTo>
                    <a:pt x="1926410" y="887957"/>
                  </a:lnTo>
                  <a:cubicBezTo>
                    <a:pt x="1957689" y="869892"/>
                    <a:pt x="1975887" y="835556"/>
                    <a:pt x="1973286" y="799530"/>
                  </a:cubicBezTo>
                  <a:cubicBezTo>
                    <a:pt x="1970685" y="763495"/>
                    <a:pt x="1947731" y="732121"/>
                    <a:pt x="1914183" y="718745"/>
                  </a:cubicBezTo>
                  <a:lnTo>
                    <a:pt x="129218" y="6719"/>
                  </a:lnTo>
                  <a:cubicBezTo>
                    <a:pt x="94227" y="-7255"/>
                    <a:pt x="54272" y="976"/>
                    <a:pt x="27625" y="27613"/>
                  </a:cubicBezTo>
                  <a:cubicBezTo>
                    <a:pt x="978" y="54269"/>
                    <a:pt x="-7252" y="94215"/>
                    <a:pt x="6712" y="129206"/>
                  </a:cubicBezTo>
                  <a:lnTo>
                    <a:pt x="718625" y="1914380"/>
                  </a:lnTo>
                  <a:cubicBezTo>
                    <a:pt x="732010" y="1947928"/>
                    <a:pt x="763384" y="1970891"/>
                    <a:pt x="799419" y="1973493"/>
                  </a:cubicBezTo>
                  <a:cubicBezTo>
                    <a:pt x="835454" y="1976113"/>
                    <a:pt x="869800" y="1957905"/>
                    <a:pt x="887855" y="1926616"/>
                  </a:cubicBezTo>
                  <a:lnTo>
                    <a:pt x="1119046" y="1526328"/>
                  </a:lnTo>
                  <a:lnTo>
                    <a:pt x="1680088" y="2087427"/>
                  </a:lnTo>
                  <a:cubicBezTo>
                    <a:pt x="1697763" y="2105112"/>
                    <a:pt x="1721762" y="2115051"/>
                    <a:pt x="1746756" y="2115051"/>
                  </a:cubicBezTo>
                  <a:cubicBezTo>
                    <a:pt x="1771770" y="2115051"/>
                    <a:pt x="1795749" y="2105112"/>
                    <a:pt x="1813425" y="2087427"/>
                  </a:cubicBezTo>
                  <a:lnTo>
                    <a:pt x="2087211" y="1813603"/>
                  </a:lnTo>
                  <a:cubicBezTo>
                    <a:pt x="2124024" y="1776780"/>
                    <a:pt x="2124024" y="1717088"/>
                    <a:pt x="2087201" y="1680265"/>
                  </a:cubicBezTo>
                  <a:close/>
                </a:path>
              </a:pathLst>
            </a:custGeom>
            <a:noFill/>
            <a:ln w="1270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95FF"/>
                </a:buClr>
                <a:buSzPct val="90000"/>
                <a:buFontTx/>
                <a:buNone/>
                <a:tabLst/>
                <a:defRPr/>
              </a:pPr>
              <a:endPara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endParaRPr>
            </a:p>
          </p:txBody>
        </p:sp>
      </p:grpSp>
      <p:sp>
        <p:nvSpPr>
          <p:cNvPr id="14" name="Rectangle: Rounded Corners 13">
            <a:hlinkClick r:id="rId3" action="ppaction://hlinksldjump"/>
            <a:extLst>
              <a:ext uri="{FF2B5EF4-FFF2-40B4-BE49-F238E27FC236}">
                <a16:creationId xmlns:a16="http://schemas.microsoft.com/office/drawing/2014/main" id="{97F090A8-7E76-4202-5D0F-9494DE265872}"/>
              </a:ext>
            </a:extLst>
          </p:cNvPr>
          <p:cNvSpPr/>
          <p:nvPr/>
        </p:nvSpPr>
        <p:spPr>
          <a:xfrm>
            <a:off x="4589929" y="6053817"/>
            <a:ext cx="3026759" cy="50816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: Rounded Corners 15">
            <a:hlinkClick r:id="rId3" action="ppaction://hlinksldjump" tooltip="Chapter"/>
            <a:extLst>
              <a:ext uri="{FF2B5EF4-FFF2-40B4-BE49-F238E27FC236}">
                <a16:creationId xmlns:a16="http://schemas.microsoft.com/office/drawing/2014/main" id="{6A2179B5-AA92-2004-EB4F-DB2CD43637A4}"/>
              </a:ext>
            </a:extLst>
          </p:cNvPr>
          <p:cNvSpPr/>
          <p:nvPr/>
        </p:nvSpPr>
        <p:spPr>
          <a:xfrm>
            <a:off x="10432869" y="48214"/>
            <a:ext cx="444136" cy="49171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4E2F162-9C05-BE22-3444-AC2DB324884E}"/>
              </a:ext>
            </a:extLst>
          </p:cNvPr>
          <p:cNvGrpSpPr/>
          <p:nvPr/>
        </p:nvGrpSpPr>
        <p:grpSpPr>
          <a:xfrm>
            <a:off x="77037" y="3281200"/>
            <a:ext cx="283450" cy="283450"/>
            <a:chOff x="77037" y="3281200"/>
            <a:chExt cx="283450" cy="28345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C323F94E-BEB8-A5C2-DEE9-B15874288ECA}"/>
                </a:ext>
              </a:extLst>
            </p:cNvPr>
            <p:cNvSpPr/>
            <p:nvPr userDrawn="1"/>
          </p:nvSpPr>
          <p:spPr>
            <a:xfrm>
              <a:off x="77037" y="3281200"/>
              <a:ext cx="283450" cy="283450"/>
            </a:xfrm>
            <a:prstGeom prst="ellipse">
              <a:avLst/>
            </a:prstGeom>
            <a:noFill/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40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Graphic 23">
              <a:extLst>
                <a:ext uri="{FF2B5EF4-FFF2-40B4-BE49-F238E27FC236}">
                  <a16:creationId xmlns:a16="http://schemas.microsoft.com/office/drawing/2014/main" id="{6E9B252F-127F-C89F-A50E-C8EF538831CD}"/>
                </a:ext>
              </a:extLst>
            </p:cNvPr>
            <p:cNvSpPr/>
            <p:nvPr userDrawn="1"/>
          </p:nvSpPr>
          <p:spPr>
            <a:xfrm rot="10800000">
              <a:off x="157255" y="3344816"/>
              <a:ext cx="103135" cy="156218"/>
            </a:xfrm>
            <a:custGeom>
              <a:avLst/>
              <a:gdLst>
                <a:gd name="connsiteX0" fmla="*/ 616506 w 2543651"/>
                <a:gd name="connsiteY0" fmla="*/ 3852863 h 3852862"/>
                <a:gd name="connsiteX1" fmla="*/ 314563 w 2543651"/>
                <a:gd name="connsiteY1" fmla="*/ 3728085 h 3852862"/>
                <a:gd name="connsiteX2" fmla="*/ 125016 w 2543651"/>
                <a:gd name="connsiteY2" fmla="*/ 3538538 h 3852862"/>
                <a:gd name="connsiteX3" fmla="*/ 125016 w 2543651"/>
                <a:gd name="connsiteY3" fmla="*/ 2934653 h 3852862"/>
                <a:gd name="connsiteX4" fmla="*/ 1133713 w 2543651"/>
                <a:gd name="connsiteY4" fmla="*/ 1926908 h 3852862"/>
                <a:gd name="connsiteX5" fmla="*/ 125968 w 2543651"/>
                <a:gd name="connsiteY5" fmla="*/ 918210 h 3852862"/>
                <a:gd name="connsiteX6" fmla="*/ 125968 w 2543651"/>
                <a:gd name="connsiteY6" fmla="*/ 314325 h 3852862"/>
                <a:gd name="connsiteX7" fmla="*/ 315516 w 2543651"/>
                <a:gd name="connsiteY7" fmla="*/ 124778 h 3852862"/>
                <a:gd name="connsiteX8" fmla="*/ 617458 w 2543651"/>
                <a:gd name="connsiteY8" fmla="*/ 0 h 3852862"/>
                <a:gd name="connsiteX9" fmla="*/ 919401 w 2543651"/>
                <a:gd name="connsiteY9" fmla="*/ 124778 h 3852862"/>
                <a:gd name="connsiteX10" fmla="*/ 2418636 w 2543651"/>
                <a:gd name="connsiteY10" fmla="*/ 1624013 h 3852862"/>
                <a:gd name="connsiteX11" fmla="*/ 2418636 w 2543651"/>
                <a:gd name="connsiteY11" fmla="*/ 2227898 h 3852862"/>
                <a:gd name="connsiteX12" fmla="*/ 918448 w 2543651"/>
                <a:gd name="connsiteY12" fmla="*/ 3728085 h 3852862"/>
                <a:gd name="connsiteX13" fmla="*/ 616506 w 2543651"/>
                <a:gd name="connsiteY13" fmla="*/ 3852863 h 3852862"/>
                <a:gd name="connsiteX14" fmla="*/ 616506 w 2543651"/>
                <a:gd name="connsiteY14" fmla="*/ 195262 h 3852862"/>
                <a:gd name="connsiteX15" fmla="*/ 452676 w 2543651"/>
                <a:gd name="connsiteY15" fmla="*/ 262890 h 3852862"/>
                <a:gd name="connsiteX16" fmla="*/ 263128 w 2543651"/>
                <a:gd name="connsiteY16" fmla="*/ 452437 h 3852862"/>
                <a:gd name="connsiteX17" fmla="*/ 263128 w 2543651"/>
                <a:gd name="connsiteY17" fmla="*/ 780098 h 3852862"/>
                <a:gd name="connsiteX18" fmla="*/ 1340406 w 2543651"/>
                <a:gd name="connsiteY18" fmla="*/ 1857375 h 3852862"/>
                <a:gd name="connsiteX19" fmla="*/ 1340406 w 2543651"/>
                <a:gd name="connsiteY19" fmla="*/ 1995488 h 3852862"/>
                <a:gd name="connsiteX20" fmla="*/ 263128 w 2543651"/>
                <a:gd name="connsiteY20" fmla="*/ 3072765 h 3852862"/>
                <a:gd name="connsiteX21" fmla="*/ 263128 w 2543651"/>
                <a:gd name="connsiteY21" fmla="*/ 3400425 h 3852862"/>
                <a:gd name="connsiteX22" fmla="*/ 452676 w 2543651"/>
                <a:gd name="connsiteY22" fmla="*/ 3589973 h 3852862"/>
                <a:gd name="connsiteX23" fmla="*/ 616506 w 2543651"/>
                <a:gd name="connsiteY23" fmla="*/ 3657600 h 3852862"/>
                <a:gd name="connsiteX24" fmla="*/ 780336 w 2543651"/>
                <a:gd name="connsiteY24" fmla="*/ 3589973 h 3852862"/>
                <a:gd name="connsiteX25" fmla="*/ 2279571 w 2543651"/>
                <a:gd name="connsiteY25" fmla="*/ 2090738 h 3852862"/>
                <a:gd name="connsiteX26" fmla="*/ 2279571 w 2543651"/>
                <a:gd name="connsiteY26" fmla="*/ 1763078 h 3852862"/>
                <a:gd name="connsiteX27" fmla="*/ 780336 w 2543651"/>
                <a:gd name="connsiteY27" fmla="*/ 263843 h 3852862"/>
                <a:gd name="connsiteX28" fmla="*/ 616506 w 2543651"/>
                <a:gd name="connsiteY28" fmla="*/ 195262 h 385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43651" h="3852862">
                  <a:moveTo>
                    <a:pt x="616506" y="3852863"/>
                  </a:moveTo>
                  <a:cubicBezTo>
                    <a:pt x="502206" y="3852863"/>
                    <a:pt x="395526" y="3808095"/>
                    <a:pt x="314563" y="3728085"/>
                  </a:cubicBezTo>
                  <a:lnTo>
                    <a:pt x="125016" y="3538538"/>
                  </a:lnTo>
                  <a:cubicBezTo>
                    <a:pt x="-41672" y="3371850"/>
                    <a:pt x="-41672" y="3101340"/>
                    <a:pt x="125016" y="2934653"/>
                  </a:cubicBezTo>
                  <a:lnTo>
                    <a:pt x="1133713" y="1926908"/>
                  </a:lnTo>
                  <a:lnTo>
                    <a:pt x="125968" y="918210"/>
                  </a:lnTo>
                  <a:cubicBezTo>
                    <a:pt x="-40719" y="751523"/>
                    <a:pt x="-40719" y="481012"/>
                    <a:pt x="125968" y="314325"/>
                  </a:cubicBezTo>
                  <a:lnTo>
                    <a:pt x="315516" y="124778"/>
                  </a:lnTo>
                  <a:cubicBezTo>
                    <a:pt x="396478" y="43815"/>
                    <a:pt x="503158" y="0"/>
                    <a:pt x="617458" y="0"/>
                  </a:cubicBezTo>
                  <a:cubicBezTo>
                    <a:pt x="731758" y="0"/>
                    <a:pt x="838438" y="44768"/>
                    <a:pt x="919401" y="124778"/>
                  </a:cubicBezTo>
                  <a:lnTo>
                    <a:pt x="2418636" y="1624013"/>
                  </a:lnTo>
                  <a:cubicBezTo>
                    <a:pt x="2585323" y="1790700"/>
                    <a:pt x="2585323" y="2061210"/>
                    <a:pt x="2418636" y="2227898"/>
                  </a:cubicBezTo>
                  <a:lnTo>
                    <a:pt x="918448" y="3728085"/>
                  </a:lnTo>
                  <a:cubicBezTo>
                    <a:pt x="838438" y="3809048"/>
                    <a:pt x="730806" y="3852863"/>
                    <a:pt x="616506" y="3852863"/>
                  </a:cubicBezTo>
                  <a:close/>
                  <a:moveTo>
                    <a:pt x="616506" y="195262"/>
                  </a:moveTo>
                  <a:cubicBezTo>
                    <a:pt x="554593" y="195262"/>
                    <a:pt x="496491" y="219075"/>
                    <a:pt x="452676" y="262890"/>
                  </a:cubicBezTo>
                  <a:lnTo>
                    <a:pt x="263128" y="452437"/>
                  </a:lnTo>
                  <a:cubicBezTo>
                    <a:pt x="172641" y="542925"/>
                    <a:pt x="172641" y="689610"/>
                    <a:pt x="263128" y="780098"/>
                  </a:cubicBezTo>
                  <a:lnTo>
                    <a:pt x="1340406" y="1857375"/>
                  </a:lnTo>
                  <a:cubicBezTo>
                    <a:pt x="1378506" y="1895475"/>
                    <a:pt x="1378506" y="1957388"/>
                    <a:pt x="1340406" y="1995488"/>
                  </a:cubicBezTo>
                  <a:lnTo>
                    <a:pt x="263128" y="3072765"/>
                  </a:lnTo>
                  <a:cubicBezTo>
                    <a:pt x="172641" y="3163253"/>
                    <a:pt x="172641" y="3309938"/>
                    <a:pt x="263128" y="3400425"/>
                  </a:cubicBezTo>
                  <a:lnTo>
                    <a:pt x="452676" y="3589973"/>
                  </a:lnTo>
                  <a:cubicBezTo>
                    <a:pt x="496491" y="3633788"/>
                    <a:pt x="554593" y="3657600"/>
                    <a:pt x="616506" y="3657600"/>
                  </a:cubicBezTo>
                  <a:cubicBezTo>
                    <a:pt x="678418" y="3657600"/>
                    <a:pt x="736521" y="3633788"/>
                    <a:pt x="780336" y="3589973"/>
                  </a:cubicBezTo>
                  <a:lnTo>
                    <a:pt x="2279571" y="2090738"/>
                  </a:lnTo>
                  <a:cubicBezTo>
                    <a:pt x="2370058" y="2000250"/>
                    <a:pt x="2370058" y="1853565"/>
                    <a:pt x="2279571" y="1763078"/>
                  </a:cubicBezTo>
                  <a:lnTo>
                    <a:pt x="780336" y="263843"/>
                  </a:lnTo>
                  <a:cubicBezTo>
                    <a:pt x="736521" y="220028"/>
                    <a:pt x="678418" y="195262"/>
                    <a:pt x="616506" y="19526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8950959-3722-48EE-9317-6B028FDD278D}"/>
              </a:ext>
            </a:extLst>
          </p:cNvPr>
          <p:cNvGrpSpPr/>
          <p:nvPr/>
        </p:nvGrpSpPr>
        <p:grpSpPr>
          <a:xfrm rot="10800000">
            <a:off x="11824059" y="3281200"/>
            <a:ext cx="283450" cy="283450"/>
            <a:chOff x="77037" y="3281200"/>
            <a:chExt cx="283450" cy="28345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23B903E-87E9-1448-9209-B4DEE08B9997}"/>
                </a:ext>
              </a:extLst>
            </p:cNvPr>
            <p:cNvSpPr/>
            <p:nvPr userDrawn="1"/>
          </p:nvSpPr>
          <p:spPr>
            <a:xfrm>
              <a:off x="77037" y="3281200"/>
              <a:ext cx="283450" cy="283450"/>
            </a:xfrm>
            <a:prstGeom prst="ellipse">
              <a:avLst/>
            </a:prstGeom>
            <a:noFill/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40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Graphic 23">
              <a:extLst>
                <a:ext uri="{FF2B5EF4-FFF2-40B4-BE49-F238E27FC236}">
                  <a16:creationId xmlns:a16="http://schemas.microsoft.com/office/drawing/2014/main" id="{71C3C0C5-3FBF-6C5E-F066-5DDCBDA080B0}"/>
                </a:ext>
              </a:extLst>
            </p:cNvPr>
            <p:cNvSpPr/>
            <p:nvPr userDrawn="1"/>
          </p:nvSpPr>
          <p:spPr>
            <a:xfrm rot="10800000">
              <a:off x="157255" y="3344816"/>
              <a:ext cx="103135" cy="156218"/>
            </a:xfrm>
            <a:custGeom>
              <a:avLst/>
              <a:gdLst>
                <a:gd name="connsiteX0" fmla="*/ 616506 w 2543651"/>
                <a:gd name="connsiteY0" fmla="*/ 3852863 h 3852862"/>
                <a:gd name="connsiteX1" fmla="*/ 314563 w 2543651"/>
                <a:gd name="connsiteY1" fmla="*/ 3728085 h 3852862"/>
                <a:gd name="connsiteX2" fmla="*/ 125016 w 2543651"/>
                <a:gd name="connsiteY2" fmla="*/ 3538538 h 3852862"/>
                <a:gd name="connsiteX3" fmla="*/ 125016 w 2543651"/>
                <a:gd name="connsiteY3" fmla="*/ 2934653 h 3852862"/>
                <a:gd name="connsiteX4" fmla="*/ 1133713 w 2543651"/>
                <a:gd name="connsiteY4" fmla="*/ 1926908 h 3852862"/>
                <a:gd name="connsiteX5" fmla="*/ 125968 w 2543651"/>
                <a:gd name="connsiteY5" fmla="*/ 918210 h 3852862"/>
                <a:gd name="connsiteX6" fmla="*/ 125968 w 2543651"/>
                <a:gd name="connsiteY6" fmla="*/ 314325 h 3852862"/>
                <a:gd name="connsiteX7" fmla="*/ 315516 w 2543651"/>
                <a:gd name="connsiteY7" fmla="*/ 124778 h 3852862"/>
                <a:gd name="connsiteX8" fmla="*/ 617458 w 2543651"/>
                <a:gd name="connsiteY8" fmla="*/ 0 h 3852862"/>
                <a:gd name="connsiteX9" fmla="*/ 919401 w 2543651"/>
                <a:gd name="connsiteY9" fmla="*/ 124778 h 3852862"/>
                <a:gd name="connsiteX10" fmla="*/ 2418636 w 2543651"/>
                <a:gd name="connsiteY10" fmla="*/ 1624013 h 3852862"/>
                <a:gd name="connsiteX11" fmla="*/ 2418636 w 2543651"/>
                <a:gd name="connsiteY11" fmla="*/ 2227898 h 3852862"/>
                <a:gd name="connsiteX12" fmla="*/ 918448 w 2543651"/>
                <a:gd name="connsiteY12" fmla="*/ 3728085 h 3852862"/>
                <a:gd name="connsiteX13" fmla="*/ 616506 w 2543651"/>
                <a:gd name="connsiteY13" fmla="*/ 3852863 h 3852862"/>
                <a:gd name="connsiteX14" fmla="*/ 616506 w 2543651"/>
                <a:gd name="connsiteY14" fmla="*/ 195262 h 3852862"/>
                <a:gd name="connsiteX15" fmla="*/ 452676 w 2543651"/>
                <a:gd name="connsiteY15" fmla="*/ 262890 h 3852862"/>
                <a:gd name="connsiteX16" fmla="*/ 263128 w 2543651"/>
                <a:gd name="connsiteY16" fmla="*/ 452437 h 3852862"/>
                <a:gd name="connsiteX17" fmla="*/ 263128 w 2543651"/>
                <a:gd name="connsiteY17" fmla="*/ 780098 h 3852862"/>
                <a:gd name="connsiteX18" fmla="*/ 1340406 w 2543651"/>
                <a:gd name="connsiteY18" fmla="*/ 1857375 h 3852862"/>
                <a:gd name="connsiteX19" fmla="*/ 1340406 w 2543651"/>
                <a:gd name="connsiteY19" fmla="*/ 1995488 h 3852862"/>
                <a:gd name="connsiteX20" fmla="*/ 263128 w 2543651"/>
                <a:gd name="connsiteY20" fmla="*/ 3072765 h 3852862"/>
                <a:gd name="connsiteX21" fmla="*/ 263128 w 2543651"/>
                <a:gd name="connsiteY21" fmla="*/ 3400425 h 3852862"/>
                <a:gd name="connsiteX22" fmla="*/ 452676 w 2543651"/>
                <a:gd name="connsiteY22" fmla="*/ 3589973 h 3852862"/>
                <a:gd name="connsiteX23" fmla="*/ 616506 w 2543651"/>
                <a:gd name="connsiteY23" fmla="*/ 3657600 h 3852862"/>
                <a:gd name="connsiteX24" fmla="*/ 780336 w 2543651"/>
                <a:gd name="connsiteY24" fmla="*/ 3589973 h 3852862"/>
                <a:gd name="connsiteX25" fmla="*/ 2279571 w 2543651"/>
                <a:gd name="connsiteY25" fmla="*/ 2090738 h 3852862"/>
                <a:gd name="connsiteX26" fmla="*/ 2279571 w 2543651"/>
                <a:gd name="connsiteY26" fmla="*/ 1763078 h 3852862"/>
                <a:gd name="connsiteX27" fmla="*/ 780336 w 2543651"/>
                <a:gd name="connsiteY27" fmla="*/ 263843 h 3852862"/>
                <a:gd name="connsiteX28" fmla="*/ 616506 w 2543651"/>
                <a:gd name="connsiteY28" fmla="*/ 195262 h 385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43651" h="3852862">
                  <a:moveTo>
                    <a:pt x="616506" y="3852863"/>
                  </a:moveTo>
                  <a:cubicBezTo>
                    <a:pt x="502206" y="3852863"/>
                    <a:pt x="395526" y="3808095"/>
                    <a:pt x="314563" y="3728085"/>
                  </a:cubicBezTo>
                  <a:lnTo>
                    <a:pt x="125016" y="3538538"/>
                  </a:lnTo>
                  <a:cubicBezTo>
                    <a:pt x="-41672" y="3371850"/>
                    <a:pt x="-41672" y="3101340"/>
                    <a:pt x="125016" y="2934653"/>
                  </a:cubicBezTo>
                  <a:lnTo>
                    <a:pt x="1133713" y="1926908"/>
                  </a:lnTo>
                  <a:lnTo>
                    <a:pt x="125968" y="918210"/>
                  </a:lnTo>
                  <a:cubicBezTo>
                    <a:pt x="-40719" y="751523"/>
                    <a:pt x="-40719" y="481012"/>
                    <a:pt x="125968" y="314325"/>
                  </a:cubicBezTo>
                  <a:lnTo>
                    <a:pt x="315516" y="124778"/>
                  </a:lnTo>
                  <a:cubicBezTo>
                    <a:pt x="396478" y="43815"/>
                    <a:pt x="503158" y="0"/>
                    <a:pt x="617458" y="0"/>
                  </a:cubicBezTo>
                  <a:cubicBezTo>
                    <a:pt x="731758" y="0"/>
                    <a:pt x="838438" y="44768"/>
                    <a:pt x="919401" y="124778"/>
                  </a:cubicBezTo>
                  <a:lnTo>
                    <a:pt x="2418636" y="1624013"/>
                  </a:lnTo>
                  <a:cubicBezTo>
                    <a:pt x="2585323" y="1790700"/>
                    <a:pt x="2585323" y="2061210"/>
                    <a:pt x="2418636" y="2227898"/>
                  </a:cubicBezTo>
                  <a:lnTo>
                    <a:pt x="918448" y="3728085"/>
                  </a:lnTo>
                  <a:cubicBezTo>
                    <a:pt x="838438" y="3809048"/>
                    <a:pt x="730806" y="3852863"/>
                    <a:pt x="616506" y="3852863"/>
                  </a:cubicBezTo>
                  <a:close/>
                  <a:moveTo>
                    <a:pt x="616506" y="195262"/>
                  </a:moveTo>
                  <a:cubicBezTo>
                    <a:pt x="554593" y="195262"/>
                    <a:pt x="496491" y="219075"/>
                    <a:pt x="452676" y="262890"/>
                  </a:cubicBezTo>
                  <a:lnTo>
                    <a:pt x="263128" y="452437"/>
                  </a:lnTo>
                  <a:cubicBezTo>
                    <a:pt x="172641" y="542925"/>
                    <a:pt x="172641" y="689610"/>
                    <a:pt x="263128" y="780098"/>
                  </a:cubicBezTo>
                  <a:lnTo>
                    <a:pt x="1340406" y="1857375"/>
                  </a:lnTo>
                  <a:cubicBezTo>
                    <a:pt x="1378506" y="1895475"/>
                    <a:pt x="1378506" y="1957388"/>
                    <a:pt x="1340406" y="1995488"/>
                  </a:cubicBezTo>
                  <a:lnTo>
                    <a:pt x="263128" y="3072765"/>
                  </a:lnTo>
                  <a:cubicBezTo>
                    <a:pt x="172641" y="3163253"/>
                    <a:pt x="172641" y="3309938"/>
                    <a:pt x="263128" y="3400425"/>
                  </a:cubicBezTo>
                  <a:lnTo>
                    <a:pt x="452676" y="3589973"/>
                  </a:lnTo>
                  <a:cubicBezTo>
                    <a:pt x="496491" y="3633788"/>
                    <a:pt x="554593" y="3657600"/>
                    <a:pt x="616506" y="3657600"/>
                  </a:cubicBezTo>
                  <a:cubicBezTo>
                    <a:pt x="678418" y="3657600"/>
                    <a:pt x="736521" y="3633788"/>
                    <a:pt x="780336" y="3589973"/>
                  </a:cubicBezTo>
                  <a:lnTo>
                    <a:pt x="2279571" y="2090738"/>
                  </a:lnTo>
                  <a:cubicBezTo>
                    <a:pt x="2370058" y="2000250"/>
                    <a:pt x="2370058" y="1853565"/>
                    <a:pt x="2279571" y="1763078"/>
                  </a:cubicBezTo>
                  <a:lnTo>
                    <a:pt x="780336" y="263843"/>
                  </a:lnTo>
                  <a:cubicBezTo>
                    <a:pt x="736521" y="220028"/>
                    <a:pt x="678418" y="195262"/>
                    <a:pt x="616506" y="19526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1" name="Rectangle 20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67B803EA-6BCF-241A-3528-C237B676FE1D}"/>
              </a:ext>
            </a:extLst>
          </p:cNvPr>
          <p:cNvSpPr/>
          <p:nvPr/>
        </p:nvSpPr>
        <p:spPr>
          <a:xfrm>
            <a:off x="11781813" y="3216826"/>
            <a:ext cx="367941" cy="412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A1C616D1-7745-D39F-A91C-41FCD92A16C7}"/>
              </a:ext>
            </a:extLst>
          </p:cNvPr>
          <p:cNvSpPr/>
          <p:nvPr/>
        </p:nvSpPr>
        <p:spPr>
          <a:xfrm>
            <a:off x="33761" y="3216826"/>
            <a:ext cx="367941" cy="412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0ED13E93-BD64-778A-65D6-6E0F5466FD4C}"/>
              </a:ext>
            </a:extLst>
          </p:cNvPr>
          <p:cNvGrpSpPr/>
          <p:nvPr/>
        </p:nvGrpSpPr>
        <p:grpSpPr>
          <a:xfrm>
            <a:off x="11370735" y="238192"/>
            <a:ext cx="423331" cy="423331"/>
            <a:chOff x="8501571" y="159769"/>
            <a:chExt cx="357756" cy="357756"/>
          </a:xfrm>
        </p:grpSpPr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325FB6DC-282C-4DBA-900A-74AE0CE8FD87}"/>
                </a:ext>
              </a:extLst>
            </p:cNvPr>
            <p:cNvSpPr/>
            <p:nvPr userDrawn="1"/>
          </p:nvSpPr>
          <p:spPr>
            <a:xfrm>
              <a:off x="8501571" y="159769"/>
              <a:ext cx="357756" cy="3577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513B0FFD-46C1-32DE-C68A-B05BC27EBEAA}"/>
                </a:ext>
              </a:extLst>
            </p:cNvPr>
            <p:cNvCxnSpPr/>
            <p:nvPr userDrawn="1"/>
          </p:nvCxnSpPr>
          <p:spPr>
            <a:xfrm>
              <a:off x="8566150" y="342900"/>
              <a:ext cx="241300" cy="0"/>
            </a:xfrm>
            <a:prstGeom prst="line">
              <a:avLst/>
            </a:prstGeom>
            <a:ln w="38100" cap="rnd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ABD3DA6D-C4DD-ECC0-579F-6B8A4EA380E9}"/>
                </a:ext>
              </a:extLst>
            </p:cNvPr>
            <p:cNvCxnSpPr/>
            <p:nvPr userDrawn="1"/>
          </p:nvCxnSpPr>
          <p:spPr>
            <a:xfrm>
              <a:off x="8566150" y="275420"/>
              <a:ext cx="241300" cy="0"/>
            </a:xfrm>
            <a:prstGeom prst="line">
              <a:avLst/>
            </a:prstGeom>
            <a:ln w="38100" cap="rnd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E298BA75-FC60-98B5-E5CD-A09E2D308A1F}"/>
                </a:ext>
              </a:extLst>
            </p:cNvPr>
            <p:cNvCxnSpPr/>
            <p:nvPr userDrawn="1"/>
          </p:nvCxnSpPr>
          <p:spPr>
            <a:xfrm>
              <a:off x="8566150" y="410380"/>
              <a:ext cx="241300" cy="0"/>
            </a:xfrm>
            <a:prstGeom prst="line">
              <a:avLst/>
            </a:prstGeom>
            <a:ln w="38100" cap="rnd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6" name="Rectangle 135">
            <a:extLst>
              <a:ext uri="{FF2B5EF4-FFF2-40B4-BE49-F238E27FC236}">
                <a16:creationId xmlns:a16="http://schemas.microsoft.com/office/drawing/2014/main" id="{35CB5F3B-9DBC-64A8-F871-7514B99F645E}"/>
              </a:ext>
            </a:extLst>
          </p:cNvPr>
          <p:cNvSpPr/>
          <p:nvPr/>
        </p:nvSpPr>
        <p:spPr>
          <a:xfrm>
            <a:off x="14495359" y="4573"/>
            <a:ext cx="3886047" cy="6858000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04B7D190-4F58-29E5-B7CD-317D281DCF75}"/>
              </a:ext>
            </a:extLst>
          </p:cNvPr>
          <p:cNvGrpSpPr/>
          <p:nvPr/>
        </p:nvGrpSpPr>
        <p:grpSpPr>
          <a:xfrm>
            <a:off x="14927289" y="3197493"/>
            <a:ext cx="3150769" cy="1006217"/>
            <a:chOff x="6370197" y="2300694"/>
            <a:chExt cx="5045403" cy="1006217"/>
          </a:xfrm>
        </p:grpSpPr>
        <p:sp>
          <p:nvSpPr>
            <p:cNvPr id="138" name="TextBox 137">
              <a:hlinkClick r:id="rId4" action="ppaction://hlinksldjump"/>
              <a:extLst>
                <a:ext uri="{FF2B5EF4-FFF2-40B4-BE49-F238E27FC236}">
                  <a16:creationId xmlns:a16="http://schemas.microsoft.com/office/drawing/2014/main" id="{C577D6EA-EB31-E4D4-4A1F-3DE4F3D927B6}"/>
                </a:ext>
              </a:extLst>
            </p:cNvPr>
            <p:cNvSpPr txBox="1"/>
            <p:nvPr/>
          </p:nvSpPr>
          <p:spPr>
            <a:xfrm>
              <a:off x="6370197" y="2300694"/>
              <a:ext cx="1984236" cy="30777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reatment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9" name="TextBox 26, chunk 2">
              <a:hlinkClick r:id="rId5" action="ppaction://hlinksldjump"/>
              <a:extLst>
                <a:ext uri="{FF2B5EF4-FFF2-40B4-BE49-F238E27FC236}">
                  <a16:creationId xmlns:a16="http://schemas.microsoft.com/office/drawing/2014/main" id="{235D350A-5DC2-DD9B-B086-A70A80D89480}"/>
                </a:ext>
              </a:extLst>
            </p:cNvPr>
            <p:cNvSpPr txBox="1"/>
            <p:nvPr/>
          </p:nvSpPr>
          <p:spPr>
            <a:xfrm>
              <a:off x="6512436" y="2716471"/>
              <a:ext cx="4345808" cy="169277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ESMO guidance for the treatment of mCRC</a:t>
              </a:r>
            </a:p>
          </p:txBody>
        </p:sp>
        <p:sp>
          <p:nvSpPr>
            <p:cNvPr id="140" name="TextBox 26, chunk 2">
              <a:hlinkClick r:id="rId6" action="ppaction://hlinksldjump"/>
              <a:extLst>
                <a:ext uri="{FF2B5EF4-FFF2-40B4-BE49-F238E27FC236}">
                  <a16:creationId xmlns:a16="http://schemas.microsoft.com/office/drawing/2014/main" id="{9CD575EB-8522-B5CE-A4C5-DCBF754AFA62}"/>
                </a:ext>
              </a:extLst>
            </p:cNvPr>
            <p:cNvSpPr txBox="1"/>
            <p:nvPr/>
          </p:nvSpPr>
          <p:spPr>
            <a:xfrm>
              <a:off x="6512438" y="2968357"/>
              <a:ext cx="4903162" cy="338554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European expert panel guidance for the treatment of BRAFV600E-mutant mCRC</a:t>
              </a: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52A973D2-423E-EF20-FE9E-F1F1CB28736A}"/>
              </a:ext>
            </a:extLst>
          </p:cNvPr>
          <p:cNvGrpSpPr/>
          <p:nvPr/>
        </p:nvGrpSpPr>
        <p:grpSpPr>
          <a:xfrm>
            <a:off x="14927289" y="2601101"/>
            <a:ext cx="2106346" cy="307777"/>
            <a:chOff x="6370197" y="3962379"/>
            <a:chExt cx="3372946" cy="307777"/>
          </a:xfrm>
        </p:grpSpPr>
        <p:sp>
          <p:nvSpPr>
            <p:cNvPr id="142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774DF31F-A4BB-6F91-3D41-D93FFD82F7AD}"/>
                </a:ext>
              </a:extLst>
            </p:cNvPr>
            <p:cNvSpPr txBox="1"/>
            <p:nvPr/>
          </p:nvSpPr>
          <p:spPr>
            <a:xfrm>
              <a:off x="6512436" y="4014527"/>
              <a:ext cx="184819" cy="169277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   </a:t>
              </a:r>
            </a:p>
          </p:txBody>
        </p:sp>
        <p:sp>
          <p:nvSpPr>
            <p:cNvPr id="143" name="TextBox 142">
              <a:hlinkClick r:id="rId3" action="ppaction://hlinksldjump"/>
              <a:extLst>
                <a:ext uri="{FF2B5EF4-FFF2-40B4-BE49-F238E27FC236}">
                  <a16:creationId xmlns:a16="http://schemas.microsoft.com/office/drawing/2014/main" id="{C6580298-2F7F-B98D-0462-BFB280718FB5}"/>
                </a:ext>
              </a:extLst>
            </p:cNvPr>
            <p:cNvSpPr txBox="1"/>
            <p:nvPr/>
          </p:nvSpPr>
          <p:spPr>
            <a:xfrm>
              <a:off x="6370197" y="3962379"/>
              <a:ext cx="3372946" cy="30777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olecular testing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6F3BDC0C-6AD2-6CE0-1D3C-01E557269DB6}"/>
              </a:ext>
            </a:extLst>
          </p:cNvPr>
          <p:cNvGrpSpPr/>
          <p:nvPr/>
        </p:nvGrpSpPr>
        <p:grpSpPr>
          <a:xfrm>
            <a:off x="14927286" y="4492325"/>
            <a:ext cx="3246763" cy="307777"/>
            <a:chOff x="6370196" y="5232186"/>
            <a:chExt cx="3246763" cy="307777"/>
          </a:xfrm>
        </p:grpSpPr>
        <p:sp>
          <p:nvSpPr>
            <p:cNvPr id="145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89AB7E04-DB3F-BF3C-D0EC-7E59B9F1B24C}"/>
                </a:ext>
              </a:extLst>
            </p:cNvPr>
            <p:cNvSpPr txBox="1"/>
            <p:nvPr/>
          </p:nvSpPr>
          <p:spPr>
            <a:xfrm>
              <a:off x="6512437" y="5301435"/>
              <a:ext cx="1142943" cy="169277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46" name="TextBox 145">
              <a:hlinkClick r:id="" action="ppaction://noaction"/>
              <a:extLst>
                <a:ext uri="{FF2B5EF4-FFF2-40B4-BE49-F238E27FC236}">
                  <a16:creationId xmlns:a16="http://schemas.microsoft.com/office/drawing/2014/main" id="{D477A564-D5DE-57F5-57EC-918F590EAF69}"/>
                </a:ext>
              </a:extLst>
            </p:cNvPr>
            <p:cNvSpPr txBox="1"/>
            <p:nvPr/>
          </p:nvSpPr>
          <p:spPr>
            <a:xfrm>
              <a:off x="6370196" y="5232186"/>
              <a:ext cx="324676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ollow-up &amp; survivorship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1E08570-B420-88F3-E85F-1AC57926F632}"/>
              </a:ext>
            </a:extLst>
          </p:cNvPr>
          <p:cNvGrpSpPr/>
          <p:nvPr/>
        </p:nvGrpSpPr>
        <p:grpSpPr>
          <a:xfrm>
            <a:off x="14850659" y="487315"/>
            <a:ext cx="974311" cy="444045"/>
            <a:chOff x="6198682" y="635060"/>
            <a:chExt cx="974311" cy="444045"/>
          </a:xfrm>
        </p:grpSpPr>
        <p:sp>
          <p:nvSpPr>
            <p:cNvPr id="148" name="TextBox 147">
              <a:hlinkClick r:id="rId7" action="ppaction://hlinksldjump"/>
              <a:extLst>
                <a:ext uri="{FF2B5EF4-FFF2-40B4-BE49-F238E27FC236}">
                  <a16:creationId xmlns:a16="http://schemas.microsoft.com/office/drawing/2014/main" id="{CC9CA134-953B-9550-57ED-34FD62C62265}"/>
                </a:ext>
              </a:extLst>
            </p:cNvPr>
            <p:cNvSpPr txBox="1"/>
            <p:nvPr/>
          </p:nvSpPr>
          <p:spPr>
            <a:xfrm>
              <a:off x="6695298" y="863661"/>
              <a:ext cx="477695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ome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49" name="Graphic 148">
              <a:hlinkClick r:id="rId7" action="ppaction://hlinksldjump"/>
              <a:extLst>
                <a:ext uri="{FF2B5EF4-FFF2-40B4-BE49-F238E27FC236}">
                  <a16:creationId xmlns:a16="http://schemas.microsoft.com/office/drawing/2014/main" id="{000CC178-198D-CE91-F3BB-637E4910535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198682" y="635060"/>
              <a:ext cx="431761" cy="431761"/>
            </a:xfrm>
            <a:prstGeom prst="rect">
              <a:avLst/>
            </a:prstGeom>
          </p:spPr>
        </p:pic>
      </p:grpSp>
      <p:sp>
        <p:nvSpPr>
          <p:cNvPr id="150" name="Freeform 53">
            <a:extLst>
              <a:ext uri="{FF2B5EF4-FFF2-40B4-BE49-F238E27FC236}">
                <a16:creationId xmlns:a16="http://schemas.microsoft.com/office/drawing/2014/main" id="{5031C594-8BB4-D12E-2D63-95182B742701}"/>
              </a:ext>
            </a:extLst>
          </p:cNvPr>
          <p:cNvSpPr/>
          <p:nvPr/>
        </p:nvSpPr>
        <p:spPr>
          <a:xfrm rot="2700000">
            <a:off x="17611548" y="257149"/>
            <a:ext cx="330985" cy="330985"/>
          </a:xfrm>
          <a:custGeom>
            <a:avLst/>
            <a:gdLst>
              <a:gd name="connsiteX0" fmla="*/ 162000 w 324000"/>
              <a:gd name="connsiteY0" fmla="*/ 0 h 324000"/>
              <a:gd name="connsiteX1" fmla="*/ 180000 w 324000"/>
              <a:gd name="connsiteY1" fmla="*/ 18000 h 324000"/>
              <a:gd name="connsiteX2" fmla="*/ 180000 w 324000"/>
              <a:gd name="connsiteY2" fmla="*/ 144000 h 324000"/>
              <a:gd name="connsiteX3" fmla="*/ 306000 w 324000"/>
              <a:gd name="connsiteY3" fmla="*/ 144000 h 324000"/>
              <a:gd name="connsiteX4" fmla="*/ 324000 w 324000"/>
              <a:gd name="connsiteY4" fmla="*/ 162000 h 324000"/>
              <a:gd name="connsiteX5" fmla="*/ 306000 w 324000"/>
              <a:gd name="connsiteY5" fmla="*/ 180000 h 324000"/>
              <a:gd name="connsiteX6" fmla="*/ 180000 w 324000"/>
              <a:gd name="connsiteY6" fmla="*/ 180000 h 324000"/>
              <a:gd name="connsiteX7" fmla="*/ 180000 w 324000"/>
              <a:gd name="connsiteY7" fmla="*/ 306000 h 324000"/>
              <a:gd name="connsiteX8" fmla="*/ 162000 w 324000"/>
              <a:gd name="connsiteY8" fmla="*/ 324000 h 324000"/>
              <a:gd name="connsiteX9" fmla="*/ 144000 w 324000"/>
              <a:gd name="connsiteY9" fmla="*/ 306000 h 324000"/>
              <a:gd name="connsiteX10" fmla="*/ 144000 w 324000"/>
              <a:gd name="connsiteY10" fmla="*/ 180000 h 324000"/>
              <a:gd name="connsiteX11" fmla="*/ 18000 w 324000"/>
              <a:gd name="connsiteY11" fmla="*/ 180000 h 324000"/>
              <a:gd name="connsiteX12" fmla="*/ 0 w 324000"/>
              <a:gd name="connsiteY12" fmla="*/ 162000 h 324000"/>
              <a:gd name="connsiteX13" fmla="*/ 18000 w 324000"/>
              <a:gd name="connsiteY13" fmla="*/ 144000 h 324000"/>
              <a:gd name="connsiteX14" fmla="*/ 144000 w 324000"/>
              <a:gd name="connsiteY14" fmla="*/ 144000 h 324000"/>
              <a:gd name="connsiteX15" fmla="*/ 144000 w 324000"/>
              <a:gd name="connsiteY15" fmla="*/ 18000 h 324000"/>
              <a:gd name="connsiteX16" fmla="*/ 162000 w 324000"/>
              <a:gd name="connsiteY16" fmla="*/ 0 h 3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24000" h="324000">
                <a:moveTo>
                  <a:pt x="162000" y="0"/>
                </a:moveTo>
                <a:cubicBezTo>
                  <a:pt x="171941" y="0"/>
                  <a:pt x="180000" y="8059"/>
                  <a:pt x="180000" y="18000"/>
                </a:cubicBezTo>
                <a:lnTo>
                  <a:pt x="180000" y="144000"/>
                </a:lnTo>
                <a:lnTo>
                  <a:pt x="306000" y="144000"/>
                </a:lnTo>
                <a:cubicBezTo>
                  <a:pt x="315941" y="144000"/>
                  <a:pt x="324000" y="152059"/>
                  <a:pt x="324000" y="162000"/>
                </a:cubicBezTo>
                <a:cubicBezTo>
                  <a:pt x="324000" y="171941"/>
                  <a:pt x="315941" y="180000"/>
                  <a:pt x="306000" y="180000"/>
                </a:cubicBezTo>
                <a:lnTo>
                  <a:pt x="180000" y="180000"/>
                </a:lnTo>
                <a:lnTo>
                  <a:pt x="180000" y="306000"/>
                </a:lnTo>
                <a:cubicBezTo>
                  <a:pt x="180000" y="315941"/>
                  <a:pt x="171941" y="324000"/>
                  <a:pt x="162000" y="324000"/>
                </a:cubicBezTo>
                <a:cubicBezTo>
                  <a:pt x="152059" y="324000"/>
                  <a:pt x="144000" y="315941"/>
                  <a:pt x="144000" y="306000"/>
                </a:cubicBezTo>
                <a:lnTo>
                  <a:pt x="144000" y="180000"/>
                </a:lnTo>
                <a:lnTo>
                  <a:pt x="18000" y="180000"/>
                </a:lnTo>
                <a:cubicBezTo>
                  <a:pt x="8059" y="180000"/>
                  <a:pt x="0" y="171941"/>
                  <a:pt x="0" y="162000"/>
                </a:cubicBezTo>
                <a:cubicBezTo>
                  <a:pt x="0" y="152059"/>
                  <a:pt x="8059" y="144000"/>
                  <a:pt x="18000" y="144000"/>
                </a:cubicBezTo>
                <a:lnTo>
                  <a:pt x="144000" y="144000"/>
                </a:lnTo>
                <a:lnTo>
                  <a:pt x="144000" y="18000"/>
                </a:lnTo>
                <a:cubicBezTo>
                  <a:pt x="144000" y="8059"/>
                  <a:pt x="152059" y="0"/>
                  <a:pt x="162000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1" name="Triangle 5">
            <a:extLst>
              <a:ext uri="{FF2B5EF4-FFF2-40B4-BE49-F238E27FC236}">
                <a16:creationId xmlns:a16="http://schemas.microsoft.com/office/drawing/2014/main" id="{EBAB4726-881B-5039-3F1B-F3D14E5E8F25}"/>
              </a:ext>
            </a:extLst>
          </p:cNvPr>
          <p:cNvSpPr/>
          <p:nvPr/>
        </p:nvSpPr>
        <p:spPr>
          <a:xfrm rot="5400000">
            <a:off x="14811018" y="3653398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215E2B64-431B-9779-8067-ACAF7F0E7F94}"/>
              </a:ext>
            </a:extLst>
          </p:cNvPr>
          <p:cNvGrpSpPr/>
          <p:nvPr/>
        </p:nvGrpSpPr>
        <p:grpSpPr>
          <a:xfrm>
            <a:off x="12545015" y="3313834"/>
            <a:ext cx="2431425" cy="475588"/>
            <a:chOff x="4572000" y="1813393"/>
            <a:chExt cx="1823569" cy="356691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D6719860-4D67-14CD-28C1-DBE3E34CBF9F}"/>
                </a:ext>
              </a:extLst>
            </p:cNvPr>
            <p:cNvGrpSpPr/>
            <p:nvPr/>
          </p:nvGrpSpPr>
          <p:grpSpPr>
            <a:xfrm>
              <a:off x="4572000" y="1813393"/>
              <a:ext cx="1823569" cy="356691"/>
              <a:chOff x="4572000" y="1813393"/>
              <a:chExt cx="1823569" cy="356691"/>
            </a:xfrm>
            <a:solidFill>
              <a:schemeClr val="accent2">
                <a:lumMod val="75000"/>
                <a:alpha val="90000"/>
              </a:schemeClr>
            </a:solidFill>
          </p:grpSpPr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0F4A5317-71A7-87E1-FEA4-0C40EB9F8C10}"/>
                  </a:ext>
                </a:extLst>
              </p:cNvPr>
              <p:cNvSpPr/>
              <p:nvPr/>
            </p:nvSpPr>
            <p:spPr>
              <a:xfrm>
                <a:off x="4572000" y="1813393"/>
                <a:ext cx="1661570" cy="356691"/>
              </a:xfrm>
              <a:prstGeom prst="rect">
                <a:avLst/>
              </a:prstGeom>
              <a:solidFill>
                <a:schemeClr val="tx2">
                  <a:lumMod val="50000"/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58" name="Round Same-side Corner of Rectangle 139">
                <a:extLst>
                  <a:ext uri="{FF2B5EF4-FFF2-40B4-BE49-F238E27FC236}">
                    <a16:creationId xmlns:a16="http://schemas.microsoft.com/office/drawing/2014/main" id="{397A2964-2AD7-E1CC-1D55-8C47D3025556}"/>
                  </a:ext>
                </a:extLst>
              </p:cNvPr>
              <p:cNvSpPr/>
              <p:nvPr/>
            </p:nvSpPr>
            <p:spPr>
              <a:xfrm rot="5400000">
                <a:off x="6233569" y="2008084"/>
                <a:ext cx="162000" cy="162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5B82D254-C431-94C1-DFA0-3F38FD20A849}"/>
                </a:ext>
              </a:extLst>
            </p:cNvPr>
            <p:cNvGrpSpPr/>
            <p:nvPr/>
          </p:nvGrpSpPr>
          <p:grpSpPr>
            <a:xfrm>
              <a:off x="4685641" y="1866260"/>
              <a:ext cx="1434287" cy="256326"/>
              <a:chOff x="6338520" y="2037143"/>
              <a:chExt cx="3062350" cy="341769"/>
            </a:xfrm>
          </p:grpSpPr>
          <p:sp>
            <p:nvSpPr>
              <p:cNvPr id="155" name="TextBox 26, chunk 2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8CD32486-E663-78C2-0EED-0E08D3DE96FC}"/>
                  </a:ext>
                </a:extLst>
              </p:cNvPr>
              <p:cNvSpPr txBox="1"/>
              <p:nvPr/>
            </p:nvSpPr>
            <p:spPr>
              <a:xfrm>
                <a:off x="6338520" y="2037143"/>
                <a:ext cx="1973971" cy="143886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Resectable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 disease</a:t>
                </a:r>
              </a:p>
            </p:txBody>
          </p:sp>
          <p:sp>
            <p:nvSpPr>
              <p:cNvPr id="156" name="TextBox 26, chunk 2">
                <a:hlinkClick r:id="rId10" action="ppaction://hlinksldjump"/>
                <a:extLst>
                  <a:ext uri="{FF2B5EF4-FFF2-40B4-BE49-F238E27FC236}">
                    <a16:creationId xmlns:a16="http://schemas.microsoft.com/office/drawing/2014/main" id="{A193C86B-40D5-7EBC-02F5-361066B46B19}"/>
                  </a:ext>
                </a:extLst>
              </p:cNvPr>
              <p:cNvSpPr txBox="1"/>
              <p:nvPr/>
            </p:nvSpPr>
            <p:spPr>
              <a:xfrm>
                <a:off x="6338520" y="2235026"/>
                <a:ext cx="3062350" cy="143886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Unresectable stage IV disease</a:t>
                </a:r>
              </a:p>
            </p:txBody>
          </p:sp>
        </p:grpSp>
      </p:grpSp>
      <p:sp>
        <p:nvSpPr>
          <p:cNvPr id="159" name="Triangle 5">
            <a:extLst>
              <a:ext uri="{FF2B5EF4-FFF2-40B4-BE49-F238E27FC236}">
                <a16:creationId xmlns:a16="http://schemas.microsoft.com/office/drawing/2014/main" id="{581BEC19-1229-AF39-BA82-1F95E1C71AE1}"/>
              </a:ext>
            </a:extLst>
          </p:cNvPr>
          <p:cNvSpPr/>
          <p:nvPr/>
        </p:nvSpPr>
        <p:spPr>
          <a:xfrm rot="16200000">
            <a:off x="14811619" y="3653286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57B9D06D-2D68-AC5E-0C78-91E7A13B266F}"/>
              </a:ext>
            </a:extLst>
          </p:cNvPr>
          <p:cNvGrpSpPr/>
          <p:nvPr/>
        </p:nvGrpSpPr>
        <p:grpSpPr>
          <a:xfrm>
            <a:off x="14927285" y="1450153"/>
            <a:ext cx="2256082" cy="862333"/>
            <a:chOff x="10988323" y="909210"/>
            <a:chExt cx="1692062" cy="646749"/>
          </a:xfrm>
        </p:grpSpPr>
        <p:sp>
          <p:nvSpPr>
            <p:cNvPr id="164" name="TextBox 163">
              <a:hlinkClick r:id="rId11" action="ppaction://hlinksldjump"/>
              <a:extLst>
                <a:ext uri="{FF2B5EF4-FFF2-40B4-BE49-F238E27FC236}">
                  <a16:creationId xmlns:a16="http://schemas.microsoft.com/office/drawing/2014/main" id="{62B56D4D-FAED-CF49-7AD7-56ACCE41FCED}"/>
                </a:ext>
              </a:extLst>
            </p:cNvPr>
            <p:cNvSpPr txBox="1"/>
            <p:nvPr/>
          </p:nvSpPr>
          <p:spPr>
            <a:xfrm>
              <a:off x="10988323" y="909210"/>
              <a:ext cx="1197443" cy="230833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thodology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5" name="TextBox 26, chunk 2">
              <a:hlinkClick r:id="rId12" action="ppaction://hlinksldjump"/>
              <a:extLst>
                <a:ext uri="{FF2B5EF4-FFF2-40B4-BE49-F238E27FC236}">
                  <a16:creationId xmlns:a16="http://schemas.microsoft.com/office/drawing/2014/main" id="{20E686AD-7AA1-8F79-0957-B0B898546D28}"/>
                </a:ext>
              </a:extLst>
            </p:cNvPr>
            <p:cNvSpPr txBox="1"/>
            <p:nvPr/>
          </p:nvSpPr>
          <p:spPr>
            <a:xfrm>
              <a:off x="11054940" y="1221043"/>
              <a:ext cx="1625445" cy="126958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ESMO Clinical Practice Guidelines</a:t>
              </a:r>
            </a:p>
          </p:txBody>
        </p:sp>
        <p:sp>
          <p:nvSpPr>
            <p:cNvPr id="166" name="TextBox 26, chunk 2">
              <a:hlinkClick r:id="rId11" action="ppaction://hlinksldjump"/>
              <a:extLst>
                <a:ext uri="{FF2B5EF4-FFF2-40B4-BE49-F238E27FC236}">
                  <a16:creationId xmlns:a16="http://schemas.microsoft.com/office/drawing/2014/main" id="{D2BD0BF8-D53C-C3F1-8E22-7A06F8131AFE}"/>
                </a:ext>
              </a:extLst>
            </p:cNvPr>
            <p:cNvSpPr txBox="1"/>
            <p:nvPr/>
          </p:nvSpPr>
          <p:spPr>
            <a:xfrm>
              <a:off x="11054940" y="1429001"/>
              <a:ext cx="1605007" cy="126958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kern="0"/>
              </a:defPPr>
              <a:lvl1pPr>
                <a:lnSpc>
                  <a:spcPct val="85000"/>
                </a:lnSpc>
                <a:defRPr sz="825" kern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uropean expert panel consensus</a:t>
              </a:r>
            </a:p>
          </p:txBody>
        </p:sp>
      </p:grpSp>
      <p:sp>
        <p:nvSpPr>
          <p:cNvPr id="167" name="Triangle 5">
            <a:extLst>
              <a:ext uri="{FF2B5EF4-FFF2-40B4-BE49-F238E27FC236}">
                <a16:creationId xmlns:a16="http://schemas.microsoft.com/office/drawing/2014/main" id="{1E6B80E6-8656-D28A-3C28-D7C40D25874D}"/>
              </a:ext>
            </a:extLst>
          </p:cNvPr>
          <p:cNvSpPr/>
          <p:nvPr/>
        </p:nvSpPr>
        <p:spPr>
          <a:xfrm rot="5400000">
            <a:off x="14811018" y="3910346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C497E9CB-9729-AD4B-D879-90036AD841DD}"/>
              </a:ext>
            </a:extLst>
          </p:cNvPr>
          <p:cNvGrpSpPr/>
          <p:nvPr/>
        </p:nvGrpSpPr>
        <p:grpSpPr>
          <a:xfrm>
            <a:off x="12545016" y="3829821"/>
            <a:ext cx="2432044" cy="475588"/>
            <a:chOff x="4572000" y="1990638"/>
            <a:chExt cx="1824033" cy="356691"/>
          </a:xfrm>
        </p:grpSpPr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015A5383-E79E-B715-DE1F-B9F59783915D}"/>
                </a:ext>
              </a:extLst>
            </p:cNvPr>
            <p:cNvGrpSpPr/>
            <p:nvPr/>
          </p:nvGrpSpPr>
          <p:grpSpPr>
            <a:xfrm>
              <a:off x="4572000" y="1990638"/>
              <a:ext cx="1824033" cy="356691"/>
              <a:chOff x="4572000" y="1990638"/>
              <a:chExt cx="1824033" cy="356691"/>
            </a:xfrm>
            <a:solidFill>
              <a:schemeClr val="accent2">
                <a:lumMod val="75000"/>
                <a:alpha val="90000"/>
              </a:schemeClr>
            </a:solidFill>
          </p:grpSpPr>
          <p:sp>
            <p:nvSpPr>
              <p:cNvPr id="173" name="Rectangle 172">
                <a:extLst>
                  <a:ext uri="{FF2B5EF4-FFF2-40B4-BE49-F238E27FC236}">
                    <a16:creationId xmlns:a16="http://schemas.microsoft.com/office/drawing/2014/main" id="{1B86B34C-8E89-954C-FB70-43365FBE7DD1}"/>
                  </a:ext>
                </a:extLst>
              </p:cNvPr>
              <p:cNvSpPr/>
              <p:nvPr/>
            </p:nvSpPr>
            <p:spPr>
              <a:xfrm>
                <a:off x="4572000" y="1990638"/>
                <a:ext cx="1661570" cy="356691"/>
              </a:xfrm>
              <a:prstGeom prst="rect">
                <a:avLst/>
              </a:prstGeom>
              <a:solidFill>
                <a:schemeClr val="tx2">
                  <a:lumMod val="50000"/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74" name="Round Same-side Corner of Rectangle 164">
                <a:extLst>
                  <a:ext uri="{FF2B5EF4-FFF2-40B4-BE49-F238E27FC236}">
                    <a16:creationId xmlns:a16="http://schemas.microsoft.com/office/drawing/2014/main" id="{412778C8-4045-7A1B-964D-B8A390ECF827}"/>
                  </a:ext>
                </a:extLst>
              </p:cNvPr>
              <p:cNvSpPr/>
              <p:nvPr/>
            </p:nvSpPr>
            <p:spPr>
              <a:xfrm rot="5400000">
                <a:off x="6234033" y="1990638"/>
                <a:ext cx="162000" cy="162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B9B31EA6-CA67-C9DA-43E5-E086AC859BD0}"/>
                </a:ext>
              </a:extLst>
            </p:cNvPr>
            <p:cNvGrpSpPr/>
            <p:nvPr/>
          </p:nvGrpSpPr>
          <p:grpSpPr>
            <a:xfrm>
              <a:off x="4685640" y="2045170"/>
              <a:ext cx="1051971" cy="257735"/>
              <a:chOff x="6338520" y="2275666"/>
              <a:chExt cx="2246067" cy="343644"/>
            </a:xfrm>
          </p:grpSpPr>
          <p:sp>
            <p:nvSpPr>
              <p:cNvPr id="171" name="TextBox 26, chunk 2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BB44A78C-D09A-14FA-9DA2-BDCF00D81059}"/>
                  </a:ext>
                </a:extLst>
              </p:cNvPr>
              <p:cNvSpPr txBox="1"/>
              <p:nvPr/>
            </p:nvSpPr>
            <p:spPr>
              <a:xfrm>
                <a:off x="6338520" y="2275666"/>
                <a:ext cx="2246067" cy="143885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Key recommendations</a:t>
                </a:r>
              </a:p>
            </p:txBody>
          </p:sp>
          <p:sp>
            <p:nvSpPr>
              <p:cNvPr id="172" name="TextBox 26, chunk 2">
                <a:hlinkClick r:id="rId14" action="ppaction://hlinksldjump"/>
                <a:extLst>
                  <a:ext uri="{FF2B5EF4-FFF2-40B4-BE49-F238E27FC236}">
                    <a16:creationId xmlns:a16="http://schemas.microsoft.com/office/drawing/2014/main" id="{E4699C7C-7005-8416-A83E-ADCA97473641}"/>
                  </a:ext>
                </a:extLst>
              </p:cNvPr>
              <p:cNvSpPr txBox="1"/>
              <p:nvPr/>
            </p:nvSpPr>
            <p:spPr>
              <a:xfrm>
                <a:off x="6338520" y="2475425"/>
                <a:ext cx="1732680" cy="143885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Patient scenarios</a:t>
                </a:r>
              </a:p>
            </p:txBody>
          </p:sp>
        </p:grpSp>
      </p:grpSp>
      <p:sp>
        <p:nvSpPr>
          <p:cNvPr id="175" name="Triangle 5">
            <a:extLst>
              <a:ext uri="{FF2B5EF4-FFF2-40B4-BE49-F238E27FC236}">
                <a16:creationId xmlns:a16="http://schemas.microsoft.com/office/drawing/2014/main" id="{A2A27F72-11AA-2106-B460-89EFC157488B}"/>
              </a:ext>
            </a:extLst>
          </p:cNvPr>
          <p:cNvSpPr/>
          <p:nvPr/>
        </p:nvSpPr>
        <p:spPr>
          <a:xfrm rot="16200000">
            <a:off x="14811619" y="3910234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FBA023B9-B417-F625-B591-F57A15830D18}"/>
              </a:ext>
            </a:extLst>
          </p:cNvPr>
          <p:cNvGrpSpPr/>
          <p:nvPr/>
        </p:nvGrpSpPr>
        <p:grpSpPr>
          <a:xfrm>
            <a:off x="14927286" y="5088717"/>
            <a:ext cx="3246763" cy="307777"/>
            <a:chOff x="6370196" y="5232186"/>
            <a:chExt cx="3246763" cy="307777"/>
          </a:xfrm>
        </p:grpSpPr>
        <p:sp>
          <p:nvSpPr>
            <p:cNvPr id="177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7E57ABB5-753D-359B-4B76-1377D2851F2C}"/>
                </a:ext>
              </a:extLst>
            </p:cNvPr>
            <p:cNvSpPr txBox="1"/>
            <p:nvPr/>
          </p:nvSpPr>
          <p:spPr>
            <a:xfrm>
              <a:off x="6512437" y="5301435"/>
              <a:ext cx="1142943" cy="169277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78" name="TextBox 177">
              <a:hlinkClick r:id="rId15" action="ppaction://hlinksldjump"/>
              <a:extLst>
                <a:ext uri="{FF2B5EF4-FFF2-40B4-BE49-F238E27FC236}">
                  <a16:creationId xmlns:a16="http://schemas.microsoft.com/office/drawing/2014/main" id="{432E6E51-E20A-9D8D-64DA-7907D487E1B1}"/>
                </a:ext>
              </a:extLst>
            </p:cNvPr>
            <p:cNvSpPr txBox="1"/>
            <p:nvPr/>
          </p:nvSpPr>
          <p:spPr>
            <a:xfrm>
              <a:off x="6370196" y="5232186"/>
              <a:ext cx="324676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lossary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781F745F-A744-AD54-1103-92074F43DAB9}"/>
              </a:ext>
            </a:extLst>
          </p:cNvPr>
          <p:cNvGrpSpPr/>
          <p:nvPr/>
        </p:nvGrpSpPr>
        <p:grpSpPr>
          <a:xfrm>
            <a:off x="14927286" y="5685109"/>
            <a:ext cx="3246763" cy="307777"/>
            <a:chOff x="6370196" y="5232186"/>
            <a:chExt cx="3246763" cy="307777"/>
          </a:xfrm>
        </p:grpSpPr>
        <p:sp>
          <p:nvSpPr>
            <p:cNvPr id="185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FB8DA146-DD26-5382-43D8-B85C7D56149C}"/>
                </a:ext>
              </a:extLst>
            </p:cNvPr>
            <p:cNvSpPr txBox="1"/>
            <p:nvPr/>
          </p:nvSpPr>
          <p:spPr>
            <a:xfrm>
              <a:off x="6512437" y="5301435"/>
              <a:ext cx="1142943" cy="169277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87" name="TextBox 186">
              <a:hlinkClick r:id="rId16" action="ppaction://hlinksldjump"/>
              <a:extLst>
                <a:ext uri="{FF2B5EF4-FFF2-40B4-BE49-F238E27FC236}">
                  <a16:creationId xmlns:a16="http://schemas.microsoft.com/office/drawing/2014/main" id="{1636223F-E768-9551-E6D2-6B5ED01336F9}"/>
                </a:ext>
              </a:extLst>
            </p:cNvPr>
            <p:cNvSpPr txBox="1"/>
            <p:nvPr/>
          </p:nvSpPr>
          <p:spPr>
            <a:xfrm>
              <a:off x="6370196" y="5232186"/>
              <a:ext cx="324676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ferences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5125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7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mph" presetSubtype="0" autoRev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10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33" restart="whenNotActive" fill="hold" evtFilter="cancelBubble" nodeType="interactiveSeq">
                <p:stCondLst>
                  <p:cond evt="onClick" delay="0">
                    <p:tgtEl>
                      <p:spTgt spid="15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4" fill="hold">
                      <p:stCondLst>
                        <p:cond delay="0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xit" presetSubtype="2" repeatCount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7" dur="10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" presetClass="exit" presetSubtype="2" accel="50000" decel="5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1" dur="1000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1000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2" presetClass="exit" presetSubtype="2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5" dur="1000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1000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2" presetClass="exit" presetSubtype="2" accel="50000" decel="5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9" dur="1000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1000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2" presetClass="exit" presetSubtype="2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3" dur="1000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1000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0" presetClass="exit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3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2" presetClass="exit" presetSubtype="2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0" dur="1000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1000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2" presetClass="exit" presetSubtype="2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4" dur="1000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000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3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3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3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2" presetClass="exit" presetSubtype="2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7" dur="1000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1000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2" presetClass="exit" presetSubtype="2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1" dur="1000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1000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2" presetClass="exit" presetSubtype="2" accel="50000" decel="5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5" dur="1000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1000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2" presetClass="exit" presetSubtype="2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9" dur="1000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1000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0"/>
                  </p:tgtEl>
                </p:cond>
              </p:nextCondLst>
            </p:seq>
            <p:seq concurrent="1" nextAc="seek">
              <p:cTn id="92" restart="whenNotActive" fill="hold" evtFilter="cancelBubble" nodeType="interactiveSeq">
                <p:stCondLst>
                  <p:cond evt="onClick" delay="0">
                    <p:tgtEl>
                      <p:spTgt spid="13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3" fill="hold">
                      <p:stCondLst>
                        <p:cond delay="0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-4.44444E-6 L -0.50612 -4.44444E-6 " pathEditMode="relative" rAng="0" ptsTypes="AA">
                                      <p:cBhvr>
                                        <p:cTn id="96" dur="2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13" y="0"/>
                                    </p:animMotion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35" presetClass="path" presetSubtype="0" accel="50000" decel="5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4.16667E-6 4.44444E-6 L -0.25 4.44444E-6 " pathEditMode="relative" rAng="0" ptsTypes="AA">
                                      <p:cBhvr>
                                        <p:cTn id="128" dur="20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0" y="0"/>
                                    </p:animMotion>
                                  </p:childTnLst>
                                </p:cTn>
                              </p:par>
                              <p:par>
                                <p:cTn id="129" presetID="35" presetClass="path" presetSubtype="0" accel="50000" decel="5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2.70833E-6 -2.22222E-6 L -0.50638 -2.22222E-6 " pathEditMode="relative" rAng="0" ptsTypes="AA">
                                      <p:cBhvr>
                                        <p:cTn id="130" dur="20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26" y="0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35" presetClass="path" presetSubtype="0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3.125E-6 4.44444E-6 L -0.50742 4.44444E-6 " pathEditMode="relative" rAng="0" ptsTypes="AA">
                                      <p:cBhvr>
                                        <p:cTn id="132" dur="20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78" y="0"/>
                                    </p:animMotion>
                                  </p:childTnLst>
                                </p:cTn>
                              </p:par>
                              <p:par>
                                <p:cTn id="133" presetID="35" presetClass="path" presetSubtype="0" accel="50000" decel="5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2.91667E-6 -3.7037E-7 L -0.50716 -3.7037E-7 " pathEditMode="relative" rAng="0" ptsTypes="AA">
                                      <p:cBhvr>
                                        <p:cTn id="134" dur="2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65" y="0"/>
                                    </p:animMotion>
                                  </p:childTnLst>
                                </p:cTn>
                              </p:par>
                              <p:par>
                                <p:cTn id="135" presetID="35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375E-6 -3.33333E-6 L -0.50586 -3.33333E-6 " pathEditMode="relative" rAng="0" ptsTypes="AA">
                                      <p:cBhvr>
                                        <p:cTn id="136" dur="2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37" presetID="35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16667E-6 -4.07407E-6 L -0.50573 -4.07407E-6 " pathEditMode="relative" rAng="0" ptsTypes="AA">
                                      <p:cBhvr>
                                        <p:cTn id="138" dur="20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86" y="0"/>
                                    </p:animMotion>
                                  </p:childTnLst>
                                </p:cTn>
                              </p:par>
                              <p:par>
                                <p:cTn id="139" presetID="35" presetClass="pat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1.11111E-6 L -0.50677 -1.11111E-6 " pathEditMode="relative" rAng="0" ptsTypes="AA">
                                      <p:cBhvr>
                                        <p:cTn id="140" dur="2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39" y="0"/>
                                    </p:animMotion>
                                  </p:childTnLst>
                                </p:cTn>
                              </p:par>
                              <p:par>
                                <p:cTn id="141" presetID="35" presetClass="pat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1.11111E-6 L -0.50677 -1.11111E-6 " pathEditMode="relative" rAng="0" ptsTypes="AA">
                                      <p:cBhvr>
                                        <p:cTn id="142" dur="20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39" y="0"/>
                                    </p:animMotion>
                                  </p:childTnLst>
                                </p:cTn>
                              </p:par>
                              <p:par>
                                <p:cTn id="143" presetID="35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16667E-6 4.44444E-6 L -0.50586 4.44444E-6 " pathEditMode="relative" rAng="0" ptsTypes="AA">
                                      <p:cBhvr>
                                        <p:cTn id="144" dur="20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45" presetID="35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0.00185 L -0.50612 -0.00185 " pathEditMode="relative" rAng="0" ptsTypes="AA">
                                      <p:cBhvr>
                                        <p:cTn id="146" dur="20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13" y="0"/>
                                    </p:animMotion>
                                  </p:childTnLst>
                                </p:cTn>
                              </p:par>
                              <p:par>
                                <p:cTn id="147" presetID="35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0.00185 L -0.50612 -0.00185 " pathEditMode="relative" rAng="0" ptsTypes="AA">
                                      <p:cBhvr>
                                        <p:cTn id="148" dur="20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13" y="0"/>
                                    </p:animMotion>
                                  </p:childTnLst>
                                </p:cTn>
                              </p:par>
                              <p:par>
                                <p:cTn id="149" presetID="35" presetClass="path" presetSubtype="0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875E-6 3.7037E-6 L -0.50586 3.7037E-6 " pathEditMode="relative" rAng="0" ptsTypes="AA">
                                      <p:cBhvr>
                                        <p:cTn id="150" dur="2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51" presetID="35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1.85185E-6 L -0.50586 -1.85185E-6 " pathEditMode="relative" rAng="0" ptsTypes="AA">
                                      <p:cBhvr>
                                        <p:cTn id="152" dur="20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53" presetID="35" presetClass="path" presetSubtype="0" accel="50000" decel="5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1.875E-6 1.11111E-6 L -0.50586 1.11111E-6 " pathEditMode="relative" rAng="0" ptsTypes="AA">
                                      <p:cBhvr>
                                        <p:cTn id="154" dur="20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55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-4.07407E-6 L -0.50586 -4.07407E-6 " pathEditMode="relative" rAng="0" ptsTypes="AA">
                                      <p:cBhvr>
                                        <p:cTn id="156" dur="2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1"/>
                  </p:tgtEl>
                </p:cond>
              </p:nextCondLst>
            </p:seq>
            <p:seq concurrent="1" nextAc="seek">
              <p:cTn id="157" restart="whenNotActive" fill="hold" evtFilter="cancelBubble" nodeType="interactiveSeq">
                <p:stCondLst>
                  <p:cond evt="onClick" delay="0">
                    <p:tgtEl>
                      <p:spTgt spid="15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8" fill="hold">
                      <p:stCondLst>
                        <p:cond delay="0"/>
                      </p:stCondLst>
                      <p:childTnLst>
                        <p:par>
                          <p:cTn id="159" fill="hold">
                            <p:stCondLst>
                              <p:cond delay="0"/>
                            </p:stCondLst>
                            <p:childTnLst>
                              <p:par>
                                <p:cTn id="16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2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4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1"/>
                  </p:tgtEl>
                </p:cond>
              </p:nextCondLst>
            </p:seq>
            <p:seq concurrent="1" nextAc="seek">
              <p:cTn id="169" restart="whenNotActive" fill="hold" evtFilter="cancelBubble" nodeType="interactiveSeq">
                <p:stCondLst>
                  <p:cond evt="onClick" delay="0">
                    <p:tgtEl>
                      <p:spTgt spid="15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0" fill="hold">
                      <p:stCondLst>
                        <p:cond delay="0"/>
                      </p:stCondLst>
                      <p:childTnLst>
                        <p:par>
                          <p:cTn id="171" fill="hold">
                            <p:stCondLst>
                              <p:cond delay="0"/>
                            </p:stCondLst>
                            <p:childTnLst>
                              <p:par>
                                <p:cTn id="172" presetID="2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73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6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8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9"/>
                  </p:tgtEl>
                </p:cond>
              </p:nextCondLst>
            </p:seq>
            <p:seq concurrent="1" nextAc="seek">
              <p:cTn id="181" restart="whenNotActive" fill="hold" evtFilter="cancelBubble" nodeType="interactiveSeq">
                <p:stCondLst>
                  <p:cond evt="onClick" delay="0">
                    <p:tgtEl>
                      <p:spTgt spid="16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2" fill="hold">
                      <p:stCondLst>
                        <p:cond delay="0"/>
                      </p:stCondLst>
                      <p:childTnLst>
                        <p:par>
                          <p:cTn id="183" fill="hold">
                            <p:stCondLst>
                              <p:cond delay="0"/>
                            </p:stCondLst>
                            <p:childTnLst>
                              <p:par>
                                <p:cTn id="18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6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8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7"/>
                  </p:tgtEl>
                </p:cond>
              </p:nextCondLst>
            </p:seq>
            <p:seq concurrent="1" nextAc="seek">
              <p:cTn id="193" restart="whenNotActive" fill="hold" evtFilter="cancelBubble" nodeType="interactiveSeq">
                <p:stCondLst>
                  <p:cond evt="onClick" delay="0">
                    <p:tgtEl>
                      <p:spTgt spid="17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4" fill="hold">
                      <p:stCondLst>
                        <p:cond delay="0"/>
                      </p:stCondLst>
                      <p:childTnLst>
                        <p:par>
                          <p:cTn id="195" fill="hold">
                            <p:stCondLst>
                              <p:cond delay="0"/>
                            </p:stCondLst>
                            <p:childTnLst>
                              <p:par>
                                <p:cTn id="196" presetID="2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97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0" dur="3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5"/>
                  </p:tgtEl>
                </p:cond>
              </p:nextCondLst>
            </p:seq>
          </p:childTnLst>
        </p:cTn>
      </p:par>
    </p:tnLst>
    <p:bldLst>
      <p:bldP spid="136" grpId="0" animBg="1"/>
      <p:bldP spid="136" grpId="1" animBg="1"/>
      <p:bldP spid="136" grpId="2" animBg="1"/>
      <p:bldP spid="150" grpId="0" animBg="1"/>
      <p:bldP spid="150" grpId="1" animBg="1"/>
      <p:bldP spid="150" grpId="2" animBg="1"/>
      <p:bldP spid="151" grpId="0" animBg="1"/>
      <p:bldP spid="151" grpId="1" animBg="1"/>
      <p:bldP spid="151" grpId="2" animBg="1"/>
      <p:bldP spid="151" grpId="3" animBg="1"/>
      <p:bldP spid="151" grpId="4" animBg="1"/>
      <p:bldP spid="159" grpId="0" animBg="1"/>
      <p:bldP spid="159" grpId="1" animBg="1"/>
      <p:bldP spid="159" grpId="2" animBg="1"/>
      <p:bldP spid="159" grpId="3" animBg="1"/>
      <p:bldP spid="164" grpId="0"/>
      <p:bldP spid="167" grpId="0" animBg="1"/>
      <p:bldP spid="167" grpId="1" animBg="1"/>
      <p:bldP spid="167" grpId="2" animBg="1"/>
      <p:bldP spid="167" grpId="3" animBg="1"/>
      <p:bldP spid="167" grpId="4" animBg="1"/>
      <p:bldP spid="175" grpId="0" animBg="1"/>
      <p:bldP spid="175" grpId="1" animBg="1"/>
      <p:bldP spid="175" grpId="2" animBg="1"/>
      <p:bldP spid="175" grpId="3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 Same-side Corner of Rectangle 28">
            <a:extLst>
              <a:ext uri="{FF2B5EF4-FFF2-40B4-BE49-F238E27FC236}">
                <a16:creationId xmlns:a16="http://schemas.microsoft.com/office/drawing/2014/main" id="{85546CF5-DB16-7995-51A3-B0BE412410B6}"/>
              </a:ext>
            </a:extLst>
          </p:cNvPr>
          <p:cNvSpPr/>
          <p:nvPr/>
        </p:nvSpPr>
        <p:spPr>
          <a:xfrm rot="16200000">
            <a:off x="488953" y="1822450"/>
            <a:ext cx="933450" cy="1022349"/>
          </a:xfrm>
          <a:prstGeom prst="round2SameRect">
            <a:avLst>
              <a:gd name="adj1" fmla="val 8724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ound Same-side Corner of Rectangle 29">
            <a:extLst>
              <a:ext uri="{FF2B5EF4-FFF2-40B4-BE49-F238E27FC236}">
                <a16:creationId xmlns:a16="http://schemas.microsoft.com/office/drawing/2014/main" id="{491EBD03-EFE9-32F4-58AD-D8FF02CFDB5F}"/>
              </a:ext>
            </a:extLst>
          </p:cNvPr>
          <p:cNvSpPr/>
          <p:nvPr/>
        </p:nvSpPr>
        <p:spPr>
          <a:xfrm rot="16200000">
            <a:off x="585791" y="2706688"/>
            <a:ext cx="739776" cy="1022349"/>
          </a:xfrm>
          <a:prstGeom prst="round2SameRect">
            <a:avLst>
              <a:gd name="adj1" fmla="val 9986"/>
              <a:gd name="adj2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ound Same-side Corner of Rectangle 30">
            <a:extLst>
              <a:ext uri="{FF2B5EF4-FFF2-40B4-BE49-F238E27FC236}">
                <a16:creationId xmlns:a16="http://schemas.microsoft.com/office/drawing/2014/main" id="{835D4C99-6793-F314-40B3-198F06400D8A}"/>
              </a:ext>
            </a:extLst>
          </p:cNvPr>
          <p:cNvSpPr/>
          <p:nvPr/>
        </p:nvSpPr>
        <p:spPr>
          <a:xfrm rot="16200000">
            <a:off x="-198432" y="4275137"/>
            <a:ext cx="2308225" cy="1022349"/>
          </a:xfrm>
          <a:prstGeom prst="round2SameRect">
            <a:avLst>
              <a:gd name="adj1" fmla="val 6998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ound Same-side Corner of Rectangle 18">
            <a:extLst>
              <a:ext uri="{FF2B5EF4-FFF2-40B4-BE49-F238E27FC236}">
                <a16:creationId xmlns:a16="http://schemas.microsoft.com/office/drawing/2014/main" id="{DDFB82EB-8933-015A-E04F-82480595B628}"/>
              </a:ext>
            </a:extLst>
          </p:cNvPr>
          <p:cNvSpPr/>
          <p:nvPr/>
        </p:nvSpPr>
        <p:spPr>
          <a:xfrm>
            <a:off x="1510749" y="1170425"/>
            <a:ext cx="1639955" cy="658375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ound Same-side Corner of Rectangle 20">
            <a:extLst>
              <a:ext uri="{FF2B5EF4-FFF2-40B4-BE49-F238E27FC236}">
                <a16:creationId xmlns:a16="http://schemas.microsoft.com/office/drawing/2014/main" id="{A3099019-1DCE-9858-24AA-AA926598517D}"/>
              </a:ext>
            </a:extLst>
          </p:cNvPr>
          <p:cNvSpPr/>
          <p:nvPr/>
        </p:nvSpPr>
        <p:spPr>
          <a:xfrm>
            <a:off x="3210340" y="1170425"/>
            <a:ext cx="1639955" cy="658375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ound Same-side Corner of Rectangle 24">
            <a:extLst>
              <a:ext uri="{FF2B5EF4-FFF2-40B4-BE49-F238E27FC236}">
                <a16:creationId xmlns:a16="http://schemas.microsoft.com/office/drawing/2014/main" id="{A820016C-1551-F237-5544-7B2389C009E7}"/>
              </a:ext>
            </a:extLst>
          </p:cNvPr>
          <p:cNvSpPr/>
          <p:nvPr/>
        </p:nvSpPr>
        <p:spPr>
          <a:xfrm>
            <a:off x="4899993" y="1170425"/>
            <a:ext cx="1639955" cy="658375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ound Same-side Corner of Rectangle 25">
            <a:extLst>
              <a:ext uri="{FF2B5EF4-FFF2-40B4-BE49-F238E27FC236}">
                <a16:creationId xmlns:a16="http://schemas.microsoft.com/office/drawing/2014/main" id="{2450840F-7A76-C47F-2717-956405BEFD50}"/>
              </a:ext>
            </a:extLst>
          </p:cNvPr>
          <p:cNvSpPr/>
          <p:nvPr/>
        </p:nvSpPr>
        <p:spPr>
          <a:xfrm>
            <a:off x="6579706" y="1170425"/>
            <a:ext cx="1639955" cy="658375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ound Same-side Corner of Rectangle 26">
            <a:extLst>
              <a:ext uri="{FF2B5EF4-FFF2-40B4-BE49-F238E27FC236}">
                <a16:creationId xmlns:a16="http://schemas.microsoft.com/office/drawing/2014/main" id="{8CA5BE3E-DF75-BACB-15F9-D3246EA43908}"/>
              </a:ext>
            </a:extLst>
          </p:cNvPr>
          <p:cNvSpPr/>
          <p:nvPr/>
        </p:nvSpPr>
        <p:spPr>
          <a:xfrm>
            <a:off x="8279298" y="1170425"/>
            <a:ext cx="1639955" cy="658375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ound Same-side Corner of Rectangle 27">
            <a:extLst>
              <a:ext uri="{FF2B5EF4-FFF2-40B4-BE49-F238E27FC236}">
                <a16:creationId xmlns:a16="http://schemas.microsoft.com/office/drawing/2014/main" id="{D47430F0-C3A2-34D5-5F1E-24B19CD2FC9E}"/>
              </a:ext>
            </a:extLst>
          </p:cNvPr>
          <p:cNvSpPr/>
          <p:nvPr/>
        </p:nvSpPr>
        <p:spPr>
          <a:xfrm>
            <a:off x="9968950" y="1170425"/>
            <a:ext cx="1811592" cy="658375"/>
          </a:xfrm>
          <a:prstGeom prst="round2Same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9D87F2-0315-CB40-B6B9-9FDD0A8C00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179" y="366184"/>
            <a:ext cx="11411085" cy="609600"/>
          </a:xfrm>
        </p:spPr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>
                <a:solidFill>
                  <a:schemeClr val="tx2"/>
                </a:solidFill>
              </a:rPr>
              <a:t>Overview of ESMO recommendations for biomarker testing in mCRC</a:t>
            </a:r>
            <a:r>
              <a:rPr lang="en-GB" baseline="30000" noProof="0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7275B4-29BD-9AE2-0C16-E8788C545C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550" y="6315431"/>
            <a:ext cx="3832564" cy="327025"/>
          </a:xfrm>
          <a:noFill/>
        </p:spPr>
        <p:txBody>
          <a:bodyPr wrap="square" lIns="0" tIns="0" rIns="0" bIns="0" rtlCol="0" anchor="b" anchorCtr="0">
            <a:no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  <a:cs typeface="Times New Roman" panose="02020603050405020304" pitchFamily="18" charset="0"/>
              </a:rPr>
              <a:t>*Level of evidence: case report; †level of evidence: original research study.</a:t>
            </a:r>
          </a:p>
        </p:txBody>
      </p:sp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id="{226BDA95-893D-0402-86FE-44A48D7B1E71}"/>
              </a:ext>
            </a:extLst>
          </p:cNvPr>
          <p:cNvGraphicFramePr>
            <a:graphicFrameLocks noGrp="1"/>
          </p:cNvGraphicFramePr>
          <p:nvPr/>
        </p:nvGraphicFramePr>
        <p:xfrm>
          <a:off x="440542" y="1164666"/>
          <a:ext cx="11340000" cy="478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000">
                  <a:extLst>
                    <a:ext uri="{9D8B030D-6E8A-4147-A177-3AD203B41FA5}">
                      <a16:colId xmlns:a16="http://schemas.microsoft.com/office/drawing/2014/main" val="3810630536"/>
                    </a:ext>
                  </a:extLst>
                </a:gridCol>
                <a:gridCol w="1692000">
                  <a:extLst>
                    <a:ext uri="{9D8B030D-6E8A-4147-A177-3AD203B41FA5}">
                      <a16:colId xmlns:a16="http://schemas.microsoft.com/office/drawing/2014/main" val="3829562117"/>
                    </a:ext>
                  </a:extLst>
                </a:gridCol>
                <a:gridCol w="1692000">
                  <a:extLst>
                    <a:ext uri="{9D8B030D-6E8A-4147-A177-3AD203B41FA5}">
                      <a16:colId xmlns:a16="http://schemas.microsoft.com/office/drawing/2014/main" val="395900394"/>
                    </a:ext>
                  </a:extLst>
                </a:gridCol>
                <a:gridCol w="1692000">
                  <a:extLst>
                    <a:ext uri="{9D8B030D-6E8A-4147-A177-3AD203B41FA5}">
                      <a16:colId xmlns:a16="http://schemas.microsoft.com/office/drawing/2014/main" val="3841446666"/>
                    </a:ext>
                  </a:extLst>
                </a:gridCol>
                <a:gridCol w="1692000">
                  <a:extLst>
                    <a:ext uri="{9D8B030D-6E8A-4147-A177-3AD203B41FA5}">
                      <a16:colId xmlns:a16="http://schemas.microsoft.com/office/drawing/2014/main" val="1884579616"/>
                    </a:ext>
                  </a:extLst>
                </a:gridCol>
                <a:gridCol w="1692000">
                  <a:extLst>
                    <a:ext uri="{9D8B030D-6E8A-4147-A177-3AD203B41FA5}">
                      <a16:colId xmlns:a16="http://schemas.microsoft.com/office/drawing/2014/main" val="853073966"/>
                    </a:ext>
                  </a:extLst>
                </a:gridCol>
                <a:gridCol w="1836000">
                  <a:extLst>
                    <a:ext uri="{9D8B030D-6E8A-4147-A177-3AD203B41FA5}">
                      <a16:colId xmlns:a16="http://schemas.microsoft.com/office/drawing/2014/main" val="1091768335"/>
                    </a:ext>
                  </a:extLst>
                </a:gridCol>
              </a:tblGrid>
              <a:tr h="68400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600" b="1" dirty="0"/>
                        <a:t>MSI/MMR </a:t>
                      </a:r>
                      <a:br>
                        <a:rPr lang="en-GB" sz="1600" b="1" dirty="0"/>
                      </a:br>
                      <a:r>
                        <a:rPr lang="en-GB" sz="1600" b="1" dirty="0"/>
                        <a:t>status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600" b="1" i="1" dirty="0"/>
                        <a:t>RAS</a:t>
                      </a:r>
                      <a:r>
                        <a:rPr lang="en-GB" sz="1600" b="1" dirty="0"/>
                        <a:t> mutations</a:t>
                      </a:r>
                    </a:p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950" b="1" i="1" dirty="0"/>
                        <a:t>(KRAS </a:t>
                      </a:r>
                      <a:r>
                        <a:rPr lang="en-GB" sz="950" b="1" i="0" dirty="0"/>
                        <a:t>and</a:t>
                      </a:r>
                      <a:r>
                        <a:rPr lang="en-GB" sz="950" b="1" i="1" dirty="0"/>
                        <a:t> NRAS</a:t>
                      </a:r>
                      <a:br>
                        <a:rPr lang="en-GB" sz="950" b="1" i="1" dirty="0"/>
                      </a:br>
                      <a:r>
                        <a:rPr lang="en-GB" sz="950" b="1" i="1" dirty="0"/>
                        <a:t> exons 2, 3, 4)</a:t>
                      </a:r>
                    </a:p>
                  </a:txBody>
                  <a:tcPr marL="36000"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600" b="1" i="1" dirty="0"/>
                        <a:t>BRAF</a:t>
                      </a:r>
                      <a:r>
                        <a:rPr lang="en-GB" sz="1600" b="1" dirty="0"/>
                        <a:t> mutations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600" b="1" i="1" dirty="0"/>
                        <a:t>HER2</a:t>
                      </a:r>
                      <a:r>
                        <a:rPr lang="en-GB" sz="1600" b="1" dirty="0"/>
                        <a:t> amplification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600" b="1" i="1" dirty="0"/>
                        <a:t>NTRK</a:t>
                      </a:r>
                      <a:r>
                        <a:rPr lang="en-GB" sz="1600" b="1" dirty="0"/>
                        <a:t> gene fusions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600" b="1" dirty="0"/>
                        <a:t>DPD </a:t>
                      </a:r>
                      <a:br>
                        <a:rPr lang="en-GB" sz="1600" b="1" dirty="0"/>
                      </a:br>
                      <a:r>
                        <a:rPr lang="en-GB" sz="1600" b="1" dirty="0"/>
                        <a:t>deficiency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0993054"/>
                  </a:ext>
                </a:extLst>
              </a:tr>
              <a:tr h="972000"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b="1" i="0" dirty="0">
                          <a:solidFill>
                            <a:schemeClr val="bg1"/>
                          </a:solidFill>
                        </a:rPr>
                        <a:t>Indications </a:t>
                      </a:r>
                      <a:br>
                        <a:rPr lang="en-GB" sz="1200" b="1" i="0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200" b="1" i="0" dirty="0">
                          <a:solidFill>
                            <a:schemeClr val="bg1"/>
                          </a:solidFill>
                        </a:rPr>
                        <a:t>for testing</a:t>
                      </a:r>
                      <a:r>
                        <a:rPr lang="en-GB" sz="1200" b="1" i="0" baseline="30000" dirty="0">
                          <a:solidFill>
                            <a:schemeClr val="bg1"/>
                          </a:solidFill>
                        </a:rPr>
                        <a:t>1</a:t>
                      </a:r>
                      <a:endParaRPr lang="en-GB" sz="1200" b="1" i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dirty="0"/>
                        <a:t>All patients at the time of mCRC diagnosis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All patients at the time of mCRC diagnosis (mandatory prior to anti-EGFR therapy)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/>
                        <a:t>All patients at the time of mCRC diagnosis</a:t>
                      </a:r>
                    </a:p>
                    <a:p>
                      <a:pPr>
                        <a:lnSpc>
                          <a:spcPct val="85000"/>
                        </a:lnSpc>
                      </a:pPr>
                      <a:endParaRPr lang="en-GB" sz="12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i="1" dirty="0"/>
                        <a:t>RAS</a:t>
                      </a:r>
                      <a:r>
                        <a:rPr lang="en-GB" sz="1200" dirty="0"/>
                        <a:t> wild-type patients at any time prior to initiating </a:t>
                      </a:r>
                      <a:br>
                        <a:rPr lang="en-GB" sz="1200" dirty="0"/>
                      </a:br>
                      <a:r>
                        <a:rPr lang="en-GB" sz="1200" dirty="0"/>
                        <a:t>2L therapy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dirty="0"/>
                        <a:t>All patients, when feasible and at any time prior to initiating 3L therapy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dirty="0"/>
                        <a:t>Before initiating </a:t>
                      </a:r>
                      <a:br>
                        <a:rPr lang="en-GB" sz="1200" dirty="0"/>
                      </a:br>
                      <a:r>
                        <a:rPr lang="en-GB" sz="1200" dirty="0"/>
                        <a:t>fluoropyrimidine-based chemotherapy (e.g. </a:t>
                      </a:r>
                      <a:br>
                        <a:rPr lang="en-GB" sz="1200" dirty="0"/>
                      </a:br>
                      <a:r>
                        <a:rPr lang="en-GB" sz="1200" dirty="0"/>
                        <a:t>5-FU and capecitabine)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5292037"/>
                  </a:ext>
                </a:extLst>
              </a:tr>
              <a:tr h="792000"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Methods of detection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dirty="0"/>
                        <a:t>PCR or IHC</a:t>
                      </a:r>
                      <a:r>
                        <a:rPr lang="en-GB" sz="1200" baseline="30000" dirty="0"/>
                        <a:t>1</a:t>
                      </a:r>
                      <a:endParaRPr lang="en-GB" sz="12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dirty="0"/>
                        <a:t>dPCR or NGS of the primary tumour or other metastatic sites</a:t>
                      </a:r>
                      <a:r>
                        <a:rPr lang="en-GB" sz="1200" baseline="30000" dirty="0"/>
                        <a:t>1</a:t>
                      </a:r>
                      <a:endParaRPr lang="en-GB" sz="12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dirty="0"/>
                        <a:t>Sanger sequencing, </a:t>
                      </a:r>
                      <a:r>
                        <a:rPr lang="en-GB" sz="1200" dirty="0" err="1"/>
                        <a:t>dPCR</a:t>
                      </a:r>
                      <a:r>
                        <a:rPr lang="en-GB" sz="1200" dirty="0"/>
                        <a:t>, or NGS</a:t>
                      </a:r>
                      <a:r>
                        <a:rPr lang="en-GB" sz="1200" baseline="30000" dirty="0"/>
                        <a:t>1</a:t>
                      </a:r>
                      <a:endParaRPr lang="en-GB" sz="12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dirty="0"/>
                        <a:t>IHC, FISH, or NGS</a:t>
                      </a:r>
                      <a:r>
                        <a:rPr lang="en-GB" sz="1200" baseline="30000" dirty="0"/>
                        <a:t>1</a:t>
                      </a:r>
                      <a:endParaRPr lang="en-GB" sz="12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dirty="0"/>
                        <a:t>IHC, followed by confirmation with NGS</a:t>
                      </a:r>
                      <a:r>
                        <a:rPr lang="en-GB" sz="1200" baseline="30000" dirty="0"/>
                        <a:t>1</a:t>
                      </a:r>
                      <a:endParaRPr lang="en-GB" sz="12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i="1" dirty="0"/>
                        <a:t>DPYD</a:t>
                      </a:r>
                      <a:r>
                        <a:rPr lang="en-GB" sz="1200" dirty="0"/>
                        <a:t> genotyping </a:t>
                      </a:r>
                      <a:br>
                        <a:rPr lang="en-GB" sz="1200" dirty="0"/>
                      </a:br>
                      <a:r>
                        <a:rPr lang="en-GB" sz="1200" dirty="0"/>
                        <a:t>or blood test to check uracil levels</a:t>
                      </a:r>
                      <a:r>
                        <a:rPr lang="en-GB" sz="1200" baseline="30000" dirty="0"/>
                        <a:t>5</a:t>
                      </a:r>
                      <a:endParaRPr lang="en-GB" sz="12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4859179"/>
                  </a:ext>
                </a:extLst>
              </a:tr>
              <a:tr h="2340000"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Relevance </a:t>
                      </a:r>
                      <a:br>
                        <a:rPr lang="en-GB" sz="1200" b="1" dirty="0">
                          <a:solidFill>
                            <a:schemeClr val="bg1"/>
                          </a:solidFill>
                        </a:rPr>
                      </a:br>
                      <a:r>
                        <a:rPr lang="en-GB" sz="1200" b="1" dirty="0">
                          <a:solidFill>
                            <a:schemeClr val="bg1"/>
                          </a:solidFill>
                        </a:rPr>
                        <a:t>for treatment selection</a:t>
                      </a:r>
                    </a:p>
                  </a:txBody>
                  <a:tcPr marR="36000" anchor="ctr"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dirty="0"/>
                        <a:t>MSI-H/dMMR disease </a:t>
                      </a:r>
                      <a:br>
                        <a:rPr lang="en-GB" sz="1200" dirty="0"/>
                      </a:br>
                      <a:r>
                        <a:rPr lang="en-GB" sz="1200" dirty="0"/>
                        <a:t>is associated with sensitivity to ICIs</a:t>
                      </a:r>
                      <a:r>
                        <a:rPr lang="en-GB" sz="1200" baseline="30000" dirty="0"/>
                        <a:t>6,7</a:t>
                      </a:r>
                    </a:p>
                    <a:p>
                      <a:pPr>
                        <a:lnSpc>
                          <a:spcPct val="8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200" b="1" dirty="0"/>
                        <a:t>Pembrolizumab </a:t>
                      </a:r>
                      <a:r>
                        <a:rPr lang="en-GB" sz="1200" b="0" dirty="0"/>
                        <a:t>is recommended in 1L</a:t>
                      </a:r>
                      <a:r>
                        <a:rPr lang="en-GB" sz="1200" baseline="30000" dirty="0"/>
                        <a:t>1,8</a:t>
                      </a:r>
                      <a:r>
                        <a:rPr lang="en-GB" sz="1200" b="0" dirty="0"/>
                        <a:t> 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i="1" dirty="0"/>
                        <a:t>RAS</a:t>
                      </a:r>
                      <a:r>
                        <a:rPr lang="en-GB" sz="1200" dirty="0"/>
                        <a:t> mutations are associated with </a:t>
                      </a:r>
                      <a:br>
                        <a:rPr lang="en-GB" sz="1200" dirty="0"/>
                      </a:br>
                      <a:r>
                        <a:rPr lang="en-GB" sz="1200" dirty="0"/>
                        <a:t>non-responsiveness </a:t>
                      </a:r>
                      <a:br>
                        <a:rPr lang="en-GB" sz="1200" dirty="0"/>
                      </a:br>
                      <a:r>
                        <a:rPr lang="en-GB" sz="1200" dirty="0"/>
                        <a:t>to </a:t>
                      </a:r>
                      <a:r>
                        <a:rPr lang="en-GB" sz="1200" b="1" dirty="0"/>
                        <a:t>EGFR inhibitors</a:t>
                      </a:r>
                      <a:r>
                        <a:rPr lang="en-GB" sz="1200" b="0" baseline="30000" dirty="0"/>
                        <a:t>9,10</a:t>
                      </a:r>
                      <a:r>
                        <a:rPr lang="en-GB" sz="1200" dirty="0"/>
                        <a:t> </a:t>
                      </a:r>
                    </a:p>
                    <a:p>
                      <a:pPr>
                        <a:lnSpc>
                          <a:spcPct val="8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/>
                        <a:t>Cetuximab or panitumumab should be avoided</a:t>
                      </a:r>
                      <a:r>
                        <a:rPr lang="en-GB" sz="1200" baseline="30000" dirty="0"/>
                        <a:t>1</a:t>
                      </a:r>
                      <a:endParaRPr lang="en-GB" sz="12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/>
                        <a:t>Encorafenib plus cetuximab</a:t>
                      </a:r>
                      <a:r>
                        <a:rPr lang="en-GB" sz="1200" dirty="0"/>
                        <a:t> is recommended in 2L </a:t>
                      </a:r>
                      <a:br>
                        <a:rPr lang="en-GB" sz="1200" dirty="0"/>
                      </a:br>
                      <a:r>
                        <a:rPr lang="en-GB" sz="1200" dirty="0"/>
                        <a:t>or later lines for patients with a </a:t>
                      </a:r>
                      <a:r>
                        <a:rPr lang="en-GB" sz="1200" i="1" dirty="0"/>
                        <a:t>BRAF</a:t>
                      </a:r>
                      <a:r>
                        <a:rPr lang="en-GB" sz="1200" i="1" baseline="30000" dirty="0"/>
                        <a:t>V600E</a:t>
                      </a:r>
                      <a:r>
                        <a:rPr lang="en-GB" sz="1200" dirty="0"/>
                        <a:t> mutation</a:t>
                      </a:r>
                      <a:r>
                        <a:rPr lang="en-GB" sz="1200" baseline="30000" dirty="0"/>
                        <a:t>1,11</a:t>
                      </a:r>
                      <a:endParaRPr lang="en-GB" sz="12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b="1" dirty="0"/>
                        <a:t>Double HER2 blockade </a:t>
                      </a:r>
                      <a:r>
                        <a:rPr lang="en-GB" sz="1200" dirty="0"/>
                        <a:t>is recommended</a:t>
                      </a:r>
                      <a:r>
                        <a:rPr lang="en-GB" sz="1200" baseline="30000" dirty="0"/>
                        <a:t>1,12</a:t>
                      </a:r>
                      <a:endParaRPr lang="en-GB" sz="12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b="1" dirty="0"/>
                        <a:t>Larotrectinib or entrectinib </a:t>
                      </a:r>
                      <a:r>
                        <a:rPr lang="en-GB" sz="1200" b="0" dirty="0"/>
                        <a:t>is</a:t>
                      </a:r>
                      <a:r>
                        <a:rPr lang="en-GB" sz="1200" dirty="0"/>
                        <a:t> recommended</a:t>
                      </a:r>
                      <a:r>
                        <a:rPr lang="en-GB" sz="1200" baseline="30000" dirty="0"/>
                        <a:t>1,13,14</a:t>
                      </a:r>
                      <a:endParaRPr lang="en-GB" sz="1200" dirty="0"/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dirty="0"/>
                        <a:t>DPD deficiency can </a:t>
                      </a:r>
                    </a:p>
                    <a:p>
                      <a:pPr>
                        <a:lnSpc>
                          <a:spcPct val="85000"/>
                        </a:lnSpc>
                      </a:pPr>
                      <a:r>
                        <a:rPr lang="en-GB" sz="1200" dirty="0"/>
                        <a:t>lead to increased fluoropyrimidine toxicity</a:t>
                      </a:r>
                      <a:r>
                        <a:rPr lang="en-GB" sz="1200" baseline="30000" dirty="0"/>
                        <a:t>5</a:t>
                      </a:r>
                    </a:p>
                    <a:p>
                      <a:pPr>
                        <a:lnSpc>
                          <a:spcPct val="85000"/>
                        </a:lnSpc>
                        <a:spcBef>
                          <a:spcPts val="600"/>
                        </a:spcBef>
                      </a:pPr>
                      <a:r>
                        <a:rPr lang="en-GB" sz="1200" b="1" baseline="0" dirty="0"/>
                        <a:t>Complete deficiency:  </a:t>
                      </a:r>
                      <a:r>
                        <a:rPr lang="en-GB" sz="1200" dirty="0"/>
                        <a:t>fluoropyrimidines are contraindicated</a:t>
                      </a:r>
                      <a:r>
                        <a:rPr lang="en-GB" sz="1200" baseline="30000" dirty="0"/>
                        <a:t>5</a:t>
                      </a:r>
                      <a:r>
                        <a:rPr lang="en-GB" sz="1200" dirty="0"/>
                        <a:t>;</a:t>
                      </a:r>
                      <a:r>
                        <a:rPr lang="en-GB" sz="1200" baseline="30000" dirty="0"/>
                        <a:t> </a:t>
                      </a:r>
                      <a:r>
                        <a:rPr lang="en-GB" sz="1200" baseline="0" dirty="0"/>
                        <a:t>alternative options include TAS-102</a:t>
                      </a:r>
                      <a:r>
                        <a:rPr lang="en-GB" sz="1200" baseline="30000" dirty="0"/>
                        <a:t>15,</a:t>
                      </a:r>
                      <a:r>
                        <a:rPr lang="en-GB" sz="1200" baseline="0" dirty="0"/>
                        <a:t>* </a:t>
                      </a:r>
                      <a:br>
                        <a:rPr lang="en-GB" sz="1200" baseline="0" dirty="0"/>
                      </a:br>
                      <a:r>
                        <a:rPr lang="en-GB" sz="1200" baseline="0" dirty="0"/>
                        <a:t>and raltitrexed</a:t>
                      </a:r>
                      <a:r>
                        <a:rPr lang="en-GB" sz="1200" baseline="30000" dirty="0"/>
                        <a:t>16,†</a:t>
                      </a:r>
                      <a:endParaRPr lang="en-GB" sz="1200" baseline="30000" dirty="0">
                        <a:highlight>
                          <a:srgbClr val="FFFF00"/>
                        </a:highlight>
                      </a:endParaRPr>
                    </a:p>
                    <a:p>
                      <a:pPr>
                        <a:lnSpc>
                          <a:spcPct val="85000"/>
                        </a:lnSpc>
                        <a:spcBef>
                          <a:spcPts val="600"/>
                        </a:spcBef>
                      </a:pPr>
                      <a:r>
                        <a:rPr lang="en-GB" sz="1200" b="1" dirty="0"/>
                        <a:t>Partial deficiency: </a:t>
                      </a:r>
                      <a:r>
                        <a:rPr lang="en-GB" sz="1200" dirty="0"/>
                        <a:t>Reduce dose by 50%</a:t>
                      </a:r>
                      <a:r>
                        <a:rPr lang="en-GB" sz="1200" baseline="30000" dirty="0"/>
                        <a:t>5</a:t>
                      </a:r>
                      <a:endParaRPr lang="en-GB" sz="1200" baseline="0" dirty="0"/>
                    </a:p>
                  </a:txBody>
                  <a:tcPr marR="36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977936"/>
                  </a:ext>
                </a:extLst>
              </a:tr>
            </a:tbl>
          </a:graphicData>
        </a:graphic>
      </p:graphicFrame>
      <p:sp>
        <p:nvSpPr>
          <p:cNvPr id="4" name="Rectangle: Rounded Corners 3">
            <a:hlinkClick r:id="rId3" action="ppaction://hlinksldjump" tooltip="Chapter"/>
            <a:extLst>
              <a:ext uri="{FF2B5EF4-FFF2-40B4-BE49-F238E27FC236}">
                <a16:creationId xmlns:a16="http://schemas.microsoft.com/office/drawing/2014/main" id="{26EEF9CB-2681-AA95-1FE6-F15F4E1E8664}"/>
              </a:ext>
            </a:extLst>
          </p:cNvPr>
          <p:cNvSpPr/>
          <p:nvPr/>
        </p:nvSpPr>
        <p:spPr>
          <a:xfrm>
            <a:off x="10432869" y="48214"/>
            <a:ext cx="444136" cy="49171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97EDCD7-347F-D713-B236-5E149572A77B}"/>
              </a:ext>
            </a:extLst>
          </p:cNvPr>
          <p:cNvGrpSpPr/>
          <p:nvPr/>
        </p:nvGrpSpPr>
        <p:grpSpPr>
          <a:xfrm>
            <a:off x="7479079" y="6044116"/>
            <a:ext cx="3397926" cy="375991"/>
            <a:chOff x="7479079" y="6044116"/>
            <a:chExt cx="3397926" cy="375991"/>
          </a:xfrm>
        </p:grpSpPr>
        <p:sp>
          <p:nvSpPr>
            <p:cNvPr id="7" name="Rounded Rectangle 47">
              <a:hlinkClick r:id="" action="ppaction://noaction"/>
              <a:extLst>
                <a:ext uri="{FF2B5EF4-FFF2-40B4-BE49-F238E27FC236}">
                  <a16:creationId xmlns:a16="http://schemas.microsoft.com/office/drawing/2014/main" id="{AF3E1B9C-2EAD-6662-136E-C2DF821ADBAA}"/>
                </a:ext>
              </a:extLst>
            </p:cNvPr>
            <p:cNvSpPr/>
            <p:nvPr/>
          </p:nvSpPr>
          <p:spPr>
            <a:xfrm>
              <a:off x="7479079" y="6044116"/>
              <a:ext cx="3397926" cy="375991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rgbClr val="023761"/>
                </a:gs>
                <a:gs pos="100000">
                  <a:srgbClr val="0460A9"/>
                </a:gs>
              </a:gsLst>
              <a:path path="circle">
                <a:fillToRect t="100000" r="100000"/>
              </a:path>
            </a:gradFill>
          </p:spPr>
          <p:txBody>
            <a:bodyPr wrap="square" lIns="45720" rIns="45720" rtlCol="0" anchor="ctr">
              <a:noAutofit/>
            </a:bodyPr>
            <a:lstStyle/>
            <a:p>
              <a:pPr marL="312738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uropean expert panel recommendations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25A2BE8-94F6-5341-6481-0501874CC314}"/>
                </a:ext>
              </a:extLst>
            </p:cNvPr>
            <p:cNvGrpSpPr/>
            <p:nvPr/>
          </p:nvGrpSpPr>
          <p:grpSpPr>
            <a:xfrm>
              <a:off x="7573107" y="6105009"/>
              <a:ext cx="254205" cy="254205"/>
              <a:chOff x="5020531" y="5545073"/>
              <a:chExt cx="254205" cy="254205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3D61AAAE-E1AF-C593-D5F0-3A60CDE88538}"/>
                  </a:ext>
                </a:extLst>
              </p:cNvPr>
              <p:cNvSpPr/>
              <p:nvPr/>
            </p:nvSpPr>
            <p:spPr bwMode="gray">
              <a:xfrm>
                <a:off x="5020531" y="5545073"/>
                <a:ext cx="254205" cy="254205"/>
              </a:xfrm>
              <a:prstGeom prst="ellipse">
                <a:avLst/>
              </a:prstGeom>
              <a:noFill/>
              <a:ln w="1270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squar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95FF"/>
                  </a:buClr>
                  <a:buSzPct val="90000"/>
                  <a:buFontTx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000C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Freeform 49">
                <a:extLst>
                  <a:ext uri="{FF2B5EF4-FFF2-40B4-BE49-F238E27FC236}">
                    <a16:creationId xmlns:a16="http://schemas.microsoft.com/office/drawing/2014/main" id="{7B04C8B2-7DC7-3F92-AAF9-6687EB905DEF}"/>
                  </a:ext>
                </a:extLst>
              </p:cNvPr>
              <p:cNvSpPr/>
              <p:nvPr/>
            </p:nvSpPr>
            <p:spPr>
              <a:xfrm rot="20700000" flipH="1">
                <a:off x="5072877" y="5600288"/>
                <a:ext cx="143760" cy="143776"/>
              </a:xfrm>
              <a:custGeom>
                <a:avLst/>
                <a:gdLst>
                  <a:gd name="connsiteX0" fmla="*/ 2087201 w 2114819"/>
                  <a:gd name="connsiteY0" fmla="*/ 1680265 h 2115050"/>
                  <a:gd name="connsiteX1" fmla="*/ 1526122 w 2114819"/>
                  <a:gd name="connsiteY1" fmla="*/ 1119167 h 2115050"/>
                  <a:gd name="connsiteX2" fmla="*/ 1926410 w 2114819"/>
                  <a:gd name="connsiteY2" fmla="*/ 887957 h 2115050"/>
                  <a:gd name="connsiteX3" fmla="*/ 1973286 w 2114819"/>
                  <a:gd name="connsiteY3" fmla="*/ 799530 h 2115050"/>
                  <a:gd name="connsiteX4" fmla="*/ 1914183 w 2114819"/>
                  <a:gd name="connsiteY4" fmla="*/ 718745 h 2115050"/>
                  <a:gd name="connsiteX5" fmla="*/ 129218 w 2114819"/>
                  <a:gd name="connsiteY5" fmla="*/ 6719 h 2115050"/>
                  <a:gd name="connsiteX6" fmla="*/ 27625 w 2114819"/>
                  <a:gd name="connsiteY6" fmla="*/ 27613 h 2115050"/>
                  <a:gd name="connsiteX7" fmla="*/ 6712 w 2114819"/>
                  <a:gd name="connsiteY7" fmla="*/ 129206 h 2115050"/>
                  <a:gd name="connsiteX8" fmla="*/ 718625 w 2114819"/>
                  <a:gd name="connsiteY8" fmla="*/ 1914380 h 2115050"/>
                  <a:gd name="connsiteX9" fmla="*/ 799419 w 2114819"/>
                  <a:gd name="connsiteY9" fmla="*/ 1973493 h 2115050"/>
                  <a:gd name="connsiteX10" fmla="*/ 887855 w 2114819"/>
                  <a:gd name="connsiteY10" fmla="*/ 1926616 h 2115050"/>
                  <a:gd name="connsiteX11" fmla="*/ 1119046 w 2114819"/>
                  <a:gd name="connsiteY11" fmla="*/ 1526328 h 2115050"/>
                  <a:gd name="connsiteX12" fmla="*/ 1680088 w 2114819"/>
                  <a:gd name="connsiteY12" fmla="*/ 2087427 h 2115050"/>
                  <a:gd name="connsiteX13" fmla="*/ 1746756 w 2114819"/>
                  <a:gd name="connsiteY13" fmla="*/ 2115051 h 2115050"/>
                  <a:gd name="connsiteX14" fmla="*/ 1813425 w 2114819"/>
                  <a:gd name="connsiteY14" fmla="*/ 2087427 h 2115050"/>
                  <a:gd name="connsiteX15" fmla="*/ 2087211 w 2114819"/>
                  <a:gd name="connsiteY15" fmla="*/ 1813603 h 2115050"/>
                  <a:gd name="connsiteX16" fmla="*/ 2087201 w 2114819"/>
                  <a:gd name="connsiteY16" fmla="*/ 1680265 h 2115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14819" h="2115050">
                    <a:moveTo>
                      <a:pt x="2087201" y="1680265"/>
                    </a:moveTo>
                    <a:lnTo>
                      <a:pt x="1526122" y="1119167"/>
                    </a:lnTo>
                    <a:lnTo>
                      <a:pt x="1926410" y="887957"/>
                    </a:lnTo>
                    <a:cubicBezTo>
                      <a:pt x="1957689" y="869892"/>
                      <a:pt x="1975887" y="835556"/>
                      <a:pt x="1973286" y="799530"/>
                    </a:cubicBezTo>
                    <a:cubicBezTo>
                      <a:pt x="1970685" y="763495"/>
                      <a:pt x="1947731" y="732121"/>
                      <a:pt x="1914183" y="718745"/>
                    </a:cubicBezTo>
                    <a:lnTo>
                      <a:pt x="129218" y="6719"/>
                    </a:lnTo>
                    <a:cubicBezTo>
                      <a:pt x="94227" y="-7255"/>
                      <a:pt x="54272" y="976"/>
                      <a:pt x="27625" y="27613"/>
                    </a:cubicBezTo>
                    <a:cubicBezTo>
                      <a:pt x="978" y="54269"/>
                      <a:pt x="-7252" y="94215"/>
                      <a:pt x="6712" y="129206"/>
                    </a:cubicBezTo>
                    <a:lnTo>
                      <a:pt x="718625" y="1914380"/>
                    </a:lnTo>
                    <a:cubicBezTo>
                      <a:pt x="732010" y="1947928"/>
                      <a:pt x="763384" y="1970891"/>
                      <a:pt x="799419" y="1973493"/>
                    </a:cubicBezTo>
                    <a:cubicBezTo>
                      <a:pt x="835454" y="1976113"/>
                      <a:pt x="869800" y="1957905"/>
                      <a:pt x="887855" y="1926616"/>
                    </a:cubicBezTo>
                    <a:lnTo>
                      <a:pt x="1119046" y="1526328"/>
                    </a:lnTo>
                    <a:lnTo>
                      <a:pt x="1680088" y="2087427"/>
                    </a:lnTo>
                    <a:cubicBezTo>
                      <a:pt x="1697763" y="2105112"/>
                      <a:pt x="1721762" y="2115051"/>
                      <a:pt x="1746756" y="2115051"/>
                    </a:cubicBezTo>
                    <a:cubicBezTo>
                      <a:pt x="1771770" y="2115051"/>
                      <a:pt x="1795749" y="2105112"/>
                      <a:pt x="1813425" y="2087427"/>
                    </a:cubicBezTo>
                    <a:lnTo>
                      <a:pt x="2087211" y="1813603"/>
                    </a:lnTo>
                    <a:cubicBezTo>
                      <a:pt x="2124024" y="1776780"/>
                      <a:pt x="2124024" y="1717088"/>
                      <a:pt x="2087201" y="1680265"/>
                    </a:cubicBezTo>
                    <a:close/>
                  </a:path>
                </a:pathLst>
              </a:custGeom>
              <a:noFill/>
              <a:ln w="12700" cap="flat" cmpd="sng" algn="ctr">
                <a:solidFill>
                  <a:srgbClr val="FFFFFF"/>
                </a:solidFill>
                <a:prstDash val="solid"/>
                <a:miter lim="800000"/>
                <a:headEnd type="none" w="med" len="med"/>
                <a:tailEnd type="none" w="med" len="med"/>
              </a:ln>
              <a:effectLst/>
            </p:spPr>
            <p:txBody>
              <a:bodyPr vert="horz" wrap="none" lIns="91429" tIns="45715" rIns="91429" bIns="45715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0095FF"/>
                  </a:buClr>
                  <a:buSzPct val="90000"/>
                  <a:buFontTx/>
                  <a:buNone/>
                  <a:tabLst/>
                  <a:defRPr/>
                </a:pPr>
                <a:endPara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</p:grpSp>
      </p:grpSp>
      <p:sp>
        <p:nvSpPr>
          <p:cNvPr id="5" name="Rectangle: Rounded Corners 4">
            <a:hlinkClick r:id="rId4" action="ppaction://hlinksldjump"/>
            <a:extLst>
              <a:ext uri="{FF2B5EF4-FFF2-40B4-BE49-F238E27FC236}">
                <a16:creationId xmlns:a16="http://schemas.microsoft.com/office/drawing/2014/main" id="{3A91F1AF-D6CF-5699-9839-E089332CCB70}"/>
              </a:ext>
            </a:extLst>
          </p:cNvPr>
          <p:cNvSpPr/>
          <p:nvPr/>
        </p:nvSpPr>
        <p:spPr>
          <a:xfrm>
            <a:off x="7460014" y="5996014"/>
            <a:ext cx="3436055" cy="47219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E5D87FE-CA40-0D0B-5B51-1AE797824EE1}"/>
              </a:ext>
            </a:extLst>
          </p:cNvPr>
          <p:cNvGrpSpPr/>
          <p:nvPr/>
        </p:nvGrpSpPr>
        <p:grpSpPr>
          <a:xfrm>
            <a:off x="1135225" y="6008330"/>
            <a:ext cx="5844073" cy="447563"/>
            <a:chOff x="955040" y="5995160"/>
            <a:chExt cx="5844073" cy="447563"/>
          </a:xfrm>
        </p:grpSpPr>
        <p:sp>
          <p:nvSpPr>
            <p:cNvPr id="22" name="Rounded Rectangle 47">
              <a:hlinkClick r:id="" action="ppaction://noaction"/>
              <a:extLst>
                <a:ext uri="{FF2B5EF4-FFF2-40B4-BE49-F238E27FC236}">
                  <a16:creationId xmlns:a16="http://schemas.microsoft.com/office/drawing/2014/main" id="{A9EAF18B-4DEF-C1C6-2D03-92763F11D144}"/>
                </a:ext>
              </a:extLst>
            </p:cNvPr>
            <p:cNvSpPr/>
            <p:nvPr/>
          </p:nvSpPr>
          <p:spPr>
            <a:xfrm>
              <a:off x="955040" y="5995160"/>
              <a:ext cx="5844073" cy="447563"/>
            </a:xfrm>
            <a:prstGeom prst="roundRect">
              <a:avLst>
                <a:gd name="adj" fmla="val 46596"/>
              </a:avLst>
            </a:prstGeom>
            <a:solidFill>
              <a:srgbClr val="EAB200"/>
            </a:solidFill>
          </p:spPr>
          <p:txBody>
            <a:bodyPr wrap="square" lIns="468000" rIns="4572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esting for </a:t>
              </a:r>
              <a:r>
                <a:rPr kumimoji="0" lang="en-GB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K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and </a:t>
              </a:r>
              <a:r>
                <a:rPr kumimoji="0" lang="en-GB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OS1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gene fusions, </a:t>
              </a:r>
              <a:r>
                <a:rPr kumimoji="0" lang="en-GB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IK3CA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mutations, and activating mutations of </a:t>
              </a:r>
              <a:r>
                <a:rPr kumimoji="0" lang="en-GB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HER2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s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t recommended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outside clinical trials</a:t>
              </a:r>
              <a:r>
                <a:rPr kumimoji="0" lang="en-GB" sz="12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0" name="Graphic 19" descr="Badge Cross outline">
              <a:extLst>
                <a:ext uri="{FF2B5EF4-FFF2-40B4-BE49-F238E27FC236}">
                  <a16:creationId xmlns:a16="http://schemas.microsoft.com/office/drawing/2014/main" id="{1EF196E4-E154-CB2F-58B7-30E6CDDD735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7900" y="5998479"/>
              <a:ext cx="440924" cy="440924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0516F58-F12E-0FE4-7013-68BD90F3A916}"/>
              </a:ext>
            </a:extLst>
          </p:cNvPr>
          <p:cNvGrpSpPr/>
          <p:nvPr/>
        </p:nvGrpSpPr>
        <p:grpSpPr>
          <a:xfrm>
            <a:off x="77037" y="3281200"/>
            <a:ext cx="283450" cy="283450"/>
            <a:chOff x="77037" y="3281200"/>
            <a:chExt cx="283450" cy="28345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05E01795-F73E-FFE1-85A7-20E87CEFA511}"/>
                </a:ext>
              </a:extLst>
            </p:cNvPr>
            <p:cNvSpPr/>
            <p:nvPr userDrawn="1"/>
          </p:nvSpPr>
          <p:spPr>
            <a:xfrm>
              <a:off x="77037" y="3281200"/>
              <a:ext cx="283450" cy="283450"/>
            </a:xfrm>
            <a:prstGeom prst="ellipse">
              <a:avLst/>
            </a:prstGeom>
            <a:noFill/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40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Graphic 23">
              <a:extLst>
                <a:ext uri="{FF2B5EF4-FFF2-40B4-BE49-F238E27FC236}">
                  <a16:creationId xmlns:a16="http://schemas.microsoft.com/office/drawing/2014/main" id="{8E97C91E-EBD2-1341-0A20-5574A48B1939}"/>
                </a:ext>
              </a:extLst>
            </p:cNvPr>
            <p:cNvSpPr/>
            <p:nvPr userDrawn="1"/>
          </p:nvSpPr>
          <p:spPr>
            <a:xfrm rot="10800000">
              <a:off x="157255" y="3344816"/>
              <a:ext cx="103135" cy="156218"/>
            </a:xfrm>
            <a:custGeom>
              <a:avLst/>
              <a:gdLst>
                <a:gd name="connsiteX0" fmla="*/ 616506 w 2543651"/>
                <a:gd name="connsiteY0" fmla="*/ 3852863 h 3852862"/>
                <a:gd name="connsiteX1" fmla="*/ 314563 w 2543651"/>
                <a:gd name="connsiteY1" fmla="*/ 3728085 h 3852862"/>
                <a:gd name="connsiteX2" fmla="*/ 125016 w 2543651"/>
                <a:gd name="connsiteY2" fmla="*/ 3538538 h 3852862"/>
                <a:gd name="connsiteX3" fmla="*/ 125016 w 2543651"/>
                <a:gd name="connsiteY3" fmla="*/ 2934653 h 3852862"/>
                <a:gd name="connsiteX4" fmla="*/ 1133713 w 2543651"/>
                <a:gd name="connsiteY4" fmla="*/ 1926908 h 3852862"/>
                <a:gd name="connsiteX5" fmla="*/ 125968 w 2543651"/>
                <a:gd name="connsiteY5" fmla="*/ 918210 h 3852862"/>
                <a:gd name="connsiteX6" fmla="*/ 125968 w 2543651"/>
                <a:gd name="connsiteY6" fmla="*/ 314325 h 3852862"/>
                <a:gd name="connsiteX7" fmla="*/ 315516 w 2543651"/>
                <a:gd name="connsiteY7" fmla="*/ 124778 h 3852862"/>
                <a:gd name="connsiteX8" fmla="*/ 617458 w 2543651"/>
                <a:gd name="connsiteY8" fmla="*/ 0 h 3852862"/>
                <a:gd name="connsiteX9" fmla="*/ 919401 w 2543651"/>
                <a:gd name="connsiteY9" fmla="*/ 124778 h 3852862"/>
                <a:gd name="connsiteX10" fmla="*/ 2418636 w 2543651"/>
                <a:gd name="connsiteY10" fmla="*/ 1624013 h 3852862"/>
                <a:gd name="connsiteX11" fmla="*/ 2418636 w 2543651"/>
                <a:gd name="connsiteY11" fmla="*/ 2227898 h 3852862"/>
                <a:gd name="connsiteX12" fmla="*/ 918448 w 2543651"/>
                <a:gd name="connsiteY12" fmla="*/ 3728085 h 3852862"/>
                <a:gd name="connsiteX13" fmla="*/ 616506 w 2543651"/>
                <a:gd name="connsiteY13" fmla="*/ 3852863 h 3852862"/>
                <a:gd name="connsiteX14" fmla="*/ 616506 w 2543651"/>
                <a:gd name="connsiteY14" fmla="*/ 195262 h 3852862"/>
                <a:gd name="connsiteX15" fmla="*/ 452676 w 2543651"/>
                <a:gd name="connsiteY15" fmla="*/ 262890 h 3852862"/>
                <a:gd name="connsiteX16" fmla="*/ 263128 w 2543651"/>
                <a:gd name="connsiteY16" fmla="*/ 452437 h 3852862"/>
                <a:gd name="connsiteX17" fmla="*/ 263128 w 2543651"/>
                <a:gd name="connsiteY17" fmla="*/ 780098 h 3852862"/>
                <a:gd name="connsiteX18" fmla="*/ 1340406 w 2543651"/>
                <a:gd name="connsiteY18" fmla="*/ 1857375 h 3852862"/>
                <a:gd name="connsiteX19" fmla="*/ 1340406 w 2543651"/>
                <a:gd name="connsiteY19" fmla="*/ 1995488 h 3852862"/>
                <a:gd name="connsiteX20" fmla="*/ 263128 w 2543651"/>
                <a:gd name="connsiteY20" fmla="*/ 3072765 h 3852862"/>
                <a:gd name="connsiteX21" fmla="*/ 263128 w 2543651"/>
                <a:gd name="connsiteY21" fmla="*/ 3400425 h 3852862"/>
                <a:gd name="connsiteX22" fmla="*/ 452676 w 2543651"/>
                <a:gd name="connsiteY22" fmla="*/ 3589973 h 3852862"/>
                <a:gd name="connsiteX23" fmla="*/ 616506 w 2543651"/>
                <a:gd name="connsiteY23" fmla="*/ 3657600 h 3852862"/>
                <a:gd name="connsiteX24" fmla="*/ 780336 w 2543651"/>
                <a:gd name="connsiteY24" fmla="*/ 3589973 h 3852862"/>
                <a:gd name="connsiteX25" fmla="*/ 2279571 w 2543651"/>
                <a:gd name="connsiteY25" fmla="*/ 2090738 h 3852862"/>
                <a:gd name="connsiteX26" fmla="*/ 2279571 w 2543651"/>
                <a:gd name="connsiteY26" fmla="*/ 1763078 h 3852862"/>
                <a:gd name="connsiteX27" fmla="*/ 780336 w 2543651"/>
                <a:gd name="connsiteY27" fmla="*/ 263843 h 3852862"/>
                <a:gd name="connsiteX28" fmla="*/ 616506 w 2543651"/>
                <a:gd name="connsiteY28" fmla="*/ 195262 h 385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43651" h="3852862">
                  <a:moveTo>
                    <a:pt x="616506" y="3852863"/>
                  </a:moveTo>
                  <a:cubicBezTo>
                    <a:pt x="502206" y="3852863"/>
                    <a:pt x="395526" y="3808095"/>
                    <a:pt x="314563" y="3728085"/>
                  </a:cubicBezTo>
                  <a:lnTo>
                    <a:pt x="125016" y="3538538"/>
                  </a:lnTo>
                  <a:cubicBezTo>
                    <a:pt x="-41672" y="3371850"/>
                    <a:pt x="-41672" y="3101340"/>
                    <a:pt x="125016" y="2934653"/>
                  </a:cubicBezTo>
                  <a:lnTo>
                    <a:pt x="1133713" y="1926908"/>
                  </a:lnTo>
                  <a:lnTo>
                    <a:pt x="125968" y="918210"/>
                  </a:lnTo>
                  <a:cubicBezTo>
                    <a:pt x="-40719" y="751523"/>
                    <a:pt x="-40719" y="481012"/>
                    <a:pt x="125968" y="314325"/>
                  </a:cubicBezTo>
                  <a:lnTo>
                    <a:pt x="315516" y="124778"/>
                  </a:lnTo>
                  <a:cubicBezTo>
                    <a:pt x="396478" y="43815"/>
                    <a:pt x="503158" y="0"/>
                    <a:pt x="617458" y="0"/>
                  </a:cubicBezTo>
                  <a:cubicBezTo>
                    <a:pt x="731758" y="0"/>
                    <a:pt x="838438" y="44768"/>
                    <a:pt x="919401" y="124778"/>
                  </a:cubicBezTo>
                  <a:lnTo>
                    <a:pt x="2418636" y="1624013"/>
                  </a:lnTo>
                  <a:cubicBezTo>
                    <a:pt x="2585323" y="1790700"/>
                    <a:pt x="2585323" y="2061210"/>
                    <a:pt x="2418636" y="2227898"/>
                  </a:cubicBezTo>
                  <a:lnTo>
                    <a:pt x="918448" y="3728085"/>
                  </a:lnTo>
                  <a:cubicBezTo>
                    <a:pt x="838438" y="3809048"/>
                    <a:pt x="730806" y="3852863"/>
                    <a:pt x="616506" y="3852863"/>
                  </a:cubicBezTo>
                  <a:close/>
                  <a:moveTo>
                    <a:pt x="616506" y="195262"/>
                  </a:moveTo>
                  <a:cubicBezTo>
                    <a:pt x="554593" y="195262"/>
                    <a:pt x="496491" y="219075"/>
                    <a:pt x="452676" y="262890"/>
                  </a:cubicBezTo>
                  <a:lnTo>
                    <a:pt x="263128" y="452437"/>
                  </a:lnTo>
                  <a:cubicBezTo>
                    <a:pt x="172641" y="542925"/>
                    <a:pt x="172641" y="689610"/>
                    <a:pt x="263128" y="780098"/>
                  </a:cubicBezTo>
                  <a:lnTo>
                    <a:pt x="1340406" y="1857375"/>
                  </a:lnTo>
                  <a:cubicBezTo>
                    <a:pt x="1378506" y="1895475"/>
                    <a:pt x="1378506" y="1957388"/>
                    <a:pt x="1340406" y="1995488"/>
                  </a:cubicBezTo>
                  <a:lnTo>
                    <a:pt x="263128" y="3072765"/>
                  </a:lnTo>
                  <a:cubicBezTo>
                    <a:pt x="172641" y="3163253"/>
                    <a:pt x="172641" y="3309938"/>
                    <a:pt x="263128" y="3400425"/>
                  </a:cubicBezTo>
                  <a:lnTo>
                    <a:pt x="452676" y="3589973"/>
                  </a:lnTo>
                  <a:cubicBezTo>
                    <a:pt x="496491" y="3633788"/>
                    <a:pt x="554593" y="3657600"/>
                    <a:pt x="616506" y="3657600"/>
                  </a:cubicBezTo>
                  <a:cubicBezTo>
                    <a:pt x="678418" y="3657600"/>
                    <a:pt x="736521" y="3633788"/>
                    <a:pt x="780336" y="3589973"/>
                  </a:cubicBezTo>
                  <a:lnTo>
                    <a:pt x="2279571" y="2090738"/>
                  </a:lnTo>
                  <a:cubicBezTo>
                    <a:pt x="2370058" y="2000250"/>
                    <a:pt x="2370058" y="1853565"/>
                    <a:pt x="2279571" y="1763078"/>
                  </a:cubicBezTo>
                  <a:lnTo>
                    <a:pt x="780336" y="263843"/>
                  </a:lnTo>
                  <a:cubicBezTo>
                    <a:pt x="736521" y="220028"/>
                    <a:pt x="678418" y="195262"/>
                    <a:pt x="616506" y="19526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A8E5B6F-8852-4E40-3576-BA768D597236}"/>
              </a:ext>
            </a:extLst>
          </p:cNvPr>
          <p:cNvGrpSpPr/>
          <p:nvPr/>
        </p:nvGrpSpPr>
        <p:grpSpPr>
          <a:xfrm rot="10800000">
            <a:off x="11824059" y="3281200"/>
            <a:ext cx="283450" cy="283450"/>
            <a:chOff x="77037" y="3281200"/>
            <a:chExt cx="283450" cy="28345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55E89043-6D20-FBC2-C4CB-BA0FDCDDB736}"/>
                </a:ext>
              </a:extLst>
            </p:cNvPr>
            <p:cNvSpPr/>
            <p:nvPr userDrawn="1"/>
          </p:nvSpPr>
          <p:spPr>
            <a:xfrm>
              <a:off x="77037" y="3281200"/>
              <a:ext cx="283450" cy="283450"/>
            </a:xfrm>
            <a:prstGeom prst="ellipse">
              <a:avLst/>
            </a:prstGeom>
            <a:noFill/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40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Graphic 23">
              <a:extLst>
                <a:ext uri="{FF2B5EF4-FFF2-40B4-BE49-F238E27FC236}">
                  <a16:creationId xmlns:a16="http://schemas.microsoft.com/office/drawing/2014/main" id="{A27B86C9-47DB-F47D-7892-452278AC595A}"/>
                </a:ext>
              </a:extLst>
            </p:cNvPr>
            <p:cNvSpPr/>
            <p:nvPr userDrawn="1"/>
          </p:nvSpPr>
          <p:spPr>
            <a:xfrm rot="10800000">
              <a:off x="157255" y="3344816"/>
              <a:ext cx="103135" cy="156218"/>
            </a:xfrm>
            <a:custGeom>
              <a:avLst/>
              <a:gdLst>
                <a:gd name="connsiteX0" fmla="*/ 616506 w 2543651"/>
                <a:gd name="connsiteY0" fmla="*/ 3852863 h 3852862"/>
                <a:gd name="connsiteX1" fmla="*/ 314563 w 2543651"/>
                <a:gd name="connsiteY1" fmla="*/ 3728085 h 3852862"/>
                <a:gd name="connsiteX2" fmla="*/ 125016 w 2543651"/>
                <a:gd name="connsiteY2" fmla="*/ 3538538 h 3852862"/>
                <a:gd name="connsiteX3" fmla="*/ 125016 w 2543651"/>
                <a:gd name="connsiteY3" fmla="*/ 2934653 h 3852862"/>
                <a:gd name="connsiteX4" fmla="*/ 1133713 w 2543651"/>
                <a:gd name="connsiteY4" fmla="*/ 1926908 h 3852862"/>
                <a:gd name="connsiteX5" fmla="*/ 125968 w 2543651"/>
                <a:gd name="connsiteY5" fmla="*/ 918210 h 3852862"/>
                <a:gd name="connsiteX6" fmla="*/ 125968 w 2543651"/>
                <a:gd name="connsiteY6" fmla="*/ 314325 h 3852862"/>
                <a:gd name="connsiteX7" fmla="*/ 315516 w 2543651"/>
                <a:gd name="connsiteY7" fmla="*/ 124778 h 3852862"/>
                <a:gd name="connsiteX8" fmla="*/ 617458 w 2543651"/>
                <a:gd name="connsiteY8" fmla="*/ 0 h 3852862"/>
                <a:gd name="connsiteX9" fmla="*/ 919401 w 2543651"/>
                <a:gd name="connsiteY9" fmla="*/ 124778 h 3852862"/>
                <a:gd name="connsiteX10" fmla="*/ 2418636 w 2543651"/>
                <a:gd name="connsiteY10" fmla="*/ 1624013 h 3852862"/>
                <a:gd name="connsiteX11" fmla="*/ 2418636 w 2543651"/>
                <a:gd name="connsiteY11" fmla="*/ 2227898 h 3852862"/>
                <a:gd name="connsiteX12" fmla="*/ 918448 w 2543651"/>
                <a:gd name="connsiteY12" fmla="*/ 3728085 h 3852862"/>
                <a:gd name="connsiteX13" fmla="*/ 616506 w 2543651"/>
                <a:gd name="connsiteY13" fmla="*/ 3852863 h 3852862"/>
                <a:gd name="connsiteX14" fmla="*/ 616506 w 2543651"/>
                <a:gd name="connsiteY14" fmla="*/ 195262 h 3852862"/>
                <a:gd name="connsiteX15" fmla="*/ 452676 w 2543651"/>
                <a:gd name="connsiteY15" fmla="*/ 262890 h 3852862"/>
                <a:gd name="connsiteX16" fmla="*/ 263128 w 2543651"/>
                <a:gd name="connsiteY16" fmla="*/ 452437 h 3852862"/>
                <a:gd name="connsiteX17" fmla="*/ 263128 w 2543651"/>
                <a:gd name="connsiteY17" fmla="*/ 780098 h 3852862"/>
                <a:gd name="connsiteX18" fmla="*/ 1340406 w 2543651"/>
                <a:gd name="connsiteY18" fmla="*/ 1857375 h 3852862"/>
                <a:gd name="connsiteX19" fmla="*/ 1340406 w 2543651"/>
                <a:gd name="connsiteY19" fmla="*/ 1995488 h 3852862"/>
                <a:gd name="connsiteX20" fmla="*/ 263128 w 2543651"/>
                <a:gd name="connsiteY20" fmla="*/ 3072765 h 3852862"/>
                <a:gd name="connsiteX21" fmla="*/ 263128 w 2543651"/>
                <a:gd name="connsiteY21" fmla="*/ 3400425 h 3852862"/>
                <a:gd name="connsiteX22" fmla="*/ 452676 w 2543651"/>
                <a:gd name="connsiteY22" fmla="*/ 3589973 h 3852862"/>
                <a:gd name="connsiteX23" fmla="*/ 616506 w 2543651"/>
                <a:gd name="connsiteY23" fmla="*/ 3657600 h 3852862"/>
                <a:gd name="connsiteX24" fmla="*/ 780336 w 2543651"/>
                <a:gd name="connsiteY24" fmla="*/ 3589973 h 3852862"/>
                <a:gd name="connsiteX25" fmla="*/ 2279571 w 2543651"/>
                <a:gd name="connsiteY25" fmla="*/ 2090738 h 3852862"/>
                <a:gd name="connsiteX26" fmla="*/ 2279571 w 2543651"/>
                <a:gd name="connsiteY26" fmla="*/ 1763078 h 3852862"/>
                <a:gd name="connsiteX27" fmla="*/ 780336 w 2543651"/>
                <a:gd name="connsiteY27" fmla="*/ 263843 h 3852862"/>
                <a:gd name="connsiteX28" fmla="*/ 616506 w 2543651"/>
                <a:gd name="connsiteY28" fmla="*/ 195262 h 385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43651" h="3852862">
                  <a:moveTo>
                    <a:pt x="616506" y="3852863"/>
                  </a:moveTo>
                  <a:cubicBezTo>
                    <a:pt x="502206" y="3852863"/>
                    <a:pt x="395526" y="3808095"/>
                    <a:pt x="314563" y="3728085"/>
                  </a:cubicBezTo>
                  <a:lnTo>
                    <a:pt x="125016" y="3538538"/>
                  </a:lnTo>
                  <a:cubicBezTo>
                    <a:pt x="-41672" y="3371850"/>
                    <a:pt x="-41672" y="3101340"/>
                    <a:pt x="125016" y="2934653"/>
                  </a:cubicBezTo>
                  <a:lnTo>
                    <a:pt x="1133713" y="1926908"/>
                  </a:lnTo>
                  <a:lnTo>
                    <a:pt x="125968" y="918210"/>
                  </a:lnTo>
                  <a:cubicBezTo>
                    <a:pt x="-40719" y="751523"/>
                    <a:pt x="-40719" y="481012"/>
                    <a:pt x="125968" y="314325"/>
                  </a:cubicBezTo>
                  <a:lnTo>
                    <a:pt x="315516" y="124778"/>
                  </a:lnTo>
                  <a:cubicBezTo>
                    <a:pt x="396478" y="43815"/>
                    <a:pt x="503158" y="0"/>
                    <a:pt x="617458" y="0"/>
                  </a:cubicBezTo>
                  <a:cubicBezTo>
                    <a:pt x="731758" y="0"/>
                    <a:pt x="838438" y="44768"/>
                    <a:pt x="919401" y="124778"/>
                  </a:cubicBezTo>
                  <a:lnTo>
                    <a:pt x="2418636" y="1624013"/>
                  </a:lnTo>
                  <a:cubicBezTo>
                    <a:pt x="2585323" y="1790700"/>
                    <a:pt x="2585323" y="2061210"/>
                    <a:pt x="2418636" y="2227898"/>
                  </a:cubicBezTo>
                  <a:lnTo>
                    <a:pt x="918448" y="3728085"/>
                  </a:lnTo>
                  <a:cubicBezTo>
                    <a:pt x="838438" y="3809048"/>
                    <a:pt x="730806" y="3852863"/>
                    <a:pt x="616506" y="3852863"/>
                  </a:cubicBezTo>
                  <a:close/>
                  <a:moveTo>
                    <a:pt x="616506" y="195262"/>
                  </a:moveTo>
                  <a:cubicBezTo>
                    <a:pt x="554593" y="195262"/>
                    <a:pt x="496491" y="219075"/>
                    <a:pt x="452676" y="262890"/>
                  </a:cubicBezTo>
                  <a:lnTo>
                    <a:pt x="263128" y="452437"/>
                  </a:lnTo>
                  <a:cubicBezTo>
                    <a:pt x="172641" y="542925"/>
                    <a:pt x="172641" y="689610"/>
                    <a:pt x="263128" y="780098"/>
                  </a:cubicBezTo>
                  <a:lnTo>
                    <a:pt x="1340406" y="1857375"/>
                  </a:lnTo>
                  <a:cubicBezTo>
                    <a:pt x="1378506" y="1895475"/>
                    <a:pt x="1378506" y="1957388"/>
                    <a:pt x="1340406" y="1995488"/>
                  </a:cubicBezTo>
                  <a:lnTo>
                    <a:pt x="263128" y="3072765"/>
                  </a:lnTo>
                  <a:cubicBezTo>
                    <a:pt x="172641" y="3163253"/>
                    <a:pt x="172641" y="3309938"/>
                    <a:pt x="263128" y="3400425"/>
                  </a:cubicBezTo>
                  <a:lnTo>
                    <a:pt x="452676" y="3589973"/>
                  </a:lnTo>
                  <a:cubicBezTo>
                    <a:pt x="496491" y="3633788"/>
                    <a:pt x="554593" y="3657600"/>
                    <a:pt x="616506" y="3657600"/>
                  </a:cubicBezTo>
                  <a:cubicBezTo>
                    <a:pt x="678418" y="3657600"/>
                    <a:pt x="736521" y="3633788"/>
                    <a:pt x="780336" y="3589973"/>
                  </a:cubicBezTo>
                  <a:lnTo>
                    <a:pt x="2279571" y="2090738"/>
                  </a:lnTo>
                  <a:cubicBezTo>
                    <a:pt x="2370058" y="2000250"/>
                    <a:pt x="2370058" y="1853565"/>
                    <a:pt x="2279571" y="1763078"/>
                  </a:cubicBezTo>
                  <a:lnTo>
                    <a:pt x="780336" y="263843"/>
                  </a:lnTo>
                  <a:cubicBezTo>
                    <a:pt x="736521" y="220028"/>
                    <a:pt x="678418" y="195262"/>
                    <a:pt x="616506" y="19526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" name="Rectangle 16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862A131F-1F8F-EC06-44D3-047A5474A249}"/>
              </a:ext>
            </a:extLst>
          </p:cNvPr>
          <p:cNvSpPr/>
          <p:nvPr/>
        </p:nvSpPr>
        <p:spPr>
          <a:xfrm>
            <a:off x="11781813" y="3216826"/>
            <a:ext cx="367941" cy="412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D6370824-01FF-504F-1A3E-AFB66C4C53E3}"/>
              </a:ext>
            </a:extLst>
          </p:cNvPr>
          <p:cNvSpPr/>
          <p:nvPr/>
        </p:nvSpPr>
        <p:spPr>
          <a:xfrm>
            <a:off x="33761" y="3216826"/>
            <a:ext cx="367941" cy="412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2F8F2FDB-D98F-2AA1-E7C7-28B31F6290A4}"/>
              </a:ext>
            </a:extLst>
          </p:cNvPr>
          <p:cNvGrpSpPr/>
          <p:nvPr/>
        </p:nvGrpSpPr>
        <p:grpSpPr>
          <a:xfrm>
            <a:off x="11370735" y="238192"/>
            <a:ext cx="423331" cy="423331"/>
            <a:chOff x="8501571" y="159769"/>
            <a:chExt cx="357756" cy="357756"/>
          </a:xfrm>
        </p:grpSpPr>
        <p:sp>
          <p:nvSpPr>
            <p:cNvPr id="129" name="Oval 128">
              <a:extLst>
                <a:ext uri="{FF2B5EF4-FFF2-40B4-BE49-F238E27FC236}">
                  <a16:creationId xmlns:a16="http://schemas.microsoft.com/office/drawing/2014/main" id="{209EB2F8-5D51-819E-2A5E-BA8A412A6A10}"/>
                </a:ext>
              </a:extLst>
            </p:cNvPr>
            <p:cNvSpPr/>
            <p:nvPr userDrawn="1"/>
          </p:nvSpPr>
          <p:spPr>
            <a:xfrm>
              <a:off x="8501571" y="159769"/>
              <a:ext cx="357756" cy="3577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7813EE9-538E-D4B5-AC4A-713E1AE097D6}"/>
                </a:ext>
              </a:extLst>
            </p:cNvPr>
            <p:cNvCxnSpPr/>
            <p:nvPr userDrawn="1"/>
          </p:nvCxnSpPr>
          <p:spPr>
            <a:xfrm>
              <a:off x="8566150" y="342900"/>
              <a:ext cx="241300" cy="0"/>
            </a:xfrm>
            <a:prstGeom prst="line">
              <a:avLst/>
            </a:prstGeom>
            <a:ln w="38100" cap="rnd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4FFD2BB7-2181-F710-6015-92796C56F548}"/>
                </a:ext>
              </a:extLst>
            </p:cNvPr>
            <p:cNvCxnSpPr/>
            <p:nvPr userDrawn="1"/>
          </p:nvCxnSpPr>
          <p:spPr>
            <a:xfrm>
              <a:off x="8566150" y="275420"/>
              <a:ext cx="241300" cy="0"/>
            </a:xfrm>
            <a:prstGeom prst="line">
              <a:avLst/>
            </a:prstGeom>
            <a:ln w="38100" cap="rnd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9F546C3A-B5CC-007A-8A5B-B6BDB6675817}"/>
                </a:ext>
              </a:extLst>
            </p:cNvPr>
            <p:cNvCxnSpPr/>
            <p:nvPr userDrawn="1"/>
          </p:nvCxnSpPr>
          <p:spPr>
            <a:xfrm>
              <a:off x="8566150" y="410380"/>
              <a:ext cx="241300" cy="0"/>
            </a:xfrm>
            <a:prstGeom prst="line">
              <a:avLst/>
            </a:prstGeom>
            <a:ln w="38100" cap="rnd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3" name="Rectangle 132">
            <a:extLst>
              <a:ext uri="{FF2B5EF4-FFF2-40B4-BE49-F238E27FC236}">
                <a16:creationId xmlns:a16="http://schemas.microsoft.com/office/drawing/2014/main" id="{38356226-DA2D-7C0C-372E-9397880B0B79}"/>
              </a:ext>
            </a:extLst>
          </p:cNvPr>
          <p:cNvSpPr/>
          <p:nvPr/>
        </p:nvSpPr>
        <p:spPr>
          <a:xfrm>
            <a:off x="14495359" y="4573"/>
            <a:ext cx="3886047" cy="6858000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3DD09E31-CC29-9BC2-4D74-CBB693C131D4}"/>
              </a:ext>
            </a:extLst>
          </p:cNvPr>
          <p:cNvGrpSpPr/>
          <p:nvPr/>
        </p:nvGrpSpPr>
        <p:grpSpPr>
          <a:xfrm>
            <a:off x="14927289" y="3197493"/>
            <a:ext cx="3150769" cy="1006217"/>
            <a:chOff x="6370197" y="2300694"/>
            <a:chExt cx="5045403" cy="1006217"/>
          </a:xfrm>
        </p:grpSpPr>
        <p:sp>
          <p:nvSpPr>
            <p:cNvPr id="135" name="TextBox 134">
              <a:hlinkClick r:id="rId7" action="ppaction://hlinksldjump"/>
              <a:extLst>
                <a:ext uri="{FF2B5EF4-FFF2-40B4-BE49-F238E27FC236}">
                  <a16:creationId xmlns:a16="http://schemas.microsoft.com/office/drawing/2014/main" id="{C010C864-F03E-BBB4-16F3-85E1F4BD8D2F}"/>
                </a:ext>
              </a:extLst>
            </p:cNvPr>
            <p:cNvSpPr txBox="1"/>
            <p:nvPr/>
          </p:nvSpPr>
          <p:spPr>
            <a:xfrm>
              <a:off x="6370197" y="2300694"/>
              <a:ext cx="1984236" cy="30777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reatment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6" name="TextBox 26, chunk 2">
              <a:hlinkClick r:id="rId8" action="ppaction://hlinksldjump"/>
              <a:extLst>
                <a:ext uri="{FF2B5EF4-FFF2-40B4-BE49-F238E27FC236}">
                  <a16:creationId xmlns:a16="http://schemas.microsoft.com/office/drawing/2014/main" id="{5FEE0663-1339-15FD-BDD6-D4A4269CB819}"/>
                </a:ext>
              </a:extLst>
            </p:cNvPr>
            <p:cNvSpPr txBox="1"/>
            <p:nvPr/>
          </p:nvSpPr>
          <p:spPr>
            <a:xfrm>
              <a:off x="6512436" y="2716471"/>
              <a:ext cx="4345808" cy="169277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ESMO guidance for the treatment of mCRC</a:t>
              </a:r>
            </a:p>
          </p:txBody>
        </p:sp>
        <p:sp>
          <p:nvSpPr>
            <p:cNvPr id="137" name="TextBox 26, chunk 2">
              <a:hlinkClick r:id="rId9" action="ppaction://hlinksldjump"/>
              <a:extLst>
                <a:ext uri="{FF2B5EF4-FFF2-40B4-BE49-F238E27FC236}">
                  <a16:creationId xmlns:a16="http://schemas.microsoft.com/office/drawing/2014/main" id="{DC48DCA4-D8E0-723B-932C-35906833096B}"/>
                </a:ext>
              </a:extLst>
            </p:cNvPr>
            <p:cNvSpPr txBox="1"/>
            <p:nvPr/>
          </p:nvSpPr>
          <p:spPr>
            <a:xfrm>
              <a:off x="6512438" y="2968357"/>
              <a:ext cx="4903162" cy="338554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European expert panel guidance for the treatment of BRAFV600E-mutant mCRC</a:t>
              </a:r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B4327F34-6209-C947-8C7E-2EB54F6D9654}"/>
              </a:ext>
            </a:extLst>
          </p:cNvPr>
          <p:cNvGrpSpPr/>
          <p:nvPr/>
        </p:nvGrpSpPr>
        <p:grpSpPr>
          <a:xfrm>
            <a:off x="14927289" y="2601101"/>
            <a:ext cx="2106346" cy="307777"/>
            <a:chOff x="6370197" y="3962379"/>
            <a:chExt cx="3372946" cy="307777"/>
          </a:xfrm>
        </p:grpSpPr>
        <p:sp>
          <p:nvSpPr>
            <p:cNvPr id="139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7F8621B6-5074-BCF2-B372-23EC0C0D36AE}"/>
                </a:ext>
              </a:extLst>
            </p:cNvPr>
            <p:cNvSpPr txBox="1"/>
            <p:nvPr/>
          </p:nvSpPr>
          <p:spPr>
            <a:xfrm>
              <a:off x="6512436" y="4014527"/>
              <a:ext cx="184819" cy="169277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   </a:t>
              </a:r>
            </a:p>
          </p:txBody>
        </p:sp>
        <p:sp>
          <p:nvSpPr>
            <p:cNvPr id="140" name="TextBox 139">
              <a:hlinkClick r:id="rId3" action="ppaction://hlinksldjump"/>
              <a:extLst>
                <a:ext uri="{FF2B5EF4-FFF2-40B4-BE49-F238E27FC236}">
                  <a16:creationId xmlns:a16="http://schemas.microsoft.com/office/drawing/2014/main" id="{A961F320-9222-A00C-2E00-064E6B79D375}"/>
                </a:ext>
              </a:extLst>
            </p:cNvPr>
            <p:cNvSpPr txBox="1"/>
            <p:nvPr/>
          </p:nvSpPr>
          <p:spPr>
            <a:xfrm>
              <a:off x="6370197" y="3962379"/>
              <a:ext cx="3372946" cy="30777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olecular testing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70129A46-A033-6432-3EF1-2631DE0BB9DC}"/>
              </a:ext>
            </a:extLst>
          </p:cNvPr>
          <p:cNvGrpSpPr/>
          <p:nvPr/>
        </p:nvGrpSpPr>
        <p:grpSpPr>
          <a:xfrm>
            <a:off x="14927286" y="4492325"/>
            <a:ext cx="3246763" cy="307777"/>
            <a:chOff x="6370196" y="5232186"/>
            <a:chExt cx="3246763" cy="307777"/>
          </a:xfrm>
        </p:grpSpPr>
        <p:sp>
          <p:nvSpPr>
            <p:cNvPr id="142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5DF4C151-4FA1-9DAC-2A96-E240DB88C54D}"/>
                </a:ext>
              </a:extLst>
            </p:cNvPr>
            <p:cNvSpPr txBox="1"/>
            <p:nvPr/>
          </p:nvSpPr>
          <p:spPr>
            <a:xfrm>
              <a:off x="6512437" y="5301435"/>
              <a:ext cx="1142943" cy="169277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43" name="TextBox 142">
              <a:hlinkClick r:id="" action="ppaction://noaction"/>
              <a:extLst>
                <a:ext uri="{FF2B5EF4-FFF2-40B4-BE49-F238E27FC236}">
                  <a16:creationId xmlns:a16="http://schemas.microsoft.com/office/drawing/2014/main" id="{C42A62C7-D5EF-414E-D813-898FC0C4E607}"/>
                </a:ext>
              </a:extLst>
            </p:cNvPr>
            <p:cNvSpPr txBox="1"/>
            <p:nvPr/>
          </p:nvSpPr>
          <p:spPr>
            <a:xfrm>
              <a:off x="6370196" y="5232186"/>
              <a:ext cx="324676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ollow-up &amp; survivorship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D111E4A5-61A7-0645-8135-E2C6065535E4}"/>
              </a:ext>
            </a:extLst>
          </p:cNvPr>
          <p:cNvGrpSpPr/>
          <p:nvPr/>
        </p:nvGrpSpPr>
        <p:grpSpPr>
          <a:xfrm>
            <a:off x="14850659" y="487315"/>
            <a:ext cx="974311" cy="444045"/>
            <a:chOff x="6198682" y="635060"/>
            <a:chExt cx="974311" cy="444045"/>
          </a:xfrm>
        </p:grpSpPr>
        <p:sp>
          <p:nvSpPr>
            <p:cNvPr id="145" name="TextBox 144">
              <a:hlinkClick r:id="rId10" action="ppaction://hlinksldjump"/>
              <a:extLst>
                <a:ext uri="{FF2B5EF4-FFF2-40B4-BE49-F238E27FC236}">
                  <a16:creationId xmlns:a16="http://schemas.microsoft.com/office/drawing/2014/main" id="{8D0C01E3-DAAB-333E-3A85-0F2847F2E9B8}"/>
                </a:ext>
              </a:extLst>
            </p:cNvPr>
            <p:cNvSpPr txBox="1"/>
            <p:nvPr/>
          </p:nvSpPr>
          <p:spPr>
            <a:xfrm>
              <a:off x="6695298" y="863661"/>
              <a:ext cx="477695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ome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46" name="Graphic 145">
              <a:hlinkClick r:id="rId10" action="ppaction://hlinksldjump"/>
              <a:extLst>
                <a:ext uri="{FF2B5EF4-FFF2-40B4-BE49-F238E27FC236}">
                  <a16:creationId xmlns:a16="http://schemas.microsoft.com/office/drawing/2014/main" id="{D9E77701-9050-8859-4CD5-84D27B5E0B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198682" y="635060"/>
              <a:ext cx="431761" cy="431761"/>
            </a:xfrm>
            <a:prstGeom prst="rect">
              <a:avLst/>
            </a:prstGeom>
          </p:spPr>
        </p:pic>
      </p:grpSp>
      <p:sp>
        <p:nvSpPr>
          <p:cNvPr id="147" name="Freeform 53">
            <a:extLst>
              <a:ext uri="{FF2B5EF4-FFF2-40B4-BE49-F238E27FC236}">
                <a16:creationId xmlns:a16="http://schemas.microsoft.com/office/drawing/2014/main" id="{028C67FC-9B0A-7D96-1814-20A342476934}"/>
              </a:ext>
            </a:extLst>
          </p:cNvPr>
          <p:cNvSpPr/>
          <p:nvPr/>
        </p:nvSpPr>
        <p:spPr>
          <a:xfrm rot="2700000">
            <a:off x="17611548" y="257149"/>
            <a:ext cx="330985" cy="330985"/>
          </a:xfrm>
          <a:custGeom>
            <a:avLst/>
            <a:gdLst>
              <a:gd name="connsiteX0" fmla="*/ 162000 w 324000"/>
              <a:gd name="connsiteY0" fmla="*/ 0 h 324000"/>
              <a:gd name="connsiteX1" fmla="*/ 180000 w 324000"/>
              <a:gd name="connsiteY1" fmla="*/ 18000 h 324000"/>
              <a:gd name="connsiteX2" fmla="*/ 180000 w 324000"/>
              <a:gd name="connsiteY2" fmla="*/ 144000 h 324000"/>
              <a:gd name="connsiteX3" fmla="*/ 306000 w 324000"/>
              <a:gd name="connsiteY3" fmla="*/ 144000 h 324000"/>
              <a:gd name="connsiteX4" fmla="*/ 324000 w 324000"/>
              <a:gd name="connsiteY4" fmla="*/ 162000 h 324000"/>
              <a:gd name="connsiteX5" fmla="*/ 306000 w 324000"/>
              <a:gd name="connsiteY5" fmla="*/ 180000 h 324000"/>
              <a:gd name="connsiteX6" fmla="*/ 180000 w 324000"/>
              <a:gd name="connsiteY6" fmla="*/ 180000 h 324000"/>
              <a:gd name="connsiteX7" fmla="*/ 180000 w 324000"/>
              <a:gd name="connsiteY7" fmla="*/ 306000 h 324000"/>
              <a:gd name="connsiteX8" fmla="*/ 162000 w 324000"/>
              <a:gd name="connsiteY8" fmla="*/ 324000 h 324000"/>
              <a:gd name="connsiteX9" fmla="*/ 144000 w 324000"/>
              <a:gd name="connsiteY9" fmla="*/ 306000 h 324000"/>
              <a:gd name="connsiteX10" fmla="*/ 144000 w 324000"/>
              <a:gd name="connsiteY10" fmla="*/ 180000 h 324000"/>
              <a:gd name="connsiteX11" fmla="*/ 18000 w 324000"/>
              <a:gd name="connsiteY11" fmla="*/ 180000 h 324000"/>
              <a:gd name="connsiteX12" fmla="*/ 0 w 324000"/>
              <a:gd name="connsiteY12" fmla="*/ 162000 h 324000"/>
              <a:gd name="connsiteX13" fmla="*/ 18000 w 324000"/>
              <a:gd name="connsiteY13" fmla="*/ 144000 h 324000"/>
              <a:gd name="connsiteX14" fmla="*/ 144000 w 324000"/>
              <a:gd name="connsiteY14" fmla="*/ 144000 h 324000"/>
              <a:gd name="connsiteX15" fmla="*/ 144000 w 324000"/>
              <a:gd name="connsiteY15" fmla="*/ 18000 h 324000"/>
              <a:gd name="connsiteX16" fmla="*/ 162000 w 324000"/>
              <a:gd name="connsiteY16" fmla="*/ 0 h 3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24000" h="324000">
                <a:moveTo>
                  <a:pt x="162000" y="0"/>
                </a:moveTo>
                <a:cubicBezTo>
                  <a:pt x="171941" y="0"/>
                  <a:pt x="180000" y="8059"/>
                  <a:pt x="180000" y="18000"/>
                </a:cubicBezTo>
                <a:lnTo>
                  <a:pt x="180000" y="144000"/>
                </a:lnTo>
                <a:lnTo>
                  <a:pt x="306000" y="144000"/>
                </a:lnTo>
                <a:cubicBezTo>
                  <a:pt x="315941" y="144000"/>
                  <a:pt x="324000" y="152059"/>
                  <a:pt x="324000" y="162000"/>
                </a:cubicBezTo>
                <a:cubicBezTo>
                  <a:pt x="324000" y="171941"/>
                  <a:pt x="315941" y="180000"/>
                  <a:pt x="306000" y="180000"/>
                </a:cubicBezTo>
                <a:lnTo>
                  <a:pt x="180000" y="180000"/>
                </a:lnTo>
                <a:lnTo>
                  <a:pt x="180000" y="306000"/>
                </a:lnTo>
                <a:cubicBezTo>
                  <a:pt x="180000" y="315941"/>
                  <a:pt x="171941" y="324000"/>
                  <a:pt x="162000" y="324000"/>
                </a:cubicBezTo>
                <a:cubicBezTo>
                  <a:pt x="152059" y="324000"/>
                  <a:pt x="144000" y="315941"/>
                  <a:pt x="144000" y="306000"/>
                </a:cubicBezTo>
                <a:lnTo>
                  <a:pt x="144000" y="180000"/>
                </a:lnTo>
                <a:lnTo>
                  <a:pt x="18000" y="180000"/>
                </a:lnTo>
                <a:cubicBezTo>
                  <a:pt x="8059" y="180000"/>
                  <a:pt x="0" y="171941"/>
                  <a:pt x="0" y="162000"/>
                </a:cubicBezTo>
                <a:cubicBezTo>
                  <a:pt x="0" y="152059"/>
                  <a:pt x="8059" y="144000"/>
                  <a:pt x="18000" y="144000"/>
                </a:cubicBezTo>
                <a:lnTo>
                  <a:pt x="144000" y="144000"/>
                </a:lnTo>
                <a:lnTo>
                  <a:pt x="144000" y="18000"/>
                </a:lnTo>
                <a:cubicBezTo>
                  <a:pt x="144000" y="8059"/>
                  <a:pt x="152059" y="0"/>
                  <a:pt x="162000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Triangle 5">
            <a:extLst>
              <a:ext uri="{FF2B5EF4-FFF2-40B4-BE49-F238E27FC236}">
                <a16:creationId xmlns:a16="http://schemas.microsoft.com/office/drawing/2014/main" id="{DA862CAF-A5AD-A054-AF14-A22749DFB136}"/>
              </a:ext>
            </a:extLst>
          </p:cNvPr>
          <p:cNvSpPr/>
          <p:nvPr/>
        </p:nvSpPr>
        <p:spPr>
          <a:xfrm rot="5400000">
            <a:off x="14811018" y="3653398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B959A708-17C8-F200-4D19-9C8843FFA258}"/>
              </a:ext>
            </a:extLst>
          </p:cNvPr>
          <p:cNvGrpSpPr/>
          <p:nvPr/>
        </p:nvGrpSpPr>
        <p:grpSpPr>
          <a:xfrm>
            <a:off x="12545015" y="3313834"/>
            <a:ext cx="2431425" cy="475588"/>
            <a:chOff x="4572000" y="1813393"/>
            <a:chExt cx="1823569" cy="356691"/>
          </a:xfrm>
        </p:grpSpPr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11E7EECB-2789-BED4-9E73-199CECD74935}"/>
                </a:ext>
              </a:extLst>
            </p:cNvPr>
            <p:cNvGrpSpPr/>
            <p:nvPr/>
          </p:nvGrpSpPr>
          <p:grpSpPr>
            <a:xfrm>
              <a:off x="4572000" y="1813393"/>
              <a:ext cx="1823569" cy="356691"/>
              <a:chOff x="4572000" y="1813393"/>
              <a:chExt cx="1823569" cy="356691"/>
            </a:xfrm>
            <a:solidFill>
              <a:schemeClr val="accent2">
                <a:lumMod val="75000"/>
                <a:alpha val="90000"/>
              </a:schemeClr>
            </a:solidFill>
          </p:grpSpPr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89B06C16-B073-2390-6AC5-B021AD2169A4}"/>
                  </a:ext>
                </a:extLst>
              </p:cNvPr>
              <p:cNvSpPr/>
              <p:nvPr/>
            </p:nvSpPr>
            <p:spPr>
              <a:xfrm>
                <a:off x="4572000" y="1813393"/>
                <a:ext cx="1661570" cy="356691"/>
              </a:xfrm>
              <a:prstGeom prst="rect">
                <a:avLst/>
              </a:prstGeom>
              <a:solidFill>
                <a:schemeClr val="tx2">
                  <a:lumMod val="50000"/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55" name="Round Same-side Corner of Rectangle 139">
                <a:extLst>
                  <a:ext uri="{FF2B5EF4-FFF2-40B4-BE49-F238E27FC236}">
                    <a16:creationId xmlns:a16="http://schemas.microsoft.com/office/drawing/2014/main" id="{B115CA94-B04C-0211-73F3-3DE73AE4507F}"/>
                  </a:ext>
                </a:extLst>
              </p:cNvPr>
              <p:cNvSpPr/>
              <p:nvPr/>
            </p:nvSpPr>
            <p:spPr>
              <a:xfrm rot="5400000">
                <a:off x="6233569" y="2008084"/>
                <a:ext cx="162000" cy="162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EC9FA4BB-4234-F601-885A-9C3E8FEAE901}"/>
                </a:ext>
              </a:extLst>
            </p:cNvPr>
            <p:cNvGrpSpPr/>
            <p:nvPr/>
          </p:nvGrpSpPr>
          <p:grpSpPr>
            <a:xfrm>
              <a:off x="4685641" y="1866260"/>
              <a:ext cx="1434287" cy="256326"/>
              <a:chOff x="6338520" y="2037143"/>
              <a:chExt cx="3062350" cy="341769"/>
            </a:xfrm>
          </p:grpSpPr>
          <p:sp>
            <p:nvSpPr>
              <p:cNvPr id="152" name="TextBox 26, chunk 2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20B0CD23-58D5-FDCC-AE82-88A502490001}"/>
                  </a:ext>
                </a:extLst>
              </p:cNvPr>
              <p:cNvSpPr txBox="1"/>
              <p:nvPr/>
            </p:nvSpPr>
            <p:spPr>
              <a:xfrm>
                <a:off x="6338520" y="2037143"/>
                <a:ext cx="1973971" cy="143886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Resectable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 disease</a:t>
                </a:r>
              </a:p>
            </p:txBody>
          </p:sp>
          <p:sp>
            <p:nvSpPr>
              <p:cNvPr id="153" name="TextBox 26, chunk 2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8D29C1F9-F182-8DCC-E039-1D1446BC26CB}"/>
                  </a:ext>
                </a:extLst>
              </p:cNvPr>
              <p:cNvSpPr txBox="1"/>
              <p:nvPr/>
            </p:nvSpPr>
            <p:spPr>
              <a:xfrm>
                <a:off x="6338520" y="2235026"/>
                <a:ext cx="3062350" cy="143886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Unresectable stage IV disease</a:t>
                </a:r>
              </a:p>
            </p:txBody>
          </p:sp>
        </p:grpSp>
      </p:grpSp>
      <p:sp>
        <p:nvSpPr>
          <p:cNvPr id="156" name="Triangle 5">
            <a:extLst>
              <a:ext uri="{FF2B5EF4-FFF2-40B4-BE49-F238E27FC236}">
                <a16:creationId xmlns:a16="http://schemas.microsoft.com/office/drawing/2014/main" id="{BF0505A2-FD6F-1FA4-5244-869253750726}"/>
              </a:ext>
            </a:extLst>
          </p:cNvPr>
          <p:cNvSpPr/>
          <p:nvPr/>
        </p:nvSpPr>
        <p:spPr>
          <a:xfrm rot="16200000">
            <a:off x="14811619" y="3653286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613DF931-5617-999C-AD97-8582626F39F7}"/>
              </a:ext>
            </a:extLst>
          </p:cNvPr>
          <p:cNvGrpSpPr/>
          <p:nvPr/>
        </p:nvGrpSpPr>
        <p:grpSpPr>
          <a:xfrm>
            <a:off x="14927285" y="1450153"/>
            <a:ext cx="2256082" cy="862333"/>
            <a:chOff x="10988323" y="909210"/>
            <a:chExt cx="1692062" cy="646749"/>
          </a:xfrm>
        </p:grpSpPr>
        <p:sp>
          <p:nvSpPr>
            <p:cNvPr id="158" name="TextBox 157">
              <a:hlinkClick r:id="rId14" action="ppaction://hlinksldjump"/>
              <a:extLst>
                <a:ext uri="{FF2B5EF4-FFF2-40B4-BE49-F238E27FC236}">
                  <a16:creationId xmlns:a16="http://schemas.microsoft.com/office/drawing/2014/main" id="{FDF51DE9-0EA5-90FC-1C03-BDF22DE7E8B4}"/>
                </a:ext>
              </a:extLst>
            </p:cNvPr>
            <p:cNvSpPr txBox="1"/>
            <p:nvPr/>
          </p:nvSpPr>
          <p:spPr>
            <a:xfrm>
              <a:off x="10988323" y="909210"/>
              <a:ext cx="1197443" cy="230833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thodology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9" name="TextBox 26, chunk 2">
              <a:hlinkClick r:id="rId15" action="ppaction://hlinksldjump"/>
              <a:extLst>
                <a:ext uri="{FF2B5EF4-FFF2-40B4-BE49-F238E27FC236}">
                  <a16:creationId xmlns:a16="http://schemas.microsoft.com/office/drawing/2014/main" id="{6E1A96C1-894F-E1CA-7F5C-83BEE9E3F724}"/>
                </a:ext>
              </a:extLst>
            </p:cNvPr>
            <p:cNvSpPr txBox="1"/>
            <p:nvPr/>
          </p:nvSpPr>
          <p:spPr>
            <a:xfrm>
              <a:off x="11054940" y="1221043"/>
              <a:ext cx="1625445" cy="126958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ESMO Clinical Practice Guidelines</a:t>
              </a:r>
            </a:p>
          </p:txBody>
        </p:sp>
        <p:sp>
          <p:nvSpPr>
            <p:cNvPr id="160" name="TextBox 26, chunk 2">
              <a:hlinkClick r:id="rId14" action="ppaction://hlinksldjump"/>
              <a:extLst>
                <a:ext uri="{FF2B5EF4-FFF2-40B4-BE49-F238E27FC236}">
                  <a16:creationId xmlns:a16="http://schemas.microsoft.com/office/drawing/2014/main" id="{B8737C9C-E069-CC68-C9B5-32F38828A9F6}"/>
                </a:ext>
              </a:extLst>
            </p:cNvPr>
            <p:cNvSpPr txBox="1"/>
            <p:nvPr/>
          </p:nvSpPr>
          <p:spPr>
            <a:xfrm>
              <a:off x="11054940" y="1429001"/>
              <a:ext cx="1605007" cy="126958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kern="0"/>
              </a:defPPr>
              <a:lvl1pPr>
                <a:lnSpc>
                  <a:spcPct val="85000"/>
                </a:lnSpc>
                <a:defRPr sz="825" kern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uropean expert panel consensus</a:t>
              </a:r>
            </a:p>
          </p:txBody>
        </p:sp>
      </p:grpSp>
      <p:sp>
        <p:nvSpPr>
          <p:cNvPr id="161" name="Triangle 5">
            <a:extLst>
              <a:ext uri="{FF2B5EF4-FFF2-40B4-BE49-F238E27FC236}">
                <a16:creationId xmlns:a16="http://schemas.microsoft.com/office/drawing/2014/main" id="{9768F763-192F-209A-A5E8-6F117B47F3D8}"/>
              </a:ext>
            </a:extLst>
          </p:cNvPr>
          <p:cNvSpPr/>
          <p:nvPr/>
        </p:nvSpPr>
        <p:spPr>
          <a:xfrm rot="5400000">
            <a:off x="14811018" y="3910346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CEF0B4B9-1D59-7B89-9674-6B92CBC348AA}"/>
              </a:ext>
            </a:extLst>
          </p:cNvPr>
          <p:cNvGrpSpPr/>
          <p:nvPr/>
        </p:nvGrpSpPr>
        <p:grpSpPr>
          <a:xfrm>
            <a:off x="12545016" y="3829821"/>
            <a:ext cx="2432044" cy="475588"/>
            <a:chOff x="4572000" y="1990638"/>
            <a:chExt cx="1824033" cy="356691"/>
          </a:xfrm>
        </p:grpSpPr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AAF51CA9-A1EE-B96B-38E6-B3FACFA64B23}"/>
                </a:ext>
              </a:extLst>
            </p:cNvPr>
            <p:cNvGrpSpPr/>
            <p:nvPr/>
          </p:nvGrpSpPr>
          <p:grpSpPr>
            <a:xfrm>
              <a:off x="4572000" y="1990638"/>
              <a:ext cx="1824033" cy="356691"/>
              <a:chOff x="4572000" y="1990638"/>
              <a:chExt cx="1824033" cy="356691"/>
            </a:xfrm>
            <a:solidFill>
              <a:schemeClr val="accent2">
                <a:lumMod val="75000"/>
                <a:alpha val="90000"/>
              </a:schemeClr>
            </a:solidFill>
          </p:grpSpPr>
          <p:sp>
            <p:nvSpPr>
              <p:cNvPr id="167" name="Rectangle 166">
                <a:extLst>
                  <a:ext uri="{FF2B5EF4-FFF2-40B4-BE49-F238E27FC236}">
                    <a16:creationId xmlns:a16="http://schemas.microsoft.com/office/drawing/2014/main" id="{46F2D39D-9588-0515-8816-B7E3DD84210D}"/>
                  </a:ext>
                </a:extLst>
              </p:cNvPr>
              <p:cNvSpPr/>
              <p:nvPr/>
            </p:nvSpPr>
            <p:spPr>
              <a:xfrm>
                <a:off x="4572000" y="1990638"/>
                <a:ext cx="1661570" cy="356691"/>
              </a:xfrm>
              <a:prstGeom prst="rect">
                <a:avLst/>
              </a:prstGeom>
              <a:solidFill>
                <a:schemeClr val="tx2">
                  <a:lumMod val="50000"/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68" name="Round Same-side Corner of Rectangle 164">
                <a:extLst>
                  <a:ext uri="{FF2B5EF4-FFF2-40B4-BE49-F238E27FC236}">
                    <a16:creationId xmlns:a16="http://schemas.microsoft.com/office/drawing/2014/main" id="{81DC4C63-C183-714E-FFA1-347B825FD658}"/>
                  </a:ext>
                </a:extLst>
              </p:cNvPr>
              <p:cNvSpPr/>
              <p:nvPr/>
            </p:nvSpPr>
            <p:spPr>
              <a:xfrm rot="5400000">
                <a:off x="6234033" y="1990638"/>
                <a:ext cx="162000" cy="162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7988CDA4-EC73-EE91-7CBD-D8D01E8E9A52}"/>
                </a:ext>
              </a:extLst>
            </p:cNvPr>
            <p:cNvGrpSpPr/>
            <p:nvPr/>
          </p:nvGrpSpPr>
          <p:grpSpPr>
            <a:xfrm>
              <a:off x="4685640" y="2045170"/>
              <a:ext cx="1051971" cy="257735"/>
              <a:chOff x="6338520" y="2275666"/>
              <a:chExt cx="2246067" cy="343644"/>
            </a:xfrm>
          </p:grpSpPr>
          <p:sp>
            <p:nvSpPr>
              <p:cNvPr id="165" name="TextBox 26, chunk 2">
                <a:hlinkClick r:id="rId16" action="ppaction://hlinksldjump"/>
                <a:extLst>
                  <a:ext uri="{FF2B5EF4-FFF2-40B4-BE49-F238E27FC236}">
                    <a16:creationId xmlns:a16="http://schemas.microsoft.com/office/drawing/2014/main" id="{3081DF64-E2F0-D28B-09B8-EAFD05C5EC87}"/>
                  </a:ext>
                </a:extLst>
              </p:cNvPr>
              <p:cNvSpPr txBox="1"/>
              <p:nvPr/>
            </p:nvSpPr>
            <p:spPr>
              <a:xfrm>
                <a:off x="6338520" y="2275666"/>
                <a:ext cx="2246067" cy="143885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Key recommendations</a:t>
                </a:r>
              </a:p>
            </p:txBody>
          </p:sp>
          <p:sp>
            <p:nvSpPr>
              <p:cNvPr id="166" name="TextBox 26, chunk 2">
                <a:hlinkClick r:id="rId17" action="ppaction://hlinksldjump"/>
                <a:extLst>
                  <a:ext uri="{FF2B5EF4-FFF2-40B4-BE49-F238E27FC236}">
                    <a16:creationId xmlns:a16="http://schemas.microsoft.com/office/drawing/2014/main" id="{592B22F6-E6A6-36B3-0203-D30D083EBCC1}"/>
                  </a:ext>
                </a:extLst>
              </p:cNvPr>
              <p:cNvSpPr txBox="1"/>
              <p:nvPr/>
            </p:nvSpPr>
            <p:spPr>
              <a:xfrm>
                <a:off x="6338520" y="2475425"/>
                <a:ext cx="1732680" cy="143885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Patient scenarios</a:t>
                </a:r>
              </a:p>
            </p:txBody>
          </p:sp>
        </p:grpSp>
      </p:grpSp>
      <p:sp>
        <p:nvSpPr>
          <p:cNvPr id="169" name="Triangle 5">
            <a:extLst>
              <a:ext uri="{FF2B5EF4-FFF2-40B4-BE49-F238E27FC236}">
                <a16:creationId xmlns:a16="http://schemas.microsoft.com/office/drawing/2014/main" id="{8E1FD7FA-EB67-9F94-E3CA-8553A8A10AE6}"/>
              </a:ext>
            </a:extLst>
          </p:cNvPr>
          <p:cNvSpPr/>
          <p:nvPr/>
        </p:nvSpPr>
        <p:spPr>
          <a:xfrm rot="16200000">
            <a:off x="14811619" y="3910234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7167F7E3-795E-B2A2-4582-B2AD8A0AAD95}"/>
              </a:ext>
            </a:extLst>
          </p:cNvPr>
          <p:cNvGrpSpPr/>
          <p:nvPr/>
        </p:nvGrpSpPr>
        <p:grpSpPr>
          <a:xfrm>
            <a:off x="14927286" y="5088717"/>
            <a:ext cx="3246763" cy="307777"/>
            <a:chOff x="6370196" y="5232186"/>
            <a:chExt cx="3246763" cy="307777"/>
          </a:xfrm>
        </p:grpSpPr>
        <p:sp>
          <p:nvSpPr>
            <p:cNvPr id="171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DA77F7FC-9E56-F828-B24E-652E4C60363C}"/>
                </a:ext>
              </a:extLst>
            </p:cNvPr>
            <p:cNvSpPr txBox="1"/>
            <p:nvPr/>
          </p:nvSpPr>
          <p:spPr>
            <a:xfrm>
              <a:off x="6512437" y="5301435"/>
              <a:ext cx="1142943" cy="169277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72" name="TextBox 171">
              <a:hlinkClick r:id="rId18" action="ppaction://hlinksldjump"/>
              <a:extLst>
                <a:ext uri="{FF2B5EF4-FFF2-40B4-BE49-F238E27FC236}">
                  <a16:creationId xmlns:a16="http://schemas.microsoft.com/office/drawing/2014/main" id="{48E75EA1-7676-C2C1-4A81-A802BDF1476E}"/>
                </a:ext>
              </a:extLst>
            </p:cNvPr>
            <p:cNvSpPr txBox="1"/>
            <p:nvPr/>
          </p:nvSpPr>
          <p:spPr>
            <a:xfrm>
              <a:off x="6370196" y="5232186"/>
              <a:ext cx="324676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lossary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4D43625B-0C8D-5DF2-EC56-E843CF9B3A46}"/>
              </a:ext>
            </a:extLst>
          </p:cNvPr>
          <p:cNvGrpSpPr/>
          <p:nvPr/>
        </p:nvGrpSpPr>
        <p:grpSpPr>
          <a:xfrm>
            <a:off x="14927286" y="5685109"/>
            <a:ext cx="3246763" cy="307777"/>
            <a:chOff x="6370196" y="5232186"/>
            <a:chExt cx="3246763" cy="307777"/>
          </a:xfrm>
        </p:grpSpPr>
        <p:sp>
          <p:nvSpPr>
            <p:cNvPr id="174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9CCFA78E-0EDF-8231-D2A4-15652FFA24A5}"/>
                </a:ext>
              </a:extLst>
            </p:cNvPr>
            <p:cNvSpPr txBox="1"/>
            <p:nvPr/>
          </p:nvSpPr>
          <p:spPr>
            <a:xfrm>
              <a:off x="6512437" y="5301435"/>
              <a:ext cx="1142943" cy="169277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75" name="TextBox 174">
              <a:hlinkClick r:id="rId19" action="ppaction://hlinksldjump"/>
              <a:extLst>
                <a:ext uri="{FF2B5EF4-FFF2-40B4-BE49-F238E27FC236}">
                  <a16:creationId xmlns:a16="http://schemas.microsoft.com/office/drawing/2014/main" id="{F811992A-E11C-159A-4763-7D67D3EE202F}"/>
                </a:ext>
              </a:extLst>
            </p:cNvPr>
            <p:cNvSpPr txBox="1"/>
            <p:nvPr/>
          </p:nvSpPr>
          <p:spPr>
            <a:xfrm>
              <a:off x="6370196" y="5232186"/>
              <a:ext cx="324676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ferences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6954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autoRev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24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14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xit" presetSubtype="2" repeatCount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1000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2" accel="50000" decel="5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1000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1000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xit" presetSubtype="2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1000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2" presetClass="exit" presetSubtype="2" accel="50000" decel="5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6" dur="1000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1000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" presetClass="exit" presetSubtype="2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0" dur="1000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1000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3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" presetClass="exit" presetSubtype="2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7" dur="1000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" presetClass="exit" presetSubtype="2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1" dur="1000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1000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3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3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3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" presetClass="exit" presetSubtype="2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4" dur="1000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1000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2" presetClass="exit" presetSubtype="2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8" dur="1000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1000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2" presetClass="exit" presetSubtype="2" accel="50000" decel="5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2" dur="1000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1000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2" presetClass="exit" presetSubtype="2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6" dur="1000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1000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7"/>
                  </p:tgtEl>
                </p:cond>
              </p:nextCondLst>
            </p:seq>
            <p:seq concurrent="1" nextAc="seek">
              <p:cTn id="69" restart="whenNotActive" fill="hold" evtFilter="cancelBubble" nodeType="interactiveSeq">
                <p:stCondLst>
                  <p:cond evt="onClick" delay="0">
                    <p:tgtEl>
                      <p:spTgt spid="12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70" fill="hold">
                      <p:stCondLst>
                        <p:cond delay="0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-4.44444E-6 L -0.50612 -4.44444E-6 " pathEditMode="relative" rAng="0" ptsTypes="AA">
                                      <p:cBhvr>
                                        <p:cTn id="73" dur="2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13" y="0"/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35" presetClass="path" presetSubtype="0" accel="50000" decel="5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4.16667E-6 4.44444E-6 L -0.25 4.44444E-6 " pathEditMode="relative" rAng="0" ptsTypes="AA">
                                      <p:cBhvr>
                                        <p:cTn id="105" dur="20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0" y="0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35" presetClass="path" presetSubtype="0" accel="50000" decel="5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2.70833E-6 -2.22222E-6 L -0.50638 -2.22222E-6 " pathEditMode="relative" rAng="0" ptsTypes="AA">
                                      <p:cBhvr>
                                        <p:cTn id="107" dur="2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26" y="0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35" presetClass="path" presetSubtype="0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3.125E-6 4.44444E-6 L -0.50742 4.44444E-6 " pathEditMode="relative" rAng="0" ptsTypes="AA">
                                      <p:cBhvr>
                                        <p:cTn id="109" dur="2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78" y="0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35" presetClass="path" presetSubtype="0" accel="50000" decel="5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2.91667E-6 -3.7037E-7 L -0.50716 -3.7037E-7 " pathEditMode="relative" rAng="0" ptsTypes="AA">
                                      <p:cBhvr>
                                        <p:cTn id="111" dur="2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65" y="0"/>
                                    </p:animMotion>
                                  </p:childTnLst>
                                </p:cTn>
                              </p:par>
                              <p:par>
                                <p:cTn id="112" presetID="35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375E-6 -3.33333E-6 L -0.50586 -3.33333E-6 " pathEditMode="relative" rAng="0" ptsTypes="AA">
                                      <p:cBhvr>
                                        <p:cTn id="113" dur="2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35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16667E-6 -4.07407E-6 L -0.50573 -4.07407E-6 " pathEditMode="relative" rAng="0" ptsTypes="AA">
                                      <p:cBhvr>
                                        <p:cTn id="115" dur="2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86" y="0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35" presetClass="pat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1.11111E-6 L -0.50677 -1.11111E-6 " pathEditMode="relative" rAng="0" ptsTypes="AA">
                                      <p:cBhvr>
                                        <p:cTn id="117" dur="2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39" y="0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35" presetClass="pat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1.11111E-6 L -0.50677 -1.11111E-6 " pathEditMode="relative" rAng="0" ptsTypes="AA">
                                      <p:cBhvr>
                                        <p:cTn id="119" dur="20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39" y="0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35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16667E-6 4.44444E-6 L -0.50586 4.44444E-6 " pathEditMode="relative" rAng="0" ptsTypes="AA">
                                      <p:cBhvr>
                                        <p:cTn id="121" dur="20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35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0.00185 L -0.50612 -0.00185 " pathEditMode="relative" rAng="0" ptsTypes="AA">
                                      <p:cBhvr>
                                        <p:cTn id="123" dur="20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13" y="0"/>
                                    </p:animMotion>
                                  </p:childTnLst>
                                </p:cTn>
                              </p:par>
                              <p:par>
                                <p:cTn id="124" presetID="35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0.00185 L -0.50612 -0.00185 " pathEditMode="relative" rAng="0" ptsTypes="AA">
                                      <p:cBhvr>
                                        <p:cTn id="125" dur="20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13" y="0"/>
                                    </p:animMotion>
                                  </p:childTnLst>
                                </p:cTn>
                              </p:par>
                              <p:par>
                                <p:cTn id="126" presetID="35" presetClass="path" presetSubtype="0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875E-6 3.7037E-6 L -0.50586 3.7037E-6 " pathEditMode="relative" rAng="0" ptsTypes="AA">
                                      <p:cBhvr>
                                        <p:cTn id="127" dur="2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28" presetID="35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1.85185E-6 L -0.50586 -1.85185E-6 " pathEditMode="relative" rAng="0" ptsTypes="AA">
                                      <p:cBhvr>
                                        <p:cTn id="129" dur="20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30" presetID="35" presetClass="path" presetSubtype="0" accel="50000" decel="5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1.875E-6 1.11111E-6 L -0.50586 1.11111E-6 " pathEditMode="relative" rAng="0" ptsTypes="AA">
                                      <p:cBhvr>
                                        <p:cTn id="131" dur="2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32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-4.07407E-6 L -0.50586 -4.07407E-6 " pathEditMode="relative" rAng="0" ptsTypes="AA">
                                      <p:cBhvr>
                                        <p:cTn id="133" dur="20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8"/>
                  </p:tgtEl>
                </p:cond>
              </p:nextCondLst>
            </p:seq>
            <p:seq concurrent="1" nextAc="seek">
              <p:cTn id="134" restart="whenNotActive" fill="hold" evtFilter="cancelBubble" nodeType="interactiveSeq">
                <p:stCondLst>
                  <p:cond evt="onClick" delay="0">
                    <p:tgtEl>
                      <p:spTgt spid="14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5" fill="hold">
                      <p:stCondLst>
                        <p:cond delay="0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9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1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8"/>
                  </p:tgtEl>
                </p:cond>
              </p:nextCondLst>
            </p:seq>
            <p:seq concurrent="1" nextAc="seek">
              <p:cTn id="146" restart="whenNotActive" fill="hold" evtFilter="cancelBubble" nodeType="interactiveSeq">
                <p:stCondLst>
                  <p:cond evt="onClick" delay="0">
                    <p:tgtEl>
                      <p:spTgt spid="15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47" fill="hold">
                      <p:stCondLst>
                        <p:cond delay="0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2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50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3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6"/>
                  </p:tgtEl>
                </p:cond>
              </p:nextCondLst>
            </p:seq>
            <p:seq concurrent="1" nextAc="seek">
              <p:cTn id="158" restart="whenNotActive" fill="hold" evtFilter="cancelBubble" nodeType="interactiveSeq">
                <p:stCondLst>
                  <p:cond evt="onClick" delay="0">
                    <p:tgtEl>
                      <p:spTgt spid="16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9" fill="hold">
                      <p:stCondLst>
                        <p:cond delay="0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3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5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1"/>
                  </p:tgtEl>
                </p:cond>
              </p:nextCondLst>
            </p:seq>
            <p:seq concurrent="1" nextAc="seek">
              <p:cTn id="170" restart="whenNotActive" fill="hold" evtFilter="cancelBubble" nodeType="interactiveSeq">
                <p:stCondLst>
                  <p:cond evt="onClick" delay="0">
                    <p:tgtEl>
                      <p:spTgt spid="16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1" fill="hold">
                      <p:stCondLst>
                        <p:cond delay="0"/>
                      </p:stCondLst>
                      <p:childTnLst>
                        <p:par>
                          <p:cTn id="172" fill="hold">
                            <p:stCondLst>
                              <p:cond delay="0"/>
                            </p:stCondLst>
                            <p:childTnLst>
                              <p:par>
                                <p:cTn id="173" presetID="2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74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7" dur="3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9"/>
                  </p:tgtEl>
                </p:cond>
              </p:nextCondLst>
            </p:seq>
          </p:childTnLst>
        </p:cTn>
      </p:par>
    </p:tnLst>
    <p:bldLst>
      <p:bldP spid="133" grpId="0" animBg="1"/>
      <p:bldP spid="133" grpId="1" animBg="1"/>
      <p:bldP spid="133" grpId="2" animBg="1"/>
      <p:bldP spid="147" grpId="0" animBg="1"/>
      <p:bldP spid="147" grpId="1" animBg="1"/>
      <p:bldP spid="147" grpId="2" animBg="1"/>
      <p:bldP spid="148" grpId="0" animBg="1"/>
      <p:bldP spid="148" grpId="1" animBg="1"/>
      <p:bldP spid="148" grpId="2" animBg="1"/>
      <p:bldP spid="148" grpId="3" animBg="1"/>
      <p:bldP spid="148" grpId="4" animBg="1"/>
      <p:bldP spid="156" grpId="0" animBg="1"/>
      <p:bldP spid="156" grpId="1" animBg="1"/>
      <p:bldP spid="156" grpId="2" animBg="1"/>
      <p:bldP spid="156" grpId="3" animBg="1"/>
      <p:bldP spid="158" grpId="0"/>
      <p:bldP spid="161" grpId="0" animBg="1"/>
      <p:bldP spid="161" grpId="1" animBg="1"/>
      <p:bldP spid="161" grpId="2" animBg="1"/>
      <p:bldP spid="161" grpId="3" animBg="1"/>
      <p:bldP spid="161" grpId="4" animBg="1"/>
      <p:bldP spid="169" grpId="0" animBg="1"/>
      <p:bldP spid="169" grpId="1" animBg="1"/>
      <p:bldP spid="169" grpId="2" animBg="1"/>
      <p:bldP spid="169" grpId="3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1C10EFF-3573-1C5E-FBF8-033F917232BF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ounded Rectangle 56">
            <a:extLst>
              <a:ext uri="{FF2B5EF4-FFF2-40B4-BE49-F238E27FC236}">
                <a16:creationId xmlns:a16="http://schemas.microsoft.com/office/drawing/2014/main" id="{6A1B6165-F9CC-A74B-B61C-276D9675D727}"/>
              </a:ext>
            </a:extLst>
          </p:cNvPr>
          <p:cNvSpPr/>
          <p:nvPr/>
        </p:nvSpPr>
        <p:spPr>
          <a:xfrm>
            <a:off x="609600" y="446412"/>
            <a:ext cx="10972800" cy="5814000"/>
          </a:xfrm>
          <a:prstGeom prst="roundRect">
            <a:avLst>
              <a:gd name="adj" fmla="val 2810"/>
            </a:avLst>
          </a:prstGeom>
          <a:solidFill>
            <a:srgbClr val="FFFFFF"/>
          </a:solidFill>
          <a:ln>
            <a:noFill/>
          </a:ln>
          <a:effectLst>
            <a:outerShdw blurRad="317500" dist="1016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046F69-49A6-760D-1947-247D217638F3}"/>
              </a:ext>
            </a:extLst>
          </p:cNvPr>
          <p:cNvSpPr txBox="1"/>
          <p:nvPr/>
        </p:nvSpPr>
        <p:spPr>
          <a:xfrm>
            <a:off x="11031237" y="937297"/>
            <a:ext cx="314017" cy="692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1" i="0" u="none" strike="noStrike" kern="1200" cap="none" spc="0" normalizeH="0" baseline="0" noProof="0" dirty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S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49AEE5E-FC1D-FD45-E60C-9F01B1860F4A}"/>
              </a:ext>
            </a:extLst>
          </p:cNvPr>
          <p:cNvSpPr txBox="1">
            <a:spLocks/>
          </p:cNvSpPr>
          <p:nvPr/>
        </p:nvSpPr>
        <p:spPr>
          <a:xfrm>
            <a:off x="1090155" y="874487"/>
            <a:ext cx="8742957" cy="775597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67" b="1" i="0" kern="1200" spc="-133" baseline="0">
                <a:solidFill>
                  <a:schemeClr val="tx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-133" normalizeH="0" baseline="0" noProof="0" dirty="0">
                <a:ln>
                  <a:noFill/>
                </a:ln>
                <a:solidFill>
                  <a:srgbClr val="0061A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uropean expert panel recommendations on biomarker testing for mCRC</a:t>
            </a:r>
            <a:r>
              <a:rPr kumimoji="0" lang="en-GB" sz="2800" b="1" i="0" u="none" strike="noStrike" kern="1200" cap="none" spc="-133" normalizeH="0" baseline="30000" noProof="0" dirty="0">
                <a:ln>
                  <a:noFill/>
                </a:ln>
                <a:solidFill>
                  <a:srgbClr val="0061A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kumimoji="0" lang="en-GB" sz="2800" b="1" i="0" u="none" strike="noStrike" kern="1200" cap="none" spc="-133" normalizeH="0" baseline="0" noProof="0" dirty="0">
              <a:ln>
                <a:noFill/>
              </a:ln>
              <a:solidFill>
                <a:srgbClr val="0061A7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hlinkClick r:id="rId3" action="ppaction://hlinksldjump"/>
            <a:extLst>
              <a:ext uri="{FF2B5EF4-FFF2-40B4-BE49-F238E27FC236}">
                <a16:creationId xmlns:a16="http://schemas.microsoft.com/office/drawing/2014/main" id="{FCD0EA1F-4384-E072-37FC-E3F11A18CE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14494" y="607267"/>
            <a:ext cx="347502" cy="329213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FD454D3-EBF4-B843-5E56-B79A50E8DC70}"/>
              </a:ext>
            </a:extLst>
          </p:cNvPr>
          <p:cNvSpPr/>
          <p:nvPr/>
        </p:nvSpPr>
        <p:spPr>
          <a:xfrm>
            <a:off x="1574800" y="1958195"/>
            <a:ext cx="9042400" cy="1694700"/>
          </a:xfrm>
          <a:prstGeom prst="roundRect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2430C34F-A960-EDBE-C399-E095AFDCBDD2}"/>
              </a:ext>
            </a:extLst>
          </p:cNvPr>
          <p:cNvGrpSpPr/>
          <p:nvPr/>
        </p:nvGrpSpPr>
        <p:grpSpPr>
          <a:xfrm>
            <a:off x="6240264" y="2528552"/>
            <a:ext cx="825929" cy="824860"/>
            <a:chOff x="12698759" y="3478738"/>
            <a:chExt cx="825929" cy="82486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2D19FF3-D3B2-8881-0768-DB67D1655DBA}"/>
                </a:ext>
              </a:extLst>
            </p:cNvPr>
            <p:cNvSpPr/>
            <p:nvPr/>
          </p:nvSpPr>
          <p:spPr>
            <a:xfrm>
              <a:off x="12698759" y="3478738"/>
              <a:ext cx="825929" cy="82486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8" name="Graphic 47" descr="Clipboard Mixed outline">
              <a:extLst>
                <a:ext uri="{FF2B5EF4-FFF2-40B4-BE49-F238E27FC236}">
                  <a16:creationId xmlns:a16="http://schemas.microsoft.com/office/drawing/2014/main" id="{C04303FD-719C-693C-9EB0-9AACE2ED24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2787723" y="3567168"/>
              <a:ext cx="648000" cy="648000"/>
            </a:xfrm>
            <a:prstGeom prst="rect">
              <a:avLst/>
            </a:prstGeom>
          </p:spPr>
        </p:pic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FE66FA1-FC3D-B5C7-DD3C-CF5EDBDD3AE3}"/>
              </a:ext>
            </a:extLst>
          </p:cNvPr>
          <p:cNvGrpSpPr/>
          <p:nvPr/>
        </p:nvGrpSpPr>
        <p:grpSpPr>
          <a:xfrm>
            <a:off x="1731380" y="2528552"/>
            <a:ext cx="825929" cy="824860"/>
            <a:chOff x="12302759" y="2133758"/>
            <a:chExt cx="825929" cy="82486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5C4F47A9-51EA-3E8D-78F6-C181CB37354E}"/>
                </a:ext>
              </a:extLst>
            </p:cNvPr>
            <p:cNvSpPr/>
            <p:nvPr/>
          </p:nvSpPr>
          <p:spPr>
            <a:xfrm>
              <a:off x="12302759" y="2133758"/>
              <a:ext cx="825929" cy="824860"/>
            </a:xfrm>
            <a:prstGeom prst="ellipse">
              <a:avLst/>
            </a:prstGeom>
            <a:solidFill>
              <a:schemeClr val="accent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2" name="Graphic 51" descr="Stopwatch 25% outline">
              <a:extLst>
                <a:ext uri="{FF2B5EF4-FFF2-40B4-BE49-F238E27FC236}">
                  <a16:creationId xmlns:a16="http://schemas.microsoft.com/office/drawing/2014/main" id="{7EE6A406-C412-E8FB-109B-59F979264F2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412043" y="2199038"/>
              <a:ext cx="648000" cy="648000"/>
            </a:xfrm>
            <a:prstGeom prst="rect">
              <a:avLst/>
            </a:prstGeom>
          </p:spPr>
        </p:pic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CC8B495E-3859-6700-620E-D8E2F00F438D}"/>
              </a:ext>
            </a:extLst>
          </p:cNvPr>
          <p:cNvSpPr txBox="1"/>
          <p:nvPr/>
        </p:nvSpPr>
        <p:spPr>
          <a:xfrm>
            <a:off x="7266830" y="2525484"/>
            <a:ext cx="3107045" cy="830997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 anchor="ctr">
            <a:spAutoFit/>
          </a:bodyPr>
          <a:lstStyle>
            <a:defPPr>
              <a:defRPr lang="en-US"/>
            </a:defPPr>
            <a:lvl1pPr algn="ct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t a minimum, patients should be tested for 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KRAS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/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RA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(exons 2, 3, 4) and 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RAF</a:t>
            </a:r>
            <a:r>
              <a:rPr kumimoji="0" lang="en-GB" sz="1200" b="1" i="1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600E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utations,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s well as for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MMR/MSI-H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status [2B]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CCDA8F3-8261-40BE-12E5-27D28C47C64B}"/>
              </a:ext>
            </a:extLst>
          </p:cNvPr>
          <p:cNvSpPr txBox="1"/>
          <p:nvPr/>
        </p:nvSpPr>
        <p:spPr>
          <a:xfrm>
            <a:off x="2757947" y="2525484"/>
            <a:ext cx="3281679" cy="830997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lecular testing should be performed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t diagnosi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f metastatic disease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o inform treatment sequence decisions and prevent delays in appropriate treatment [2B]</a:t>
            </a:r>
          </a:p>
        </p:txBody>
      </p:sp>
      <p:sp>
        <p:nvSpPr>
          <p:cNvPr id="63" name="Round Same-side Corner of Rectangle 34">
            <a:extLst>
              <a:ext uri="{FF2B5EF4-FFF2-40B4-BE49-F238E27FC236}">
                <a16:creationId xmlns:a16="http://schemas.microsoft.com/office/drawing/2014/main" id="{E6CE1965-9CCA-BD32-2724-15E354530E33}"/>
              </a:ext>
            </a:extLst>
          </p:cNvPr>
          <p:cNvSpPr/>
          <p:nvPr/>
        </p:nvSpPr>
        <p:spPr>
          <a:xfrm>
            <a:off x="1574801" y="1825602"/>
            <a:ext cx="9042400" cy="403468"/>
          </a:xfrm>
          <a:prstGeom prst="round2SameRect">
            <a:avLst>
              <a:gd name="adj1" fmla="val 27733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7200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ications for testing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5DAFA7B0-613C-1EF2-F41B-329DC3DA3A32}"/>
              </a:ext>
            </a:extLst>
          </p:cNvPr>
          <p:cNvSpPr/>
          <p:nvPr/>
        </p:nvSpPr>
        <p:spPr>
          <a:xfrm>
            <a:off x="1574800" y="3977486"/>
            <a:ext cx="9042400" cy="1694700"/>
          </a:xfrm>
          <a:prstGeom prst="roundRect">
            <a:avLst/>
          </a:prstGeom>
          <a:solidFill>
            <a:schemeClr val="accent1">
              <a:lumMod val="60000"/>
              <a:lumOff val="40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Round Same-side Corner of Rectangle 34">
            <a:extLst>
              <a:ext uri="{FF2B5EF4-FFF2-40B4-BE49-F238E27FC236}">
                <a16:creationId xmlns:a16="http://schemas.microsoft.com/office/drawing/2014/main" id="{3A7599CB-1BBA-E076-CE40-3CA3462C461E}"/>
              </a:ext>
            </a:extLst>
          </p:cNvPr>
          <p:cNvSpPr/>
          <p:nvPr/>
        </p:nvSpPr>
        <p:spPr>
          <a:xfrm>
            <a:off x="1574801" y="3844893"/>
            <a:ext cx="9042400" cy="403468"/>
          </a:xfrm>
          <a:prstGeom prst="round2SameRect">
            <a:avLst>
              <a:gd name="adj1" fmla="val 27733"/>
              <a:gd name="adj2" fmla="val 0"/>
            </a:avLst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7200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thods of detection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0717436-3533-4DA7-FB8B-3973B734B2C3}"/>
              </a:ext>
            </a:extLst>
          </p:cNvPr>
          <p:cNvGrpSpPr/>
          <p:nvPr/>
        </p:nvGrpSpPr>
        <p:grpSpPr>
          <a:xfrm>
            <a:off x="1731380" y="4506032"/>
            <a:ext cx="882953" cy="882953"/>
            <a:chOff x="13096382" y="4631210"/>
            <a:chExt cx="1125233" cy="1125233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42A2743-A8D7-E8A4-13C3-BD6B069CFAA4}"/>
                </a:ext>
              </a:extLst>
            </p:cNvPr>
            <p:cNvSpPr/>
            <p:nvPr/>
          </p:nvSpPr>
          <p:spPr>
            <a:xfrm>
              <a:off x="13132717" y="4668226"/>
              <a:ext cx="1052562" cy="1051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9" name="Picture 6" descr="new mutation Icon 3984371">
              <a:extLst>
                <a:ext uri="{FF2B5EF4-FFF2-40B4-BE49-F238E27FC236}">
                  <a16:creationId xmlns:a16="http://schemas.microsoft.com/office/drawing/2014/main" id="{8ABB24D5-6DF9-F259-310C-32A9C9F2CD3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96382" y="4631210"/>
              <a:ext cx="1125233" cy="11252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F5901F4-C085-6A42-F948-5139FA59FD73}"/>
              </a:ext>
            </a:extLst>
          </p:cNvPr>
          <p:cNvGrpSpPr/>
          <p:nvPr/>
        </p:nvGrpSpPr>
        <p:grpSpPr>
          <a:xfrm>
            <a:off x="4618568" y="4506032"/>
            <a:ext cx="825929" cy="824860"/>
            <a:chOff x="12643871" y="2903400"/>
            <a:chExt cx="1052562" cy="105120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AAE44EB0-4BCB-6C79-9116-96DC33D19869}"/>
                </a:ext>
              </a:extLst>
            </p:cNvPr>
            <p:cNvSpPr/>
            <p:nvPr/>
          </p:nvSpPr>
          <p:spPr>
            <a:xfrm>
              <a:off x="12643871" y="2903400"/>
              <a:ext cx="1052562" cy="1051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2" name="Graphic 31" descr="Microscope outline">
              <a:extLst>
                <a:ext uri="{FF2B5EF4-FFF2-40B4-BE49-F238E27FC236}">
                  <a16:creationId xmlns:a16="http://schemas.microsoft.com/office/drawing/2014/main" id="{22E56356-C5FB-3C1D-C58A-2352B02D28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2756152" y="3015000"/>
              <a:ext cx="828000" cy="828000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AFE0D48-8B44-2B5F-C342-D1D67887469A}"/>
              </a:ext>
            </a:extLst>
          </p:cNvPr>
          <p:cNvGrpSpPr/>
          <p:nvPr/>
        </p:nvGrpSpPr>
        <p:grpSpPr>
          <a:xfrm>
            <a:off x="7622683" y="4506032"/>
            <a:ext cx="825929" cy="824860"/>
            <a:chOff x="13052664" y="5991917"/>
            <a:chExt cx="1052562" cy="1051200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B6080650-EFCC-4831-B5EF-97080A05D9EA}"/>
                </a:ext>
              </a:extLst>
            </p:cNvPr>
            <p:cNvSpPr/>
            <p:nvPr/>
          </p:nvSpPr>
          <p:spPr>
            <a:xfrm>
              <a:off x="13052664" y="5991917"/>
              <a:ext cx="1052562" cy="1051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6" name="Graphic 35" descr="Test tubes outline">
              <a:extLst>
                <a:ext uri="{FF2B5EF4-FFF2-40B4-BE49-F238E27FC236}">
                  <a16:creationId xmlns:a16="http://schemas.microsoft.com/office/drawing/2014/main" id="{FF6A26D3-B488-2E22-AAD5-98D8FC6F2C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3164945" y="6073037"/>
              <a:ext cx="828000" cy="828000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0898CCF4-C04F-EE15-FBF6-6FDFDDFD8179}"/>
              </a:ext>
            </a:extLst>
          </p:cNvPr>
          <p:cNvSpPr txBox="1"/>
          <p:nvPr/>
        </p:nvSpPr>
        <p:spPr>
          <a:xfrm>
            <a:off x="2693305" y="4637108"/>
            <a:ext cx="1846291" cy="646331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enomic NG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s preferred, or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CR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f NGS is unavailable [2A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0BEEA5-E9E0-8273-0452-F474B1209437}"/>
              </a:ext>
            </a:extLst>
          </p:cNvPr>
          <p:cNvSpPr txBox="1"/>
          <p:nvPr/>
        </p:nvSpPr>
        <p:spPr>
          <a:xfrm>
            <a:off x="5523469" y="4729441"/>
            <a:ext cx="2099214" cy="461665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HC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recommended only </a:t>
            </a:r>
            <a:b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MMR status testing [2C]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21F61C2-0B50-EAC8-E600-D692B34CAA34}"/>
              </a:ext>
            </a:extLst>
          </p:cNvPr>
          <p:cNvSpPr txBox="1"/>
          <p:nvPr/>
        </p:nvSpPr>
        <p:spPr>
          <a:xfrm>
            <a:off x="8527584" y="4637108"/>
            <a:ext cx="1846291" cy="646331"/>
          </a:xfrm>
          <a:prstGeom prst="rect">
            <a:avLst/>
          </a:prstGeom>
          <a:noFill/>
          <a:ln w="12700">
            <a:noFill/>
          </a:ln>
        </p:spPr>
        <p:txBody>
          <a:bodyPr wrap="square" lIns="45720" rIns="4572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f no tissue is available,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iquid biopsy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o assess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tDNA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is an option [2C]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9398B25-2CFA-A4BD-6425-49F7D087DF1C}"/>
              </a:ext>
            </a:extLst>
          </p:cNvPr>
          <p:cNvGrpSpPr/>
          <p:nvPr/>
        </p:nvGrpSpPr>
        <p:grpSpPr>
          <a:xfrm>
            <a:off x="77037" y="3281200"/>
            <a:ext cx="283450" cy="283450"/>
            <a:chOff x="77037" y="3281200"/>
            <a:chExt cx="283450" cy="283450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67DB4458-963C-1E3C-5FDE-47CB7C70B62B}"/>
                </a:ext>
              </a:extLst>
            </p:cNvPr>
            <p:cNvSpPr/>
            <p:nvPr userDrawn="1"/>
          </p:nvSpPr>
          <p:spPr>
            <a:xfrm>
              <a:off x="77037" y="3281200"/>
              <a:ext cx="283450" cy="283450"/>
            </a:xfrm>
            <a:prstGeom prst="ellipse">
              <a:avLst/>
            </a:prstGeom>
            <a:noFill/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40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Graphic 23">
              <a:extLst>
                <a:ext uri="{FF2B5EF4-FFF2-40B4-BE49-F238E27FC236}">
                  <a16:creationId xmlns:a16="http://schemas.microsoft.com/office/drawing/2014/main" id="{04FE0F07-D8EF-52DA-37DF-6DBD8DD563DA}"/>
                </a:ext>
              </a:extLst>
            </p:cNvPr>
            <p:cNvSpPr/>
            <p:nvPr userDrawn="1"/>
          </p:nvSpPr>
          <p:spPr>
            <a:xfrm rot="10800000">
              <a:off x="157255" y="3344816"/>
              <a:ext cx="103135" cy="156218"/>
            </a:xfrm>
            <a:custGeom>
              <a:avLst/>
              <a:gdLst>
                <a:gd name="connsiteX0" fmla="*/ 616506 w 2543651"/>
                <a:gd name="connsiteY0" fmla="*/ 3852863 h 3852862"/>
                <a:gd name="connsiteX1" fmla="*/ 314563 w 2543651"/>
                <a:gd name="connsiteY1" fmla="*/ 3728085 h 3852862"/>
                <a:gd name="connsiteX2" fmla="*/ 125016 w 2543651"/>
                <a:gd name="connsiteY2" fmla="*/ 3538538 h 3852862"/>
                <a:gd name="connsiteX3" fmla="*/ 125016 w 2543651"/>
                <a:gd name="connsiteY3" fmla="*/ 2934653 h 3852862"/>
                <a:gd name="connsiteX4" fmla="*/ 1133713 w 2543651"/>
                <a:gd name="connsiteY4" fmla="*/ 1926908 h 3852862"/>
                <a:gd name="connsiteX5" fmla="*/ 125968 w 2543651"/>
                <a:gd name="connsiteY5" fmla="*/ 918210 h 3852862"/>
                <a:gd name="connsiteX6" fmla="*/ 125968 w 2543651"/>
                <a:gd name="connsiteY6" fmla="*/ 314325 h 3852862"/>
                <a:gd name="connsiteX7" fmla="*/ 315516 w 2543651"/>
                <a:gd name="connsiteY7" fmla="*/ 124778 h 3852862"/>
                <a:gd name="connsiteX8" fmla="*/ 617458 w 2543651"/>
                <a:gd name="connsiteY8" fmla="*/ 0 h 3852862"/>
                <a:gd name="connsiteX9" fmla="*/ 919401 w 2543651"/>
                <a:gd name="connsiteY9" fmla="*/ 124778 h 3852862"/>
                <a:gd name="connsiteX10" fmla="*/ 2418636 w 2543651"/>
                <a:gd name="connsiteY10" fmla="*/ 1624013 h 3852862"/>
                <a:gd name="connsiteX11" fmla="*/ 2418636 w 2543651"/>
                <a:gd name="connsiteY11" fmla="*/ 2227898 h 3852862"/>
                <a:gd name="connsiteX12" fmla="*/ 918448 w 2543651"/>
                <a:gd name="connsiteY12" fmla="*/ 3728085 h 3852862"/>
                <a:gd name="connsiteX13" fmla="*/ 616506 w 2543651"/>
                <a:gd name="connsiteY13" fmla="*/ 3852863 h 3852862"/>
                <a:gd name="connsiteX14" fmla="*/ 616506 w 2543651"/>
                <a:gd name="connsiteY14" fmla="*/ 195262 h 3852862"/>
                <a:gd name="connsiteX15" fmla="*/ 452676 w 2543651"/>
                <a:gd name="connsiteY15" fmla="*/ 262890 h 3852862"/>
                <a:gd name="connsiteX16" fmla="*/ 263128 w 2543651"/>
                <a:gd name="connsiteY16" fmla="*/ 452437 h 3852862"/>
                <a:gd name="connsiteX17" fmla="*/ 263128 w 2543651"/>
                <a:gd name="connsiteY17" fmla="*/ 780098 h 3852862"/>
                <a:gd name="connsiteX18" fmla="*/ 1340406 w 2543651"/>
                <a:gd name="connsiteY18" fmla="*/ 1857375 h 3852862"/>
                <a:gd name="connsiteX19" fmla="*/ 1340406 w 2543651"/>
                <a:gd name="connsiteY19" fmla="*/ 1995488 h 3852862"/>
                <a:gd name="connsiteX20" fmla="*/ 263128 w 2543651"/>
                <a:gd name="connsiteY20" fmla="*/ 3072765 h 3852862"/>
                <a:gd name="connsiteX21" fmla="*/ 263128 w 2543651"/>
                <a:gd name="connsiteY21" fmla="*/ 3400425 h 3852862"/>
                <a:gd name="connsiteX22" fmla="*/ 452676 w 2543651"/>
                <a:gd name="connsiteY22" fmla="*/ 3589973 h 3852862"/>
                <a:gd name="connsiteX23" fmla="*/ 616506 w 2543651"/>
                <a:gd name="connsiteY23" fmla="*/ 3657600 h 3852862"/>
                <a:gd name="connsiteX24" fmla="*/ 780336 w 2543651"/>
                <a:gd name="connsiteY24" fmla="*/ 3589973 h 3852862"/>
                <a:gd name="connsiteX25" fmla="*/ 2279571 w 2543651"/>
                <a:gd name="connsiteY25" fmla="*/ 2090738 h 3852862"/>
                <a:gd name="connsiteX26" fmla="*/ 2279571 w 2543651"/>
                <a:gd name="connsiteY26" fmla="*/ 1763078 h 3852862"/>
                <a:gd name="connsiteX27" fmla="*/ 780336 w 2543651"/>
                <a:gd name="connsiteY27" fmla="*/ 263843 h 3852862"/>
                <a:gd name="connsiteX28" fmla="*/ 616506 w 2543651"/>
                <a:gd name="connsiteY28" fmla="*/ 195262 h 385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43651" h="3852862">
                  <a:moveTo>
                    <a:pt x="616506" y="3852863"/>
                  </a:moveTo>
                  <a:cubicBezTo>
                    <a:pt x="502206" y="3852863"/>
                    <a:pt x="395526" y="3808095"/>
                    <a:pt x="314563" y="3728085"/>
                  </a:cubicBezTo>
                  <a:lnTo>
                    <a:pt x="125016" y="3538538"/>
                  </a:lnTo>
                  <a:cubicBezTo>
                    <a:pt x="-41672" y="3371850"/>
                    <a:pt x="-41672" y="3101340"/>
                    <a:pt x="125016" y="2934653"/>
                  </a:cubicBezTo>
                  <a:lnTo>
                    <a:pt x="1133713" y="1926908"/>
                  </a:lnTo>
                  <a:lnTo>
                    <a:pt x="125968" y="918210"/>
                  </a:lnTo>
                  <a:cubicBezTo>
                    <a:pt x="-40719" y="751523"/>
                    <a:pt x="-40719" y="481012"/>
                    <a:pt x="125968" y="314325"/>
                  </a:cubicBezTo>
                  <a:lnTo>
                    <a:pt x="315516" y="124778"/>
                  </a:lnTo>
                  <a:cubicBezTo>
                    <a:pt x="396478" y="43815"/>
                    <a:pt x="503158" y="0"/>
                    <a:pt x="617458" y="0"/>
                  </a:cubicBezTo>
                  <a:cubicBezTo>
                    <a:pt x="731758" y="0"/>
                    <a:pt x="838438" y="44768"/>
                    <a:pt x="919401" y="124778"/>
                  </a:cubicBezTo>
                  <a:lnTo>
                    <a:pt x="2418636" y="1624013"/>
                  </a:lnTo>
                  <a:cubicBezTo>
                    <a:pt x="2585323" y="1790700"/>
                    <a:pt x="2585323" y="2061210"/>
                    <a:pt x="2418636" y="2227898"/>
                  </a:cubicBezTo>
                  <a:lnTo>
                    <a:pt x="918448" y="3728085"/>
                  </a:lnTo>
                  <a:cubicBezTo>
                    <a:pt x="838438" y="3809048"/>
                    <a:pt x="730806" y="3852863"/>
                    <a:pt x="616506" y="3852863"/>
                  </a:cubicBezTo>
                  <a:close/>
                  <a:moveTo>
                    <a:pt x="616506" y="195262"/>
                  </a:moveTo>
                  <a:cubicBezTo>
                    <a:pt x="554593" y="195262"/>
                    <a:pt x="496491" y="219075"/>
                    <a:pt x="452676" y="262890"/>
                  </a:cubicBezTo>
                  <a:lnTo>
                    <a:pt x="263128" y="452437"/>
                  </a:lnTo>
                  <a:cubicBezTo>
                    <a:pt x="172641" y="542925"/>
                    <a:pt x="172641" y="689610"/>
                    <a:pt x="263128" y="780098"/>
                  </a:cubicBezTo>
                  <a:lnTo>
                    <a:pt x="1340406" y="1857375"/>
                  </a:lnTo>
                  <a:cubicBezTo>
                    <a:pt x="1378506" y="1895475"/>
                    <a:pt x="1378506" y="1957388"/>
                    <a:pt x="1340406" y="1995488"/>
                  </a:cubicBezTo>
                  <a:lnTo>
                    <a:pt x="263128" y="3072765"/>
                  </a:lnTo>
                  <a:cubicBezTo>
                    <a:pt x="172641" y="3163253"/>
                    <a:pt x="172641" y="3309938"/>
                    <a:pt x="263128" y="3400425"/>
                  </a:cubicBezTo>
                  <a:lnTo>
                    <a:pt x="452676" y="3589973"/>
                  </a:lnTo>
                  <a:cubicBezTo>
                    <a:pt x="496491" y="3633788"/>
                    <a:pt x="554593" y="3657600"/>
                    <a:pt x="616506" y="3657600"/>
                  </a:cubicBezTo>
                  <a:cubicBezTo>
                    <a:pt x="678418" y="3657600"/>
                    <a:pt x="736521" y="3633788"/>
                    <a:pt x="780336" y="3589973"/>
                  </a:cubicBezTo>
                  <a:lnTo>
                    <a:pt x="2279571" y="2090738"/>
                  </a:lnTo>
                  <a:cubicBezTo>
                    <a:pt x="2370058" y="2000250"/>
                    <a:pt x="2370058" y="1853565"/>
                    <a:pt x="2279571" y="1763078"/>
                  </a:cubicBezTo>
                  <a:lnTo>
                    <a:pt x="780336" y="263843"/>
                  </a:lnTo>
                  <a:cubicBezTo>
                    <a:pt x="736521" y="220028"/>
                    <a:pt x="678418" y="195262"/>
                    <a:pt x="616506" y="19526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F40AA8F-1016-496B-004C-BD3D716D6931}"/>
              </a:ext>
            </a:extLst>
          </p:cNvPr>
          <p:cNvGrpSpPr/>
          <p:nvPr/>
        </p:nvGrpSpPr>
        <p:grpSpPr>
          <a:xfrm rot="10800000">
            <a:off x="11824059" y="3281200"/>
            <a:ext cx="283450" cy="283450"/>
            <a:chOff x="77037" y="3281200"/>
            <a:chExt cx="283450" cy="28345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CFD0B23-BF14-6C9A-7277-13A92AB14AE0}"/>
                </a:ext>
              </a:extLst>
            </p:cNvPr>
            <p:cNvSpPr/>
            <p:nvPr userDrawn="1"/>
          </p:nvSpPr>
          <p:spPr>
            <a:xfrm>
              <a:off x="77037" y="3281200"/>
              <a:ext cx="283450" cy="283450"/>
            </a:xfrm>
            <a:prstGeom prst="ellipse">
              <a:avLst/>
            </a:prstGeom>
            <a:noFill/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40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Graphic 23">
              <a:extLst>
                <a:ext uri="{FF2B5EF4-FFF2-40B4-BE49-F238E27FC236}">
                  <a16:creationId xmlns:a16="http://schemas.microsoft.com/office/drawing/2014/main" id="{ADAD0D56-1045-C1B8-BF92-B475ADE3071E}"/>
                </a:ext>
              </a:extLst>
            </p:cNvPr>
            <p:cNvSpPr/>
            <p:nvPr userDrawn="1"/>
          </p:nvSpPr>
          <p:spPr>
            <a:xfrm rot="10800000">
              <a:off x="157255" y="3344816"/>
              <a:ext cx="103135" cy="156218"/>
            </a:xfrm>
            <a:custGeom>
              <a:avLst/>
              <a:gdLst>
                <a:gd name="connsiteX0" fmla="*/ 616506 w 2543651"/>
                <a:gd name="connsiteY0" fmla="*/ 3852863 h 3852862"/>
                <a:gd name="connsiteX1" fmla="*/ 314563 w 2543651"/>
                <a:gd name="connsiteY1" fmla="*/ 3728085 h 3852862"/>
                <a:gd name="connsiteX2" fmla="*/ 125016 w 2543651"/>
                <a:gd name="connsiteY2" fmla="*/ 3538538 h 3852862"/>
                <a:gd name="connsiteX3" fmla="*/ 125016 w 2543651"/>
                <a:gd name="connsiteY3" fmla="*/ 2934653 h 3852862"/>
                <a:gd name="connsiteX4" fmla="*/ 1133713 w 2543651"/>
                <a:gd name="connsiteY4" fmla="*/ 1926908 h 3852862"/>
                <a:gd name="connsiteX5" fmla="*/ 125968 w 2543651"/>
                <a:gd name="connsiteY5" fmla="*/ 918210 h 3852862"/>
                <a:gd name="connsiteX6" fmla="*/ 125968 w 2543651"/>
                <a:gd name="connsiteY6" fmla="*/ 314325 h 3852862"/>
                <a:gd name="connsiteX7" fmla="*/ 315516 w 2543651"/>
                <a:gd name="connsiteY7" fmla="*/ 124778 h 3852862"/>
                <a:gd name="connsiteX8" fmla="*/ 617458 w 2543651"/>
                <a:gd name="connsiteY8" fmla="*/ 0 h 3852862"/>
                <a:gd name="connsiteX9" fmla="*/ 919401 w 2543651"/>
                <a:gd name="connsiteY9" fmla="*/ 124778 h 3852862"/>
                <a:gd name="connsiteX10" fmla="*/ 2418636 w 2543651"/>
                <a:gd name="connsiteY10" fmla="*/ 1624013 h 3852862"/>
                <a:gd name="connsiteX11" fmla="*/ 2418636 w 2543651"/>
                <a:gd name="connsiteY11" fmla="*/ 2227898 h 3852862"/>
                <a:gd name="connsiteX12" fmla="*/ 918448 w 2543651"/>
                <a:gd name="connsiteY12" fmla="*/ 3728085 h 3852862"/>
                <a:gd name="connsiteX13" fmla="*/ 616506 w 2543651"/>
                <a:gd name="connsiteY13" fmla="*/ 3852863 h 3852862"/>
                <a:gd name="connsiteX14" fmla="*/ 616506 w 2543651"/>
                <a:gd name="connsiteY14" fmla="*/ 195262 h 3852862"/>
                <a:gd name="connsiteX15" fmla="*/ 452676 w 2543651"/>
                <a:gd name="connsiteY15" fmla="*/ 262890 h 3852862"/>
                <a:gd name="connsiteX16" fmla="*/ 263128 w 2543651"/>
                <a:gd name="connsiteY16" fmla="*/ 452437 h 3852862"/>
                <a:gd name="connsiteX17" fmla="*/ 263128 w 2543651"/>
                <a:gd name="connsiteY17" fmla="*/ 780098 h 3852862"/>
                <a:gd name="connsiteX18" fmla="*/ 1340406 w 2543651"/>
                <a:gd name="connsiteY18" fmla="*/ 1857375 h 3852862"/>
                <a:gd name="connsiteX19" fmla="*/ 1340406 w 2543651"/>
                <a:gd name="connsiteY19" fmla="*/ 1995488 h 3852862"/>
                <a:gd name="connsiteX20" fmla="*/ 263128 w 2543651"/>
                <a:gd name="connsiteY20" fmla="*/ 3072765 h 3852862"/>
                <a:gd name="connsiteX21" fmla="*/ 263128 w 2543651"/>
                <a:gd name="connsiteY21" fmla="*/ 3400425 h 3852862"/>
                <a:gd name="connsiteX22" fmla="*/ 452676 w 2543651"/>
                <a:gd name="connsiteY22" fmla="*/ 3589973 h 3852862"/>
                <a:gd name="connsiteX23" fmla="*/ 616506 w 2543651"/>
                <a:gd name="connsiteY23" fmla="*/ 3657600 h 3852862"/>
                <a:gd name="connsiteX24" fmla="*/ 780336 w 2543651"/>
                <a:gd name="connsiteY24" fmla="*/ 3589973 h 3852862"/>
                <a:gd name="connsiteX25" fmla="*/ 2279571 w 2543651"/>
                <a:gd name="connsiteY25" fmla="*/ 2090738 h 3852862"/>
                <a:gd name="connsiteX26" fmla="*/ 2279571 w 2543651"/>
                <a:gd name="connsiteY26" fmla="*/ 1763078 h 3852862"/>
                <a:gd name="connsiteX27" fmla="*/ 780336 w 2543651"/>
                <a:gd name="connsiteY27" fmla="*/ 263843 h 3852862"/>
                <a:gd name="connsiteX28" fmla="*/ 616506 w 2543651"/>
                <a:gd name="connsiteY28" fmla="*/ 195262 h 385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43651" h="3852862">
                  <a:moveTo>
                    <a:pt x="616506" y="3852863"/>
                  </a:moveTo>
                  <a:cubicBezTo>
                    <a:pt x="502206" y="3852863"/>
                    <a:pt x="395526" y="3808095"/>
                    <a:pt x="314563" y="3728085"/>
                  </a:cubicBezTo>
                  <a:lnTo>
                    <a:pt x="125016" y="3538538"/>
                  </a:lnTo>
                  <a:cubicBezTo>
                    <a:pt x="-41672" y="3371850"/>
                    <a:pt x="-41672" y="3101340"/>
                    <a:pt x="125016" y="2934653"/>
                  </a:cubicBezTo>
                  <a:lnTo>
                    <a:pt x="1133713" y="1926908"/>
                  </a:lnTo>
                  <a:lnTo>
                    <a:pt x="125968" y="918210"/>
                  </a:lnTo>
                  <a:cubicBezTo>
                    <a:pt x="-40719" y="751523"/>
                    <a:pt x="-40719" y="481012"/>
                    <a:pt x="125968" y="314325"/>
                  </a:cubicBezTo>
                  <a:lnTo>
                    <a:pt x="315516" y="124778"/>
                  </a:lnTo>
                  <a:cubicBezTo>
                    <a:pt x="396478" y="43815"/>
                    <a:pt x="503158" y="0"/>
                    <a:pt x="617458" y="0"/>
                  </a:cubicBezTo>
                  <a:cubicBezTo>
                    <a:pt x="731758" y="0"/>
                    <a:pt x="838438" y="44768"/>
                    <a:pt x="919401" y="124778"/>
                  </a:cubicBezTo>
                  <a:lnTo>
                    <a:pt x="2418636" y="1624013"/>
                  </a:lnTo>
                  <a:cubicBezTo>
                    <a:pt x="2585323" y="1790700"/>
                    <a:pt x="2585323" y="2061210"/>
                    <a:pt x="2418636" y="2227898"/>
                  </a:cubicBezTo>
                  <a:lnTo>
                    <a:pt x="918448" y="3728085"/>
                  </a:lnTo>
                  <a:cubicBezTo>
                    <a:pt x="838438" y="3809048"/>
                    <a:pt x="730806" y="3852863"/>
                    <a:pt x="616506" y="3852863"/>
                  </a:cubicBezTo>
                  <a:close/>
                  <a:moveTo>
                    <a:pt x="616506" y="195262"/>
                  </a:moveTo>
                  <a:cubicBezTo>
                    <a:pt x="554593" y="195262"/>
                    <a:pt x="496491" y="219075"/>
                    <a:pt x="452676" y="262890"/>
                  </a:cubicBezTo>
                  <a:lnTo>
                    <a:pt x="263128" y="452437"/>
                  </a:lnTo>
                  <a:cubicBezTo>
                    <a:pt x="172641" y="542925"/>
                    <a:pt x="172641" y="689610"/>
                    <a:pt x="263128" y="780098"/>
                  </a:cubicBezTo>
                  <a:lnTo>
                    <a:pt x="1340406" y="1857375"/>
                  </a:lnTo>
                  <a:cubicBezTo>
                    <a:pt x="1378506" y="1895475"/>
                    <a:pt x="1378506" y="1957388"/>
                    <a:pt x="1340406" y="1995488"/>
                  </a:cubicBezTo>
                  <a:lnTo>
                    <a:pt x="263128" y="3072765"/>
                  </a:lnTo>
                  <a:cubicBezTo>
                    <a:pt x="172641" y="3163253"/>
                    <a:pt x="172641" y="3309938"/>
                    <a:pt x="263128" y="3400425"/>
                  </a:cubicBezTo>
                  <a:lnTo>
                    <a:pt x="452676" y="3589973"/>
                  </a:lnTo>
                  <a:cubicBezTo>
                    <a:pt x="496491" y="3633788"/>
                    <a:pt x="554593" y="3657600"/>
                    <a:pt x="616506" y="3657600"/>
                  </a:cubicBezTo>
                  <a:cubicBezTo>
                    <a:pt x="678418" y="3657600"/>
                    <a:pt x="736521" y="3633788"/>
                    <a:pt x="780336" y="3589973"/>
                  </a:cubicBezTo>
                  <a:lnTo>
                    <a:pt x="2279571" y="2090738"/>
                  </a:lnTo>
                  <a:cubicBezTo>
                    <a:pt x="2370058" y="2000250"/>
                    <a:pt x="2370058" y="1853565"/>
                    <a:pt x="2279571" y="1763078"/>
                  </a:cubicBezTo>
                  <a:lnTo>
                    <a:pt x="780336" y="263843"/>
                  </a:lnTo>
                  <a:cubicBezTo>
                    <a:pt x="736521" y="220028"/>
                    <a:pt x="678418" y="195262"/>
                    <a:pt x="616506" y="19526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" name="Rectangle 16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C8ED50CD-0E5D-30BE-9F41-E1C6A27BE996}"/>
              </a:ext>
            </a:extLst>
          </p:cNvPr>
          <p:cNvSpPr/>
          <p:nvPr/>
        </p:nvSpPr>
        <p:spPr>
          <a:xfrm>
            <a:off x="11781813" y="3216826"/>
            <a:ext cx="367941" cy="412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63896F28-3913-5798-B44C-AE96C7B533E4}"/>
              </a:ext>
            </a:extLst>
          </p:cNvPr>
          <p:cNvSpPr/>
          <p:nvPr/>
        </p:nvSpPr>
        <p:spPr>
          <a:xfrm>
            <a:off x="33761" y="3216826"/>
            <a:ext cx="367941" cy="412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0454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9AFEAC2-5E52-D6E3-9030-8CBA0042E9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dy a jak testovat prediktory u CRC ?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47FD026-B75B-80C6-89E8-ED57277E23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cs-CZ" dirty="0"/>
              <a:t>II. kl. st. :  MMR/MSI … pokud je zvažována adjuvance </a:t>
            </a:r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r>
              <a:rPr lang="cs-CZ" dirty="0"/>
              <a:t>III. kl. st. : zvážit u rizikových pacientů – stejně jak IV. st</a:t>
            </a:r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r>
              <a:rPr lang="cs-CZ" dirty="0"/>
              <a:t>IV. kl. st. :  RAS, BRAF, MMR/MSS</a:t>
            </a:r>
          </a:p>
          <a:p>
            <a:pPr marL="0" indent="0">
              <a:buNone/>
            </a:pPr>
            <a:r>
              <a:rPr lang="cs-CZ" dirty="0"/>
              <a:t>Základní balíček prediktorů před zahájením 1. linie léčby</a:t>
            </a:r>
          </a:p>
          <a:p>
            <a:pPr lvl="1"/>
            <a:r>
              <a:rPr lang="cs-CZ" dirty="0"/>
              <a:t>Požadavek musí vzejít od onkologa – úhradová podmínka vyšetření !  </a:t>
            </a:r>
          </a:p>
          <a:p>
            <a:pPr marL="0" indent="0">
              <a:buNone/>
            </a:pPr>
            <a:r>
              <a:rPr lang="cs-CZ" dirty="0"/>
              <a:t>  </a:t>
            </a:r>
            <a:r>
              <a:rPr lang="cs-CZ" sz="1900" dirty="0"/>
              <a:t>(specifikace mutace KRAS… KRAS G12C … 3%… výhledově léčba inhibitory)</a:t>
            </a:r>
          </a:p>
          <a:p>
            <a:pPr marL="457200" lvl="1" indent="0">
              <a:buNone/>
            </a:pPr>
            <a:endParaRPr lang="cs-CZ" dirty="0"/>
          </a:p>
          <a:p>
            <a:r>
              <a:rPr lang="cs-CZ" dirty="0"/>
              <a:t>KOC …. ROC   </a:t>
            </a:r>
          </a:p>
        </p:txBody>
      </p:sp>
    </p:spTree>
    <p:extLst>
      <p:ext uri="{BB962C8B-B14F-4D97-AF65-F5344CB8AC3E}">
        <p14:creationId xmlns:p14="http://schemas.microsoft.com/office/powerpoint/2010/main" val="8216478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03F0C8-66D4-A564-3EEB-C4417BEDC5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301" y="366184"/>
            <a:ext cx="11084983" cy="609600"/>
          </a:xfrm>
        </p:spPr>
        <p:txBody>
          <a:bodyPr/>
          <a:lstStyle/>
          <a:p>
            <a:r>
              <a:rPr lang="en-GB" noProof="0" dirty="0"/>
              <a:t>ESMO guidance for resectable or potentially resectable disease</a:t>
            </a:r>
            <a:r>
              <a:rPr lang="en-GB" baseline="30000" noProof="0" dirty="0"/>
              <a:t>1</a:t>
            </a:r>
            <a:r>
              <a:rPr lang="en-GB" noProof="0" dirty="0"/>
              <a:t>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EF67D41-F931-9DD9-D152-7D62B5A3BE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3989" y="6319330"/>
            <a:ext cx="9949109" cy="327025"/>
          </a:xfrm>
          <a:noFill/>
        </p:spPr>
        <p:txBody>
          <a:bodyPr wrap="square" lIns="0" tIns="0" rIns="0" bIns="0" rtlCol="0" anchor="b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GB" dirty="0">
                <a:solidFill>
                  <a:srgbClr val="7F7F7F"/>
                </a:solidFill>
                <a:cs typeface="Times New Roman" panose="02020603050405020304" pitchFamily="18" charset="0"/>
              </a:rPr>
              <a:t>*The use of </a:t>
            </a:r>
            <a:r>
              <a:rPr lang="en-GB">
                <a:solidFill>
                  <a:srgbClr val="7F7F7F"/>
                </a:solidFill>
                <a:cs typeface="Times New Roman" panose="02020603050405020304" pitchFamily="18" charset="0"/>
              </a:rPr>
              <a:t>perioperative FOLFOX </a:t>
            </a:r>
            <a:r>
              <a:rPr lang="en-GB" dirty="0">
                <a:solidFill>
                  <a:srgbClr val="7F7F7F"/>
                </a:solidFill>
                <a:cs typeface="Times New Roman" panose="02020603050405020304" pitchFamily="18" charset="0"/>
              </a:rPr>
              <a:t>(3 </a:t>
            </a:r>
            <a:r>
              <a:rPr lang="en-GB">
                <a:solidFill>
                  <a:srgbClr val="7F7F7F"/>
                </a:solidFill>
                <a:cs typeface="Times New Roman" panose="02020603050405020304" pitchFamily="18" charset="0"/>
              </a:rPr>
              <a:t>months pre- </a:t>
            </a:r>
            <a:r>
              <a:rPr lang="en-GB" dirty="0">
                <a:solidFill>
                  <a:srgbClr val="7F7F7F"/>
                </a:solidFill>
                <a:cs typeface="Times New Roman" panose="02020603050405020304" pitchFamily="18" charset="0"/>
              </a:rPr>
              <a:t>and postoperatively) can be considered a standard of care in patients with technically resectable colorectal liver metastases, but with negative prognostic factors</a:t>
            </a:r>
            <a:r>
              <a:rPr lang="en-GB">
                <a:solidFill>
                  <a:srgbClr val="7F7F7F"/>
                </a:solidFill>
                <a:cs typeface="Times New Roman" panose="02020603050405020304" pitchFamily="18" charset="0"/>
              </a:rPr>
              <a:t>; †</a:t>
            </a:r>
            <a:r>
              <a:rPr lang="en-GB" dirty="0">
                <a:solidFill>
                  <a:srgbClr val="7F7F7F"/>
                </a:solidFill>
                <a:cs typeface="Times New Roman" panose="02020603050405020304" pitchFamily="18" charset="0"/>
              </a:rPr>
              <a:t>Generally, the </a:t>
            </a:r>
            <a:r>
              <a:rPr lang="en-GB">
                <a:solidFill>
                  <a:srgbClr val="7F7F7F"/>
                </a:solidFill>
                <a:cs typeface="Times New Roman" panose="02020603050405020304" pitchFamily="18" charset="0"/>
              </a:rPr>
              <a:t>total </a:t>
            </a:r>
            <a:r>
              <a:rPr lang="en-GB" dirty="0">
                <a:solidFill>
                  <a:srgbClr val="7F7F7F"/>
                </a:solidFill>
                <a:cs typeface="Times New Roman" panose="02020603050405020304" pitchFamily="18" charset="0"/>
              </a:rPr>
              <a:t>treatment duration should not exceed 6 </a:t>
            </a:r>
            <a:r>
              <a:rPr lang="en-GB">
                <a:solidFill>
                  <a:srgbClr val="7F7F7F"/>
                </a:solidFill>
                <a:cs typeface="Times New Roman" panose="02020603050405020304" pitchFamily="18" charset="0"/>
              </a:rPr>
              <a:t>months; ‡T</a:t>
            </a:r>
            <a:r>
              <a:rPr lang="en-GB" dirty="0">
                <a:solidFill>
                  <a:srgbClr val="7F7F7F"/>
                </a:solidFill>
                <a:cs typeface="Times New Roman" panose="02020603050405020304" pitchFamily="18" charset="0"/>
              </a:rPr>
              <a:t>riplet ChT: </a:t>
            </a:r>
            <a:r>
              <a:rPr lang="en-GB">
                <a:solidFill>
                  <a:srgbClr val="7F7F7F"/>
                </a:solidFill>
                <a:cs typeface="Times New Roman" panose="02020603050405020304" pitchFamily="18" charset="0"/>
              </a:rPr>
              <a:t>FOLFOXIRI.</a:t>
            </a:r>
            <a:endParaRPr lang="en-GB" dirty="0">
              <a:solidFill>
                <a:srgbClr val="7F7F7F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4784BEC-09DA-DBF9-8E29-42FDCDAB4EEC}"/>
              </a:ext>
            </a:extLst>
          </p:cNvPr>
          <p:cNvCxnSpPr>
            <a:cxnSpLocks/>
          </p:cNvCxnSpPr>
          <p:nvPr/>
        </p:nvCxnSpPr>
        <p:spPr>
          <a:xfrm>
            <a:off x="7951803" y="1597255"/>
            <a:ext cx="0" cy="4060474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C8C27835-44DC-7924-7C55-A9AB523F5298}"/>
              </a:ext>
            </a:extLst>
          </p:cNvPr>
          <p:cNvSpPr/>
          <p:nvPr/>
        </p:nvSpPr>
        <p:spPr>
          <a:xfrm>
            <a:off x="598196" y="1858865"/>
            <a:ext cx="3204402" cy="26161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61A7"/>
                </a:solidFill>
                <a:effectLst/>
                <a:uLnTx/>
                <a:uFillTx/>
                <a:latin typeface="Arial"/>
                <a:ea typeface="Arial Black" charset="0"/>
                <a:cs typeface="Arial Black" charset="0"/>
              </a:rPr>
              <a:t>Clearly resectable disease</a:t>
            </a:r>
            <a:endParaRPr kumimoji="0" lang="en-GB" sz="2000" b="1" i="0" u="none" strike="noStrike" kern="1200" cap="none" spc="0" normalizeH="0" baseline="30000" noProof="0" dirty="0">
              <a:ln>
                <a:noFill/>
              </a:ln>
              <a:solidFill>
                <a:srgbClr val="0061A7"/>
              </a:solidFill>
              <a:effectLst/>
              <a:uLnTx/>
              <a:uFillTx/>
              <a:latin typeface="Arial"/>
              <a:ea typeface="Arial Black" charset="0"/>
              <a:cs typeface="Arial Black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AFB43AE-A8D2-E173-28FF-F5DA95444311}"/>
              </a:ext>
            </a:extLst>
          </p:cNvPr>
          <p:cNvGrpSpPr/>
          <p:nvPr/>
        </p:nvGrpSpPr>
        <p:grpSpPr>
          <a:xfrm>
            <a:off x="599678" y="2332075"/>
            <a:ext cx="3201443" cy="1170242"/>
            <a:chOff x="539595" y="2675894"/>
            <a:chExt cx="3457318" cy="1170242"/>
          </a:xfrm>
        </p:grpSpPr>
        <p:sp>
          <p:nvSpPr>
            <p:cNvPr id="24" name="Round Same-side Corner of Rectangle 34">
              <a:extLst>
                <a:ext uri="{FF2B5EF4-FFF2-40B4-BE49-F238E27FC236}">
                  <a16:creationId xmlns:a16="http://schemas.microsoft.com/office/drawing/2014/main" id="{F103C0A8-DAB7-7D5B-ADEE-036668613CEA}"/>
                </a:ext>
              </a:extLst>
            </p:cNvPr>
            <p:cNvSpPr/>
            <p:nvPr/>
          </p:nvSpPr>
          <p:spPr>
            <a:xfrm>
              <a:off x="541543" y="2675894"/>
              <a:ext cx="3455368" cy="498549"/>
            </a:xfrm>
            <a:prstGeom prst="round2SameRect">
              <a:avLst>
                <a:gd name="adj1" fmla="val 11178"/>
                <a:gd name="adj2" fmla="val 0"/>
              </a:avLst>
            </a:prstGeom>
            <a:solidFill>
              <a:srgbClr val="006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Favourable prognostic criteria</a:t>
              </a:r>
            </a:p>
          </p:txBody>
        </p:sp>
        <p:sp>
          <p:nvSpPr>
            <p:cNvPr id="25" name="Round Same-side Corner of Rectangle 37">
              <a:extLst>
                <a:ext uri="{FF2B5EF4-FFF2-40B4-BE49-F238E27FC236}">
                  <a16:creationId xmlns:a16="http://schemas.microsoft.com/office/drawing/2014/main" id="{16A0F527-CA02-5742-3955-9FE571737CC6}"/>
                </a:ext>
              </a:extLst>
            </p:cNvPr>
            <p:cNvSpPr/>
            <p:nvPr/>
          </p:nvSpPr>
          <p:spPr>
            <a:xfrm rot="16200000">
              <a:off x="1860416" y="1709639"/>
              <a:ext cx="815676" cy="3457318"/>
            </a:xfrm>
            <a:prstGeom prst="roundRect">
              <a:avLst/>
            </a:prstGeom>
            <a:solidFill>
              <a:srgbClr val="0061A7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lIns="216000" tIns="144000" rIns="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urgery ± perioperative ChT [III, B]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3D4AC21-F819-E734-7E6D-5D9C506C8F88}"/>
              </a:ext>
            </a:extLst>
          </p:cNvPr>
          <p:cNvGrpSpPr/>
          <p:nvPr/>
        </p:nvGrpSpPr>
        <p:grpSpPr>
          <a:xfrm>
            <a:off x="599676" y="4496421"/>
            <a:ext cx="3201443" cy="1218812"/>
            <a:chOff x="539593" y="2675894"/>
            <a:chExt cx="3457318" cy="1218812"/>
          </a:xfrm>
        </p:grpSpPr>
        <p:sp>
          <p:nvSpPr>
            <p:cNvPr id="29" name="Round Same-side Corner of Rectangle 37">
              <a:extLst>
                <a:ext uri="{FF2B5EF4-FFF2-40B4-BE49-F238E27FC236}">
                  <a16:creationId xmlns:a16="http://schemas.microsoft.com/office/drawing/2014/main" id="{3E39EBA3-4838-F66A-7BD5-A85DE2A31069}"/>
                </a:ext>
              </a:extLst>
            </p:cNvPr>
            <p:cNvSpPr/>
            <p:nvPr/>
          </p:nvSpPr>
          <p:spPr>
            <a:xfrm rot="16200000">
              <a:off x="1811052" y="1708847"/>
              <a:ext cx="914400" cy="3457318"/>
            </a:xfrm>
            <a:prstGeom prst="roundRect">
              <a:avLst/>
            </a:prstGeom>
            <a:solidFill>
              <a:srgbClr val="0061A7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lIns="108000" tIns="144000" rIns="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urgery + perioperative </a:t>
              </a:r>
              <a:b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xaliplatin-based ChT* [II, B]</a:t>
              </a:r>
            </a:p>
          </p:txBody>
        </p:sp>
        <p:sp>
          <p:nvSpPr>
            <p:cNvPr id="28" name="Round Same-side Corner of Rectangle 34">
              <a:extLst>
                <a:ext uri="{FF2B5EF4-FFF2-40B4-BE49-F238E27FC236}">
                  <a16:creationId xmlns:a16="http://schemas.microsoft.com/office/drawing/2014/main" id="{0BDD4FB1-3DC6-E6F6-2320-F6052FCA0EE5}"/>
                </a:ext>
              </a:extLst>
            </p:cNvPr>
            <p:cNvSpPr/>
            <p:nvPr/>
          </p:nvSpPr>
          <p:spPr>
            <a:xfrm>
              <a:off x="541543" y="2675894"/>
              <a:ext cx="3455368" cy="498549"/>
            </a:xfrm>
            <a:prstGeom prst="round2SameRect">
              <a:avLst>
                <a:gd name="adj1" fmla="val 11178"/>
                <a:gd name="adj2" fmla="val 0"/>
              </a:avLst>
            </a:prstGeom>
            <a:solidFill>
              <a:srgbClr val="0061A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nfavourable/unclear </a:t>
              </a:r>
              <a:b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ognostic criteria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F53587B7-BFC8-6FEE-4DAB-194379463259}"/>
              </a:ext>
            </a:extLst>
          </p:cNvPr>
          <p:cNvSpPr/>
          <p:nvPr/>
        </p:nvSpPr>
        <p:spPr>
          <a:xfrm>
            <a:off x="4552137" y="1597255"/>
            <a:ext cx="3042500" cy="52322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61A7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Arial Black" charset="0"/>
                <a:cs typeface="Arial Black" charset="0"/>
              </a:rPr>
              <a:t>Potentially resectable </a:t>
            </a:r>
            <a:b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61A7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Arial Black" charset="0"/>
                <a:cs typeface="Arial Black" charset="0"/>
              </a:rPr>
            </a:b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0061A7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Arial Black" charset="0"/>
                <a:cs typeface="Arial Black" charset="0"/>
              </a:rPr>
              <a:t>with conversion therapy</a:t>
            </a:r>
            <a:r>
              <a:rPr kumimoji="0" lang="en-GB" sz="2000" b="1" i="0" u="none" strike="noStrike" kern="1200" cap="none" spc="0" normalizeH="0" baseline="30000" noProof="0" dirty="0">
                <a:ln>
                  <a:noFill/>
                </a:ln>
                <a:solidFill>
                  <a:srgbClr val="0061A7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/>
                <a:ea typeface="Arial Black" charset="0"/>
                <a:cs typeface="Arial Black" charset="0"/>
              </a:rPr>
              <a:t>†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92A3141-8891-AA9F-8DCC-1F176C5FBF51}"/>
              </a:ext>
            </a:extLst>
          </p:cNvPr>
          <p:cNvGrpSpPr/>
          <p:nvPr/>
        </p:nvGrpSpPr>
        <p:grpSpPr>
          <a:xfrm>
            <a:off x="4480846" y="2332075"/>
            <a:ext cx="3201443" cy="1170241"/>
            <a:chOff x="539593" y="2675894"/>
            <a:chExt cx="3457318" cy="1170241"/>
          </a:xfrm>
        </p:grpSpPr>
        <p:sp>
          <p:nvSpPr>
            <p:cNvPr id="37" name="Round Same-side Corner of Rectangle 34">
              <a:extLst>
                <a:ext uri="{FF2B5EF4-FFF2-40B4-BE49-F238E27FC236}">
                  <a16:creationId xmlns:a16="http://schemas.microsoft.com/office/drawing/2014/main" id="{DC611195-4590-6345-578C-3E89574DB498}"/>
                </a:ext>
              </a:extLst>
            </p:cNvPr>
            <p:cNvSpPr/>
            <p:nvPr/>
          </p:nvSpPr>
          <p:spPr>
            <a:xfrm>
              <a:off x="541543" y="2675894"/>
              <a:ext cx="3455368" cy="498549"/>
            </a:xfrm>
            <a:prstGeom prst="round2SameRect">
              <a:avLst>
                <a:gd name="adj1" fmla="val 11178"/>
                <a:gd name="adj2" fmla="val 0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ft colon, </a:t>
              </a:r>
              <a:r>
                <a:rPr kumimoji="0" lang="en-GB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AS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wild-type</a:t>
              </a:r>
            </a:p>
          </p:txBody>
        </p:sp>
        <p:sp>
          <p:nvSpPr>
            <p:cNvPr id="38" name="Round Same-side Corner of Rectangle 37">
              <a:extLst>
                <a:ext uri="{FF2B5EF4-FFF2-40B4-BE49-F238E27FC236}">
                  <a16:creationId xmlns:a16="http://schemas.microsoft.com/office/drawing/2014/main" id="{5181A545-86A0-105D-A2C3-3251BF00444C}"/>
                </a:ext>
              </a:extLst>
            </p:cNvPr>
            <p:cNvSpPr/>
            <p:nvPr/>
          </p:nvSpPr>
          <p:spPr>
            <a:xfrm rot="16200000">
              <a:off x="1860414" y="1709638"/>
              <a:ext cx="815676" cy="3457318"/>
            </a:xfrm>
            <a:prstGeom prst="roundRect">
              <a:avLst/>
            </a:prstGeom>
            <a:solidFill>
              <a:schemeClr val="tx2">
                <a:lumMod val="60000"/>
                <a:lumOff val="40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lIns="216000" tIns="144000" rIns="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hT + anti-EGFR [II, A]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B649733-BE21-7B86-40FD-E2D797729B27}"/>
              </a:ext>
            </a:extLst>
          </p:cNvPr>
          <p:cNvGrpSpPr/>
          <p:nvPr/>
        </p:nvGrpSpPr>
        <p:grpSpPr>
          <a:xfrm>
            <a:off x="4495291" y="4490551"/>
            <a:ext cx="3201443" cy="1250719"/>
            <a:chOff x="539602" y="2675894"/>
            <a:chExt cx="3457318" cy="1250719"/>
          </a:xfrm>
        </p:grpSpPr>
        <p:sp>
          <p:nvSpPr>
            <p:cNvPr id="40" name="Round Same-side Corner of Rectangle 37">
              <a:extLst>
                <a:ext uri="{FF2B5EF4-FFF2-40B4-BE49-F238E27FC236}">
                  <a16:creationId xmlns:a16="http://schemas.microsoft.com/office/drawing/2014/main" id="{109F94D4-CCB8-A9BD-46AA-3BA554B99979}"/>
                </a:ext>
              </a:extLst>
            </p:cNvPr>
            <p:cNvSpPr/>
            <p:nvPr/>
          </p:nvSpPr>
          <p:spPr>
            <a:xfrm rot="16200000">
              <a:off x="1811061" y="1740754"/>
              <a:ext cx="914400" cy="3457318"/>
            </a:xfrm>
            <a:prstGeom prst="roundRect">
              <a:avLst/>
            </a:prstGeom>
            <a:solidFill>
              <a:schemeClr val="tx2">
                <a:lumMod val="60000"/>
                <a:lumOff val="40000"/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lIns="108000" tIns="144000" rIns="0" bIns="144000" rtlCol="0" anchor="b"/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riplet</a:t>
              </a:r>
              <a:r>
                <a:rPr kumimoji="0" lang="en-GB" sz="14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‡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+ bevacizumab (preferred) or </a:t>
              </a:r>
              <a:b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</a:b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doublet </a:t>
              </a:r>
              <a:r>
                <a:rPr kumimoji="0" lang="en-GB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hT</a:t>
              </a: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+ bevacizumab [II, A]</a:t>
              </a:r>
            </a:p>
          </p:txBody>
        </p:sp>
        <p:sp>
          <p:nvSpPr>
            <p:cNvPr id="41" name="Round Same-side Corner of Rectangle 34">
              <a:extLst>
                <a:ext uri="{FF2B5EF4-FFF2-40B4-BE49-F238E27FC236}">
                  <a16:creationId xmlns:a16="http://schemas.microsoft.com/office/drawing/2014/main" id="{602505CA-A245-B80E-0815-BD44CECD77EA}"/>
                </a:ext>
              </a:extLst>
            </p:cNvPr>
            <p:cNvSpPr/>
            <p:nvPr/>
          </p:nvSpPr>
          <p:spPr>
            <a:xfrm>
              <a:off x="541543" y="2675894"/>
              <a:ext cx="3455368" cy="498549"/>
            </a:xfrm>
            <a:prstGeom prst="round2SameRect">
              <a:avLst>
                <a:gd name="adj1" fmla="val 11178"/>
                <a:gd name="adj2" fmla="val 0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ight colon, </a:t>
              </a:r>
              <a:r>
                <a:rPr kumimoji="0" lang="en-GB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AS</a:t>
              </a: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-mutant</a:t>
              </a: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BBD9A3B8-4FD6-E99F-0D63-3D9C290ACFA5}"/>
              </a:ext>
            </a:extLst>
          </p:cNvPr>
          <p:cNvSpPr/>
          <p:nvPr/>
        </p:nvSpPr>
        <p:spPr>
          <a:xfrm>
            <a:off x="8344175" y="1858865"/>
            <a:ext cx="2931893" cy="26161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77BC1F"/>
                </a:solidFill>
                <a:effectLst/>
                <a:uLnTx/>
                <a:uFillTx/>
                <a:latin typeface="Arial"/>
                <a:ea typeface="Arial Black" charset="0"/>
                <a:cs typeface="Arial Black" charset="0"/>
              </a:rPr>
              <a:t>Oligometastatic disease</a:t>
            </a:r>
            <a:endParaRPr kumimoji="0" lang="en-GB" sz="2000" b="1" i="0" u="none" strike="noStrike" kern="1200" cap="none" spc="0" normalizeH="0" baseline="30000" noProof="0" dirty="0">
              <a:ln>
                <a:noFill/>
              </a:ln>
              <a:solidFill>
                <a:srgbClr val="77BC1F"/>
              </a:solidFill>
              <a:effectLst/>
              <a:uLnTx/>
              <a:uFillTx/>
              <a:latin typeface="Arial"/>
              <a:ea typeface="Arial Black" charset="0"/>
              <a:cs typeface="Arial Black" charset="0"/>
            </a:endParaRPr>
          </a:p>
        </p:txBody>
      </p:sp>
      <p:sp>
        <p:nvSpPr>
          <p:cNvPr id="48" name="Round Same-side Corner of Rectangle 34">
            <a:extLst>
              <a:ext uri="{FF2B5EF4-FFF2-40B4-BE49-F238E27FC236}">
                <a16:creationId xmlns:a16="http://schemas.microsoft.com/office/drawing/2014/main" id="{5BC581E2-4F1C-7876-48F9-B2B1D52AD760}"/>
              </a:ext>
            </a:extLst>
          </p:cNvPr>
          <p:cNvSpPr/>
          <p:nvPr/>
        </p:nvSpPr>
        <p:spPr>
          <a:xfrm>
            <a:off x="8210303" y="2332075"/>
            <a:ext cx="3199637" cy="498549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rgery</a:t>
            </a:r>
          </a:p>
        </p:txBody>
      </p:sp>
      <p:sp>
        <p:nvSpPr>
          <p:cNvPr id="50" name="Round Same-side Corner of Rectangle 37">
            <a:extLst>
              <a:ext uri="{FF2B5EF4-FFF2-40B4-BE49-F238E27FC236}">
                <a16:creationId xmlns:a16="http://schemas.microsoft.com/office/drawing/2014/main" id="{F8B40F83-B66C-6BC9-0F63-ADAC934FD78F}"/>
              </a:ext>
            </a:extLst>
          </p:cNvPr>
          <p:cNvSpPr/>
          <p:nvPr/>
        </p:nvSpPr>
        <p:spPr>
          <a:xfrm rot="16200000">
            <a:off x="9352921" y="2245691"/>
            <a:ext cx="914400" cy="3201443"/>
          </a:xfrm>
          <a:prstGeom prst="roundRect">
            <a:avLst/>
          </a:prstGeom>
          <a:solidFill>
            <a:schemeClr val="accent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08000" tIns="144000" rIns="0" bIns="144000" rtlCol="0" anchor="b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diofrequency ablation [II, B]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BRT [III, B]</a:t>
            </a:r>
          </a:p>
        </p:txBody>
      </p:sp>
      <p:sp>
        <p:nvSpPr>
          <p:cNvPr id="51" name="Round Same-side Corner of Rectangle 34">
            <a:extLst>
              <a:ext uri="{FF2B5EF4-FFF2-40B4-BE49-F238E27FC236}">
                <a16:creationId xmlns:a16="http://schemas.microsoft.com/office/drawing/2014/main" id="{5F0E1A35-32F2-7414-2922-C089751A563E}"/>
              </a:ext>
            </a:extLst>
          </p:cNvPr>
          <p:cNvSpPr/>
          <p:nvPr/>
        </p:nvSpPr>
        <p:spPr>
          <a:xfrm>
            <a:off x="8210303" y="3084800"/>
            <a:ext cx="3199637" cy="498549"/>
          </a:xfrm>
          <a:prstGeom prst="round2SameRect">
            <a:avLst>
              <a:gd name="adj1" fmla="val 11178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cal ablation treatment</a:t>
            </a:r>
          </a:p>
        </p:txBody>
      </p:sp>
      <p:sp>
        <p:nvSpPr>
          <p:cNvPr id="52" name="Round Same-side Corner of Rectangle 37">
            <a:extLst>
              <a:ext uri="{FF2B5EF4-FFF2-40B4-BE49-F238E27FC236}">
                <a16:creationId xmlns:a16="http://schemas.microsoft.com/office/drawing/2014/main" id="{BD2CFCFD-E0BE-A332-E971-3B6242E7EA2A}"/>
              </a:ext>
            </a:extLst>
          </p:cNvPr>
          <p:cNvSpPr/>
          <p:nvPr/>
        </p:nvSpPr>
        <p:spPr>
          <a:xfrm rot="16200000">
            <a:off x="9352921" y="3656949"/>
            <a:ext cx="914400" cy="3201443"/>
          </a:xfrm>
          <a:prstGeom prst="roundRect">
            <a:avLst/>
          </a:prstGeom>
          <a:solidFill>
            <a:schemeClr val="accent2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36000" tIns="144000" rIns="0" bIns="144000" rtlCol="0" anchor="b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RE/SIRT [III, B]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IC [III, B]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CE [III, B]</a:t>
            </a:r>
          </a:p>
        </p:txBody>
      </p:sp>
      <p:sp>
        <p:nvSpPr>
          <p:cNvPr id="53" name="Round Same-side Corner of Rectangle 34">
            <a:extLst>
              <a:ext uri="{FF2B5EF4-FFF2-40B4-BE49-F238E27FC236}">
                <a16:creationId xmlns:a16="http://schemas.microsoft.com/office/drawing/2014/main" id="{D6E5E98F-EE7B-CBF0-FBC6-59BABF811D81}"/>
              </a:ext>
            </a:extLst>
          </p:cNvPr>
          <p:cNvSpPr/>
          <p:nvPr/>
        </p:nvSpPr>
        <p:spPr>
          <a:xfrm>
            <a:off x="8210303" y="4496058"/>
            <a:ext cx="3199637" cy="498549"/>
          </a:xfrm>
          <a:prstGeom prst="round2SameRect">
            <a:avLst>
              <a:gd name="adj1" fmla="val 11178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ra-arterial therapy</a:t>
            </a:r>
          </a:p>
        </p:txBody>
      </p:sp>
      <p:sp>
        <p:nvSpPr>
          <p:cNvPr id="57" name="Rectangle: Rounded Corners 56">
            <a:hlinkClick r:id="rId2" action="ppaction://hlinksldjump" tooltip="Chapter"/>
            <a:extLst>
              <a:ext uri="{FF2B5EF4-FFF2-40B4-BE49-F238E27FC236}">
                <a16:creationId xmlns:a16="http://schemas.microsoft.com/office/drawing/2014/main" id="{B88CAFB2-9655-1C61-1C8F-AC79495378D6}"/>
              </a:ext>
            </a:extLst>
          </p:cNvPr>
          <p:cNvSpPr/>
          <p:nvPr/>
        </p:nvSpPr>
        <p:spPr>
          <a:xfrm>
            <a:off x="10432869" y="48214"/>
            <a:ext cx="444136" cy="49171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508CE55-4CD1-1DB5-4DBA-A2DBBE77F65D}"/>
              </a:ext>
            </a:extLst>
          </p:cNvPr>
          <p:cNvGrpSpPr/>
          <p:nvPr/>
        </p:nvGrpSpPr>
        <p:grpSpPr>
          <a:xfrm>
            <a:off x="77037" y="3281200"/>
            <a:ext cx="283450" cy="283450"/>
            <a:chOff x="77037" y="3281200"/>
            <a:chExt cx="283450" cy="283450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2886527C-A78E-3CE1-A1D6-B94F66DF1B85}"/>
                </a:ext>
              </a:extLst>
            </p:cNvPr>
            <p:cNvSpPr/>
            <p:nvPr userDrawn="1"/>
          </p:nvSpPr>
          <p:spPr>
            <a:xfrm>
              <a:off x="77037" y="3281200"/>
              <a:ext cx="283450" cy="283450"/>
            </a:xfrm>
            <a:prstGeom prst="ellipse">
              <a:avLst/>
            </a:prstGeom>
            <a:noFill/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40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Graphic 23">
              <a:extLst>
                <a:ext uri="{FF2B5EF4-FFF2-40B4-BE49-F238E27FC236}">
                  <a16:creationId xmlns:a16="http://schemas.microsoft.com/office/drawing/2014/main" id="{BFB51D48-6754-89DF-F219-8DCD81E8BD30}"/>
                </a:ext>
              </a:extLst>
            </p:cNvPr>
            <p:cNvSpPr/>
            <p:nvPr userDrawn="1"/>
          </p:nvSpPr>
          <p:spPr>
            <a:xfrm rot="10800000">
              <a:off x="157255" y="3344816"/>
              <a:ext cx="103135" cy="156218"/>
            </a:xfrm>
            <a:custGeom>
              <a:avLst/>
              <a:gdLst>
                <a:gd name="connsiteX0" fmla="*/ 616506 w 2543651"/>
                <a:gd name="connsiteY0" fmla="*/ 3852863 h 3852862"/>
                <a:gd name="connsiteX1" fmla="*/ 314563 w 2543651"/>
                <a:gd name="connsiteY1" fmla="*/ 3728085 h 3852862"/>
                <a:gd name="connsiteX2" fmla="*/ 125016 w 2543651"/>
                <a:gd name="connsiteY2" fmla="*/ 3538538 h 3852862"/>
                <a:gd name="connsiteX3" fmla="*/ 125016 w 2543651"/>
                <a:gd name="connsiteY3" fmla="*/ 2934653 h 3852862"/>
                <a:gd name="connsiteX4" fmla="*/ 1133713 w 2543651"/>
                <a:gd name="connsiteY4" fmla="*/ 1926908 h 3852862"/>
                <a:gd name="connsiteX5" fmla="*/ 125968 w 2543651"/>
                <a:gd name="connsiteY5" fmla="*/ 918210 h 3852862"/>
                <a:gd name="connsiteX6" fmla="*/ 125968 w 2543651"/>
                <a:gd name="connsiteY6" fmla="*/ 314325 h 3852862"/>
                <a:gd name="connsiteX7" fmla="*/ 315516 w 2543651"/>
                <a:gd name="connsiteY7" fmla="*/ 124778 h 3852862"/>
                <a:gd name="connsiteX8" fmla="*/ 617458 w 2543651"/>
                <a:gd name="connsiteY8" fmla="*/ 0 h 3852862"/>
                <a:gd name="connsiteX9" fmla="*/ 919401 w 2543651"/>
                <a:gd name="connsiteY9" fmla="*/ 124778 h 3852862"/>
                <a:gd name="connsiteX10" fmla="*/ 2418636 w 2543651"/>
                <a:gd name="connsiteY10" fmla="*/ 1624013 h 3852862"/>
                <a:gd name="connsiteX11" fmla="*/ 2418636 w 2543651"/>
                <a:gd name="connsiteY11" fmla="*/ 2227898 h 3852862"/>
                <a:gd name="connsiteX12" fmla="*/ 918448 w 2543651"/>
                <a:gd name="connsiteY12" fmla="*/ 3728085 h 3852862"/>
                <a:gd name="connsiteX13" fmla="*/ 616506 w 2543651"/>
                <a:gd name="connsiteY13" fmla="*/ 3852863 h 3852862"/>
                <a:gd name="connsiteX14" fmla="*/ 616506 w 2543651"/>
                <a:gd name="connsiteY14" fmla="*/ 195262 h 3852862"/>
                <a:gd name="connsiteX15" fmla="*/ 452676 w 2543651"/>
                <a:gd name="connsiteY15" fmla="*/ 262890 h 3852862"/>
                <a:gd name="connsiteX16" fmla="*/ 263128 w 2543651"/>
                <a:gd name="connsiteY16" fmla="*/ 452437 h 3852862"/>
                <a:gd name="connsiteX17" fmla="*/ 263128 w 2543651"/>
                <a:gd name="connsiteY17" fmla="*/ 780098 h 3852862"/>
                <a:gd name="connsiteX18" fmla="*/ 1340406 w 2543651"/>
                <a:gd name="connsiteY18" fmla="*/ 1857375 h 3852862"/>
                <a:gd name="connsiteX19" fmla="*/ 1340406 w 2543651"/>
                <a:gd name="connsiteY19" fmla="*/ 1995488 h 3852862"/>
                <a:gd name="connsiteX20" fmla="*/ 263128 w 2543651"/>
                <a:gd name="connsiteY20" fmla="*/ 3072765 h 3852862"/>
                <a:gd name="connsiteX21" fmla="*/ 263128 w 2543651"/>
                <a:gd name="connsiteY21" fmla="*/ 3400425 h 3852862"/>
                <a:gd name="connsiteX22" fmla="*/ 452676 w 2543651"/>
                <a:gd name="connsiteY22" fmla="*/ 3589973 h 3852862"/>
                <a:gd name="connsiteX23" fmla="*/ 616506 w 2543651"/>
                <a:gd name="connsiteY23" fmla="*/ 3657600 h 3852862"/>
                <a:gd name="connsiteX24" fmla="*/ 780336 w 2543651"/>
                <a:gd name="connsiteY24" fmla="*/ 3589973 h 3852862"/>
                <a:gd name="connsiteX25" fmla="*/ 2279571 w 2543651"/>
                <a:gd name="connsiteY25" fmla="*/ 2090738 h 3852862"/>
                <a:gd name="connsiteX26" fmla="*/ 2279571 w 2543651"/>
                <a:gd name="connsiteY26" fmla="*/ 1763078 h 3852862"/>
                <a:gd name="connsiteX27" fmla="*/ 780336 w 2543651"/>
                <a:gd name="connsiteY27" fmla="*/ 263843 h 3852862"/>
                <a:gd name="connsiteX28" fmla="*/ 616506 w 2543651"/>
                <a:gd name="connsiteY28" fmla="*/ 195262 h 385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43651" h="3852862">
                  <a:moveTo>
                    <a:pt x="616506" y="3852863"/>
                  </a:moveTo>
                  <a:cubicBezTo>
                    <a:pt x="502206" y="3852863"/>
                    <a:pt x="395526" y="3808095"/>
                    <a:pt x="314563" y="3728085"/>
                  </a:cubicBezTo>
                  <a:lnTo>
                    <a:pt x="125016" y="3538538"/>
                  </a:lnTo>
                  <a:cubicBezTo>
                    <a:pt x="-41672" y="3371850"/>
                    <a:pt x="-41672" y="3101340"/>
                    <a:pt x="125016" y="2934653"/>
                  </a:cubicBezTo>
                  <a:lnTo>
                    <a:pt x="1133713" y="1926908"/>
                  </a:lnTo>
                  <a:lnTo>
                    <a:pt x="125968" y="918210"/>
                  </a:lnTo>
                  <a:cubicBezTo>
                    <a:pt x="-40719" y="751523"/>
                    <a:pt x="-40719" y="481012"/>
                    <a:pt x="125968" y="314325"/>
                  </a:cubicBezTo>
                  <a:lnTo>
                    <a:pt x="315516" y="124778"/>
                  </a:lnTo>
                  <a:cubicBezTo>
                    <a:pt x="396478" y="43815"/>
                    <a:pt x="503158" y="0"/>
                    <a:pt x="617458" y="0"/>
                  </a:cubicBezTo>
                  <a:cubicBezTo>
                    <a:pt x="731758" y="0"/>
                    <a:pt x="838438" y="44768"/>
                    <a:pt x="919401" y="124778"/>
                  </a:cubicBezTo>
                  <a:lnTo>
                    <a:pt x="2418636" y="1624013"/>
                  </a:lnTo>
                  <a:cubicBezTo>
                    <a:pt x="2585323" y="1790700"/>
                    <a:pt x="2585323" y="2061210"/>
                    <a:pt x="2418636" y="2227898"/>
                  </a:cubicBezTo>
                  <a:lnTo>
                    <a:pt x="918448" y="3728085"/>
                  </a:lnTo>
                  <a:cubicBezTo>
                    <a:pt x="838438" y="3809048"/>
                    <a:pt x="730806" y="3852863"/>
                    <a:pt x="616506" y="3852863"/>
                  </a:cubicBezTo>
                  <a:close/>
                  <a:moveTo>
                    <a:pt x="616506" y="195262"/>
                  </a:moveTo>
                  <a:cubicBezTo>
                    <a:pt x="554593" y="195262"/>
                    <a:pt x="496491" y="219075"/>
                    <a:pt x="452676" y="262890"/>
                  </a:cubicBezTo>
                  <a:lnTo>
                    <a:pt x="263128" y="452437"/>
                  </a:lnTo>
                  <a:cubicBezTo>
                    <a:pt x="172641" y="542925"/>
                    <a:pt x="172641" y="689610"/>
                    <a:pt x="263128" y="780098"/>
                  </a:cubicBezTo>
                  <a:lnTo>
                    <a:pt x="1340406" y="1857375"/>
                  </a:lnTo>
                  <a:cubicBezTo>
                    <a:pt x="1378506" y="1895475"/>
                    <a:pt x="1378506" y="1957388"/>
                    <a:pt x="1340406" y="1995488"/>
                  </a:cubicBezTo>
                  <a:lnTo>
                    <a:pt x="263128" y="3072765"/>
                  </a:lnTo>
                  <a:cubicBezTo>
                    <a:pt x="172641" y="3163253"/>
                    <a:pt x="172641" y="3309938"/>
                    <a:pt x="263128" y="3400425"/>
                  </a:cubicBezTo>
                  <a:lnTo>
                    <a:pt x="452676" y="3589973"/>
                  </a:lnTo>
                  <a:cubicBezTo>
                    <a:pt x="496491" y="3633788"/>
                    <a:pt x="554593" y="3657600"/>
                    <a:pt x="616506" y="3657600"/>
                  </a:cubicBezTo>
                  <a:cubicBezTo>
                    <a:pt x="678418" y="3657600"/>
                    <a:pt x="736521" y="3633788"/>
                    <a:pt x="780336" y="3589973"/>
                  </a:cubicBezTo>
                  <a:lnTo>
                    <a:pt x="2279571" y="2090738"/>
                  </a:lnTo>
                  <a:cubicBezTo>
                    <a:pt x="2370058" y="2000250"/>
                    <a:pt x="2370058" y="1853565"/>
                    <a:pt x="2279571" y="1763078"/>
                  </a:cubicBezTo>
                  <a:lnTo>
                    <a:pt x="780336" y="263843"/>
                  </a:lnTo>
                  <a:cubicBezTo>
                    <a:pt x="736521" y="220028"/>
                    <a:pt x="678418" y="195262"/>
                    <a:pt x="616506" y="19526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EFE7D60-0BBE-2D90-DD74-C797091C911F}"/>
              </a:ext>
            </a:extLst>
          </p:cNvPr>
          <p:cNvGrpSpPr/>
          <p:nvPr/>
        </p:nvGrpSpPr>
        <p:grpSpPr>
          <a:xfrm rot="10800000">
            <a:off x="11824059" y="3281200"/>
            <a:ext cx="283450" cy="283450"/>
            <a:chOff x="77037" y="3281200"/>
            <a:chExt cx="283450" cy="28345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6D6271A9-AA95-9D20-0EE9-EDE1E77C4822}"/>
                </a:ext>
              </a:extLst>
            </p:cNvPr>
            <p:cNvSpPr/>
            <p:nvPr userDrawn="1"/>
          </p:nvSpPr>
          <p:spPr>
            <a:xfrm>
              <a:off x="77037" y="3281200"/>
              <a:ext cx="283450" cy="283450"/>
            </a:xfrm>
            <a:prstGeom prst="ellipse">
              <a:avLst/>
            </a:prstGeom>
            <a:noFill/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Ins="45720" rtlCol="0" anchor="ctr" anchorCtr="0">
              <a:normAutofit fontScale="40000" lnSpcReduction="20000"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Graphic 23">
              <a:extLst>
                <a:ext uri="{FF2B5EF4-FFF2-40B4-BE49-F238E27FC236}">
                  <a16:creationId xmlns:a16="http://schemas.microsoft.com/office/drawing/2014/main" id="{105D4520-E142-AEF6-4A4D-763AEFFF6B1A}"/>
                </a:ext>
              </a:extLst>
            </p:cNvPr>
            <p:cNvSpPr/>
            <p:nvPr userDrawn="1"/>
          </p:nvSpPr>
          <p:spPr>
            <a:xfrm rot="10800000">
              <a:off x="157255" y="3344816"/>
              <a:ext cx="103135" cy="156218"/>
            </a:xfrm>
            <a:custGeom>
              <a:avLst/>
              <a:gdLst>
                <a:gd name="connsiteX0" fmla="*/ 616506 w 2543651"/>
                <a:gd name="connsiteY0" fmla="*/ 3852863 h 3852862"/>
                <a:gd name="connsiteX1" fmla="*/ 314563 w 2543651"/>
                <a:gd name="connsiteY1" fmla="*/ 3728085 h 3852862"/>
                <a:gd name="connsiteX2" fmla="*/ 125016 w 2543651"/>
                <a:gd name="connsiteY2" fmla="*/ 3538538 h 3852862"/>
                <a:gd name="connsiteX3" fmla="*/ 125016 w 2543651"/>
                <a:gd name="connsiteY3" fmla="*/ 2934653 h 3852862"/>
                <a:gd name="connsiteX4" fmla="*/ 1133713 w 2543651"/>
                <a:gd name="connsiteY4" fmla="*/ 1926908 h 3852862"/>
                <a:gd name="connsiteX5" fmla="*/ 125968 w 2543651"/>
                <a:gd name="connsiteY5" fmla="*/ 918210 h 3852862"/>
                <a:gd name="connsiteX6" fmla="*/ 125968 w 2543651"/>
                <a:gd name="connsiteY6" fmla="*/ 314325 h 3852862"/>
                <a:gd name="connsiteX7" fmla="*/ 315516 w 2543651"/>
                <a:gd name="connsiteY7" fmla="*/ 124778 h 3852862"/>
                <a:gd name="connsiteX8" fmla="*/ 617458 w 2543651"/>
                <a:gd name="connsiteY8" fmla="*/ 0 h 3852862"/>
                <a:gd name="connsiteX9" fmla="*/ 919401 w 2543651"/>
                <a:gd name="connsiteY9" fmla="*/ 124778 h 3852862"/>
                <a:gd name="connsiteX10" fmla="*/ 2418636 w 2543651"/>
                <a:gd name="connsiteY10" fmla="*/ 1624013 h 3852862"/>
                <a:gd name="connsiteX11" fmla="*/ 2418636 w 2543651"/>
                <a:gd name="connsiteY11" fmla="*/ 2227898 h 3852862"/>
                <a:gd name="connsiteX12" fmla="*/ 918448 w 2543651"/>
                <a:gd name="connsiteY12" fmla="*/ 3728085 h 3852862"/>
                <a:gd name="connsiteX13" fmla="*/ 616506 w 2543651"/>
                <a:gd name="connsiteY13" fmla="*/ 3852863 h 3852862"/>
                <a:gd name="connsiteX14" fmla="*/ 616506 w 2543651"/>
                <a:gd name="connsiteY14" fmla="*/ 195262 h 3852862"/>
                <a:gd name="connsiteX15" fmla="*/ 452676 w 2543651"/>
                <a:gd name="connsiteY15" fmla="*/ 262890 h 3852862"/>
                <a:gd name="connsiteX16" fmla="*/ 263128 w 2543651"/>
                <a:gd name="connsiteY16" fmla="*/ 452437 h 3852862"/>
                <a:gd name="connsiteX17" fmla="*/ 263128 w 2543651"/>
                <a:gd name="connsiteY17" fmla="*/ 780098 h 3852862"/>
                <a:gd name="connsiteX18" fmla="*/ 1340406 w 2543651"/>
                <a:gd name="connsiteY18" fmla="*/ 1857375 h 3852862"/>
                <a:gd name="connsiteX19" fmla="*/ 1340406 w 2543651"/>
                <a:gd name="connsiteY19" fmla="*/ 1995488 h 3852862"/>
                <a:gd name="connsiteX20" fmla="*/ 263128 w 2543651"/>
                <a:gd name="connsiteY20" fmla="*/ 3072765 h 3852862"/>
                <a:gd name="connsiteX21" fmla="*/ 263128 w 2543651"/>
                <a:gd name="connsiteY21" fmla="*/ 3400425 h 3852862"/>
                <a:gd name="connsiteX22" fmla="*/ 452676 w 2543651"/>
                <a:gd name="connsiteY22" fmla="*/ 3589973 h 3852862"/>
                <a:gd name="connsiteX23" fmla="*/ 616506 w 2543651"/>
                <a:gd name="connsiteY23" fmla="*/ 3657600 h 3852862"/>
                <a:gd name="connsiteX24" fmla="*/ 780336 w 2543651"/>
                <a:gd name="connsiteY24" fmla="*/ 3589973 h 3852862"/>
                <a:gd name="connsiteX25" fmla="*/ 2279571 w 2543651"/>
                <a:gd name="connsiteY25" fmla="*/ 2090738 h 3852862"/>
                <a:gd name="connsiteX26" fmla="*/ 2279571 w 2543651"/>
                <a:gd name="connsiteY26" fmla="*/ 1763078 h 3852862"/>
                <a:gd name="connsiteX27" fmla="*/ 780336 w 2543651"/>
                <a:gd name="connsiteY27" fmla="*/ 263843 h 3852862"/>
                <a:gd name="connsiteX28" fmla="*/ 616506 w 2543651"/>
                <a:gd name="connsiteY28" fmla="*/ 195262 h 385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543651" h="3852862">
                  <a:moveTo>
                    <a:pt x="616506" y="3852863"/>
                  </a:moveTo>
                  <a:cubicBezTo>
                    <a:pt x="502206" y="3852863"/>
                    <a:pt x="395526" y="3808095"/>
                    <a:pt x="314563" y="3728085"/>
                  </a:cubicBezTo>
                  <a:lnTo>
                    <a:pt x="125016" y="3538538"/>
                  </a:lnTo>
                  <a:cubicBezTo>
                    <a:pt x="-41672" y="3371850"/>
                    <a:pt x="-41672" y="3101340"/>
                    <a:pt x="125016" y="2934653"/>
                  </a:cubicBezTo>
                  <a:lnTo>
                    <a:pt x="1133713" y="1926908"/>
                  </a:lnTo>
                  <a:lnTo>
                    <a:pt x="125968" y="918210"/>
                  </a:lnTo>
                  <a:cubicBezTo>
                    <a:pt x="-40719" y="751523"/>
                    <a:pt x="-40719" y="481012"/>
                    <a:pt x="125968" y="314325"/>
                  </a:cubicBezTo>
                  <a:lnTo>
                    <a:pt x="315516" y="124778"/>
                  </a:lnTo>
                  <a:cubicBezTo>
                    <a:pt x="396478" y="43815"/>
                    <a:pt x="503158" y="0"/>
                    <a:pt x="617458" y="0"/>
                  </a:cubicBezTo>
                  <a:cubicBezTo>
                    <a:pt x="731758" y="0"/>
                    <a:pt x="838438" y="44768"/>
                    <a:pt x="919401" y="124778"/>
                  </a:cubicBezTo>
                  <a:lnTo>
                    <a:pt x="2418636" y="1624013"/>
                  </a:lnTo>
                  <a:cubicBezTo>
                    <a:pt x="2585323" y="1790700"/>
                    <a:pt x="2585323" y="2061210"/>
                    <a:pt x="2418636" y="2227898"/>
                  </a:cubicBezTo>
                  <a:lnTo>
                    <a:pt x="918448" y="3728085"/>
                  </a:lnTo>
                  <a:cubicBezTo>
                    <a:pt x="838438" y="3809048"/>
                    <a:pt x="730806" y="3852863"/>
                    <a:pt x="616506" y="3852863"/>
                  </a:cubicBezTo>
                  <a:close/>
                  <a:moveTo>
                    <a:pt x="616506" y="195262"/>
                  </a:moveTo>
                  <a:cubicBezTo>
                    <a:pt x="554593" y="195262"/>
                    <a:pt x="496491" y="219075"/>
                    <a:pt x="452676" y="262890"/>
                  </a:cubicBezTo>
                  <a:lnTo>
                    <a:pt x="263128" y="452437"/>
                  </a:lnTo>
                  <a:cubicBezTo>
                    <a:pt x="172641" y="542925"/>
                    <a:pt x="172641" y="689610"/>
                    <a:pt x="263128" y="780098"/>
                  </a:cubicBezTo>
                  <a:lnTo>
                    <a:pt x="1340406" y="1857375"/>
                  </a:lnTo>
                  <a:cubicBezTo>
                    <a:pt x="1378506" y="1895475"/>
                    <a:pt x="1378506" y="1957388"/>
                    <a:pt x="1340406" y="1995488"/>
                  </a:cubicBezTo>
                  <a:lnTo>
                    <a:pt x="263128" y="3072765"/>
                  </a:lnTo>
                  <a:cubicBezTo>
                    <a:pt x="172641" y="3163253"/>
                    <a:pt x="172641" y="3309938"/>
                    <a:pt x="263128" y="3400425"/>
                  </a:cubicBezTo>
                  <a:lnTo>
                    <a:pt x="452676" y="3589973"/>
                  </a:lnTo>
                  <a:cubicBezTo>
                    <a:pt x="496491" y="3633788"/>
                    <a:pt x="554593" y="3657600"/>
                    <a:pt x="616506" y="3657600"/>
                  </a:cubicBezTo>
                  <a:cubicBezTo>
                    <a:pt x="678418" y="3657600"/>
                    <a:pt x="736521" y="3633788"/>
                    <a:pt x="780336" y="3589973"/>
                  </a:cubicBezTo>
                  <a:lnTo>
                    <a:pt x="2279571" y="2090738"/>
                  </a:lnTo>
                  <a:cubicBezTo>
                    <a:pt x="2370058" y="2000250"/>
                    <a:pt x="2370058" y="1853565"/>
                    <a:pt x="2279571" y="1763078"/>
                  </a:cubicBezTo>
                  <a:lnTo>
                    <a:pt x="780336" y="263843"/>
                  </a:lnTo>
                  <a:cubicBezTo>
                    <a:pt x="736521" y="220028"/>
                    <a:pt x="678418" y="195262"/>
                    <a:pt x="616506" y="195262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" name="Rectangle 9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4CD20246-3494-03CD-4ED4-E18933584171}"/>
              </a:ext>
            </a:extLst>
          </p:cNvPr>
          <p:cNvSpPr/>
          <p:nvPr/>
        </p:nvSpPr>
        <p:spPr>
          <a:xfrm>
            <a:off x="11781813" y="3216826"/>
            <a:ext cx="367941" cy="412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hlinkClick r:id="" action="ppaction://hlinkshowjump?jump=previousslide"/>
            <a:extLst>
              <a:ext uri="{FF2B5EF4-FFF2-40B4-BE49-F238E27FC236}">
                <a16:creationId xmlns:a16="http://schemas.microsoft.com/office/drawing/2014/main" id="{52212F12-CDF6-2734-8EDA-3CC61C6CE911}"/>
              </a:ext>
            </a:extLst>
          </p:cNvPr>
          <p:cNvSpPr/>
          <p:nvPr/>
        </p:nvSpPr>
        <p:spPr>
          <a:xfrm>
            <a:off x="33761" y="3216826"/>
            <a:ext cx="367941" cy="4121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1653D29-8AD7-2DB4-E5C1-50F146E00113}"/>
              </a:ext>
            </a:extLst>
          </p:cNvPr>
          <p:cNvCxnSpPr>
            <a:cxnSpLocks/>
          </p:cNvCxnSpPr>
          <p:nvPr/>
        </p:nvCxnSpPr>
        <p:spPr>
          <a:xfrm>
            <a:off x="4149824" y="1597255"/>
            <a:ext cx="0" cy="4060474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DE7F0BEA-75C5-DE15-1DC0-5DD2D0C06D2F}"/>
              </a:ext>
            </a:extLst>
          </p:cNvPr>
          <p:cNvGrpSpPr/>
          <p:nvPr/>
        </p:nvGrpSpPr>
        <p:grpSpPr>
          <a:xfrm>
            <a:off x="11370735" y="238192"/>
            <a:ext cx="423331" cy="423331"/>
            <a:chOff x="8501571" y="159769"/>
            <a:chExt cx="357756" cy="357756"/>
          </a:xfrm>
        </p:grpSpPr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92BD42BA-A92E-946F-1C37-692FE9C1157D}"/>
                </a:ext>
              </a:extLst>
            </p:cNvPr>
            <p:cNvSpPr/>
            <p:nvPr userDrawn="1"/>
          </p:nvSpPr>
          <p:spPr>
            <a:xfrm>
              <a:off x="8501571" y="159769"/>
              <a:ext cx="357756" cy="35775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262DBCA3-B764-510B-077F-E5D362A2ACE7}"/>
                </a:ext>
              </a:extLst>
            </p:cNvPr>
            <p:cNvCxnSpPr/>
            <p:nvPr userDrawn="1"/>
          </p:nvCxnSpPr>
          <p:spPr>
            <a:xfrm>
              <a:off x="8566150" y="342900"/>
              <a:ext cx="241300" cy="0"/>
            </a:xfrm>
            <a:prstGeom prst="line">
              <a:avLst/>
            </a:prstGeom>
            <a:ln w="38100" cap="rnd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39CC57CA-E891-27DE-958E-5DA83FD5DE16}"/>
                </a:ext>
              </a:extLst>
            </p:cNvPr>
            <p:cNvCxnSpPr/>
            <p:nvPr userDrawn="1"/>
          </p:nvCxnSpPr>
          <p:spPr>
            <a:xfrm>
              <a:off x="8566150" y="275420"/>
              <a:ext cx="241300" cy="0"/>
            </a:xfrm>
            <a:prstGeom prst="line">
              <a:avLst/>
            </a:prstGeom>
            <a:ln w="38100" cap="rnd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6C9E0ADD-F2DF-C529-1546-197A88EB2DA4}"/>
                </a:ext>
              </a:extLst>
            </p:cNvPr>
            <p:cNvCxnSpPr/>
            <p:nvPr userDrawn="1"/>
          </p:nvCxnSpPr>
          <p:spPr>
            <a:xfrm>
              <a:off x="8566150" y="410380"/>
              <a:ext cx="241300" cy="0"/>
            </a:xfrm>
            <a:prstGeom prst="line">
              <a:avLst/>
            </a:prstGeom>
            <a:ln w="38100" cap="rnd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6" name="Rectangle 135">
            <a:extLst>
              <a:ext uri="{FF2B5EF4-FFF2-40B4-BE49-F238E27FC236}">
                <a16:creationId xmlns:a16="http://schemas.microsoft.com/office/drawing/2014/main" id="{D19666F0-2929-82DA-CB4B-D593DA75379A}"/>
              </a:ext>
            </a:extLst>
          </p:cNvPr>
          <p:cNvSpPr/>
          <p:nvPr/>
        </p:nvSpPr>
        <p:spPr>
          <a:xfrm>
            <a:off x="14495359" y="4573"/>
            <a:ext cx="3886047" cy="6858000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ADE18DF1-D0A3-6C6E-A859-6F000D7BC98B}"/>
              </a:ext>
            </a:extLst>
          </p:cNvPr>
          <p:cNvGrpSpPr/>
          <p:nvPr/>
        </p:nvGrpSpPr>
        <p:grpSpPr>
          <a:xfrm>
            <a:off x="14927289" y="3197493"/>
            <a:ext cx="3150769" cy="1006217"/>
            <a:chOff x="6370197" y="2300694"/>
            <a:chExt cx="5045403" cy="1006217"/>
          </a:xfrm>
        </p:grpSpPr>
        <p:sp>
          <p:nvSpPr>
            <p:cNvPr id="138" name="TextBox 137">
              <a:hlinkClick r:id="rId3" action="ppaction://hlinksldjump"/>
              <a:extLst>
                <a:ext uri="{FF2B5EF4-FFF2-40B4-BE49-F238E27FC236}">
                  <a16:creationId xmlns:a16="http://schemas.microsoft.com/office/drawing/2014/main" id="{260A7A2E-BC44-A7F6-ECB1-C45A7EC3846B}"/>
                </a:ext>
              </a:extLst>
            </p:cNvPr>
            <p:cNvSpPr txBox="1"/>
            <p:nvPr/>
          </p:nvSpPr>
          <p:spPr>
            <a:xfrm>
              <a:off x="6370197" y="2300694"/>
              <a:ext cx="1984236" cy="30777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reatment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39" name="TextBox 26, chunk 2">
              <a:hlinkClick r:id="rId2" action="ppaction://hlinksldjump"/>
              <a:extLst>
                <a:ext uri="{FF2B5EF4-FFF2-40B4-BE49-F238E27FC236}">
                  <a16:creationId xmlns:a16="http://schemas.microsoft.com/office/drawing/2014/main" id="{340A5FC6-28BE-EB37-4E31-D9DFA6A238FB}"/>
                </a:ext>
              </a:extLst>
            </p:cNvPr>
            <p:cNvSpPr txBox="1"/>
            <p:nvPr/>
          </p:nvSpPr>
          <p:spPr>
            <a:xfrm>
              <a:off x="6512436" y="2716471"/>
              <a:ext cx="4345808" cy="169277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ESMO guidance for the treatment of mCRC</a:t>
              </a:r>
            </a:p>
          </p:txBody>
        </p:sp>
        <p:sp>
          <p:nvSpPr>
            <p:cNvPr id="140" name="TextBox 26, chunk 2">
              <a:hlinkClick r:id="rId4" action="ppaction://hlinksldjump"/>
              <a:extLst>
                <a:ext uri="{FF2B5EF4-FFF2-40B4-BE49-F238E27FC236}">
                  <a16:creationId xmlns:a16="http://schemas.microsoft.com/office/drawing/2014/main" id="{F2ADB782-DF1A-8D41-EACC-54633E7B90DB}"/>
                </a:ext>
              </a:extLst>
            </p:cNvPr>
            <p:cNvSpPr txBox="1"/>
            <p:nvPr/>
          </p:nvSpPr>
          <p:spPr>
            <a:xfrm>
              <a:off x="6512438" y="2968357"/>
              <a:ext cx="4903162" cy="338554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European expert panel guidance for the treatment of BRAFV600E-mutant mCRC</a:t>
              </a: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F92C0879-186B-D188-733B-27D394AEA8E0}"/>
              </a:ext>
            </a:extLst>
          </p:cNvPr>
          <p:cNvGrpSpPr/>
          <p:nvPr/>
        </p:nvGrpSpPr>
        <p:grpSpPr>
          <a:xfrm>
            <a:off x="14927289" y="2601101"/>
            <a:ext cx="2106346" cy="307777"/>
            <a:chOff x="6370197" y="3962379"/>
            <a:chExt cx="3372946" cy="307777"/>
          </a:xfrm>
        </p:grpSpPr>
        <p:sp>
          <p:nvSpPr>
            <p:cNvPr id="142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82E9AF11-2F35-1B81-A8C8-DCEDC379C62E}"/>
                </a:ext>
              </a:extLst>
            </p:cNvPr>
            <p:cNvSpPr txBox="1"/>
            <p:nvPr/>
          </p:nvSpPr>
          <p:spPr>
            <a:xfrm>
              <a:off x="6512436" y="4014527"/>
              <a:ext cx="184819" cy="169277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   </a:t>
              </a:r>
            </a:p>
          </p:txBody>
        </p:sp>
        <p:sp>
          <p:nvSpPr>
            <p:cNvPr id="143" name="TextBox 142">
              <a:hlinkClick r:id="rId5" action="ppaction://hlinksldjump"/>
              <a:extLst>
                <a:ext uri="{FF2B5EF4-FFF2-40B4-BE49-F238E27FC236}">
                  <a16:creationId xmlns:a16="http://schemas.microsoft.com/office/drawing/2014/main" id="{D2C2540F-6E5A-E075-EAF7-673BEB3DD61D}"/>
                </a:ext>
              </a:extLst>
            </p:cNvPr>
            <p:cNvSpPr txBox="1"/>
            <p:nvPr/>
          </p:nvSpPr>
          <p:spPr>
            <a:xfrm>
              <a:off x="6370197" y="3962379"/>
              <a:ext cx="3372946" cy="307777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olecular testing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7B0FECB7-70FD-897C-175B-C8C4B178F691}"/>
              </a:ext>
            </a:extLst>
          </p:cNvPr>
          <p:cNvGrpSpPr/>
          <p:nvPr/>
        </p:nvGrpSpPr>
        <p:grpSpPr>
          <a:xfrm>
            <a:off x="14927286" y="4492325"/>
            <a:ext cx="3246763" cy="307777"/>
            <a:chOff x="6370196" y="5232186"/>
            <a:chExt cx="3246763" cy="307777"/>
          </a:xfrm>
        </p:grpSpPr>
        <p:sp>
          <p:nvSpPr>
            <p:cNvPr id="145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245D62C3-15B2-6C29-8130-47658C5F4848}"/>
                </a:ext>
              </a:extLst>
            </p:cNvPr>
            <p:cNvSpPr txBox="1"/>
            <p:nvPr/>
          </p:nvSpPr>
          <p:spPr>
            <a:xfrm>
              <a:off x="6512437" y="5301435"/>
              <a:ext cx="1142943" cy="169277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46" name="TextBox 145">
              <a:hlinkClick r:id="" action="ppaction://noaction"/>
              <a:extLst>
                <a:ext uri="{FF2B5EF4-FFF2-40B4-BE49-F238E27FC236}">
                  <a16:creationId xmlns:a16="http://schemas.microsoft.com/office/drawing/2014/main" id="{33D83E0F-87B0-CB67-1B6C-02B0E7C986FF}"/>
                </a:ext>
              </a:extLst>
            </p:cNvPr>
            <p:cNvSpPr txBox="1"/>
            <p:nvPr/>
          </p:nvSpPr>
          <p:spPr>
            <a:xfrm>
              <a:off x="6370196" y="5232186"/>
              <a:ext cx="324676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ollow-up &amp; survivorship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4A71A8DC-3BC5-532C-1FD0-522CEC10CECD}"/>
              </a:ext>
            </a:extLst>
          </p:cNvPr>
          <p:cNvGrpSpPr/>
          <p:nvPr/>
        </p:nvGrpSpPr>
        <p:grpSpPr>
          <a:xfrm>
            <a:off x="14850659" y="487315"/>
            <a:ext cx="974311" cy="444045"/>
            <a:chOff x="6198682" y="635060"/>
            <a:chExt cx="974311" cy="444045"/>
          </a:xfrm>
        </p:grpSpPr>
        <p:sp>
          <p:nvSpPr>
            <p:cNvPr id="148" name="TextBox 147">
              <a:hlinkClick r:id="rId6" action="ppaction://hlinksldjump"/>
              <a:extLst>
                <a:ext uri="{FF2B5EF4-FFF2-40B4-BE49-F238E27FC236}">
                  <a16:creationId xmlns:a16="http://schemas.microsoft.com/office/drawing/2014/main" id="{89A492E4-8764-D842-B427-044567B47466}"/>
                </a:ext>
              </a:extLst>
            </p:cNvPr>
            <p:cNvSpPr txBox="1"/>
            <p:nvPr/>
          </p:nvSpPr>
          <p:spPr>
            <a:xfrm>
              <a:off x="6695298" y="863661"/>
              <a:ext cx="477695" cy="21544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ome</a:t>
              </a:r>
              <a:endPara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49" name="Graphic 148">
              <a:hlinkClick r:id="rId6" action="ppaction://hlinksldjump"/>
              <a:extLst>
                <a:ext uri="{FF2B5EF4-FFF2-40B4-BE49-F238E27FC236}">
                  <a16:creationId xmlns:a16="http://schemas.microsoft.com/office/drawing/2014/main" id="{736D6757-A94E-CDF1-A86B-C57B26A01F9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198682" y="635060"/>
              <a:ext cx="431761" cy="431761"/>
            </a:xfrm>
            <a:prstGeom prst="rect">
              <a:avLst/>
            </a:prstGeom>
          </p:spPr>
        </p:pic>
      </p:grpSp>
      <p:sp>
        <p:nvSpPr>
          <p:cNvPr id="150" name="Freeform 53">
            <a:extLst>
              <a:ext uri="{FF2B5EF4-FFF2-40B4-BE49-F238E27FC236}">
                <a16:creationId xmlns:a16="http://schemas.microsoft.com/office/drawing/2014/main" id="{B656A3D4-9F7C-2436-B3D5-FE4C30216681}"/>
              </a:ext>
            </a:extLst>
          </p:cNvPr>
          <p:cNvSpPr/>
          <p:nvPr/>
        </p:nvSpPr>
        <p:spPr>
          <a:xfrm rot="2700000">
            <a:off x="17611548" y="257149"/>
            <a:ext cx="330985" cy="330985"/>
          </a:xfrm>
          <a:custGeom>
            <a:avLst/>
            <a:gdLst>
              <a:gd name="connsiteX0" fmla="*/ 162000 w 324000"/>
              <a:gd name="connsiteY0" fmla="*/ 0 h 324000"/>
              <a:gd name="connsiteX1" fmla="*/ 180000 w 324000"/>
              <a:gd name="connsiteY1" fmla="*/ 18000 h 324000"/>
              <a:gd name="connsiteX2" fmla="*/ 180000 w 324000"/>
              <a:gd name="connsiteY2" fmla="*/ 144000 h 324000"/>
              <a:gd name="connsiteX3" fmla="*/ 306000 w 324000"/>
              <a:gd name="connsiteY3" fmla="*/ 144000 h 324000"/>
              <a:gd name="connsiteX4" fmla="*/ 324000 w 324000"/>
              <a:gd name="connsiteY4" fmla="*/ 162000 h 324000"/>
              <a:gd name="connsiteX5" fmla="*/ 306000 w 324000"/>
              <a:gd name="connsiteY5" fmla="*/ 180000 h 324000"/>
              <a:gd name="connsiteX6" fmla="*/ 180000 w 324000"/>
              <a:gd name="connsiteY6" fmla="*/ 180000 h 324000"/>
              <a:gd name="connsiteX7" fmla="*/ 180000 w 324000"/>
              <a:gd name="connsiteY7" fmla="*/ 306000 h 324000"/>
              <a:gd name="connsiteX8" fmla="*/ 162000 w 324000"/>
              <a:gd name="connsiteY8" fmla="*/ 324000 h 324000"/>
              <a:gd name="connsiteX9" fmla="*/ 144000 w 324000"/>
              <a:gd name="connsiteY9" fmla="*/ 306000 h 324000"/>
              <a:gd name="connsiteX10" fmla="*/ 144000 w 324000"/>
              <a:gd name="connsiteY10" fmla="*/ 180000 h 324000"/>
              <a:gd name="connsiteX11" fmla="*/ 18000 w 324000"/>
              <a:gd name="connsiteY11" fmla="*/ 180000 h 324000"/>
              <a:gd name="connsiteX12" fmla="*/ 0 w 324000"/>
              <a:gd name="connsiteY12" fmla="*/ 162000 h 324000"/>
              <a:gd name="connsiteX13" fmla="*/ 18000 w 324000"/>
              <a:gd name="connsiteY13" fmla="*/ 144000 h 324000"/>
              <a:gd name="connsiteX14" fmla="*/ 144000 w 324000"/>
              <a:gd name="connsiteY14" fmla="*/ 144000 h 324000"/>
              <a:gd name="connsiteX15" fmla="*/ 144000 w 324000"/>
              <a:gd name="connsiteY15" fmla="*/ 18000 h 324000"/>
              <a:gd name="connsiteX16" fmla="*/ 162000 w 324000"/>
              <a:gd name="connsiteY16" fmla="*/ 0 h 32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24000" h="324000">
                <a:moveTo>
                  <a:pt x="162000" y="0"/>
                </a:moveTo>
                <a:cubicBezTo>
                  <a:pt x="171941" y="0"/>
                  <a:pt x="180000" y="8059"/>
                  <a:pt x="180000" y="18000"/>
                </a:cubicBezTo>
                <a:lnTo>
                  <a:pt x="180000" y="144000"/>
                </a:lnTo>
                <a:lnTo>
                  <a:pt x="306000" y="144000"/>
                </a:lnTo>
                <a:cubicBezTo>
                  <a:pt x="315941" y="144000"/>
                  <a:pt x="324000" y="152059"/>
                  <a:pt x="324000" y="162000"/>
                </a:cubicBezTo>
                <a:cubicBezTo>
                  <a:pt x="324000" y="171941"/>
                  <a:pt x="315941" y="180000"/>
                  <a:pt x="306000" y="180000"/>
                </a:cubicBezTo>
                <a:lnTo>
                  <a:pt x="180000" y="180000"/>
                </a:lnTo>
                <a:lnTo>
                  <a:pt x="180000" y="306000"/>
                </a:lnTo>
                <a:cubicBezTo>
                  <a:pt x="180000" y="315941"/>
                  <a:pt x="171941" y="324000"/>
                  <a:pt x="162000" y="324000"/>
                </a:cubicBezTo>
                <a:cubicBezTo>
                  <a:pt x="152059" y="324000"/>
                  <a:pt x="144000" y="315941"/>
                  <a:pt x="144000" y="306000"/>
                </a:cubicBezTo>
                <a:lnTo>
                  <a:pt x="144000" y="180000"/>
                </a:lnTo>
                <a:lnTo>
                  <a:pt x="18000" y="180000"/>
                </a:lnTo>
                <a:cubicBezTo>
                  <a:pt x="8059" y="180000"/>
                  <a:pt x="0" y="171941"/>
                  <a:pt x="0" y="162000"/>
                </a:cubicBezTo>
                <a:cubicBezTo>
                  <a:pt x="0" y="152059"/>
                  <a:pt x="8059" y="144000"/>
                  <a:pt x="18000" y="144000"/>
                </a:cubicBezTo>
                <a:lnTo>
                  <a:pt x="144000" y="144000"/>
                </a:lnTo>
                <a:lnTo>
                  <a:pt x="144000" y="18000"/>
                </a:lnTo>
                <a:cubicBezTo>
                  <a:pt x="144000" y="8059"/>
                  <a:pt x="152059" y="0"/>
                  <a:pt x="162000" y="0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1" name="Triangle 5">
            <a:extLst>
              <a:ext uri="{FF2B5EF4-FFF2-40B4-BE49-F238E27FC236}">
                <a16:creationId xmlns:a16="http://schemas.microsoft.com/office/drawing/2014/main" id="{1D985A90-F409-3FD8-6782-11049952A3DE}"/>
              </a:ext>
            </a:extLst>
          </p:cNvPr>
          <p:cNvSpPr/>
          <p:nvPr/>
        </p:nvSpPr>
        <p:spPr>
          <a:xfrm rot="5400000">
            <a:off x="14811018" y="3653398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2" name="Group 151">
            <a:extLst>
              <a:ext uri="{FF2B5EF4-FFF2-40B4-BE49-F238E27FC236}">
                <a16:creationId xmlns:a16="http://schemas.microsoft.com/office/drawing/2014/main" id="{42687C9A-848A-51E6-83A8-98A21AECEA24}"/>
              </a:ext>
            </a:extLst>
          </p:cNvPr>
          <p:cNvGrpSpPr/>
          <p:nvPr/>
        </p:nvGrpSpPr>
        <p:grpSpPr>
          <a:xfrm>
            <a:off x="12545015" y="3313834"/>
            <a:ext cx="2431425" cy="475588"/>
            <a:chOff x="4572000" y="1813393"/>
            <a:chExt cx="1823569" cy="356691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8CD53EF1-6C9C-97FB-C0F0-B069288E7785}"/>
                </a:ext>
              </a:extLst>
            </p:cNvPr>
            <p:cNvGrpSpPr/>
            <p:nvPr/>
          </p:nvGrpSpPr>
          <p:grpSpPr>
            <a:xfrm>
              <a:off x="4572000" y="1813393"/>
              <a:ext cx="1823569" cy="356691"/>
              <a:chOff x="4572000" y="1813393"/>
              <a:chExt cx="1823569" cy="356691"/>
            </a:xfrm>
            <a:solidFill>
              <a:schemeClr val="accent2">
                <a:lumMod val="75000"/>
                <a:alpha val="90000"/>
              </a:schemeClr>
            </a:solidFill>
          </p:grpSpPr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35760404-E3EA-A215-D48A-6F5807189C7E}"/>
                  </a:ext>
                </a:extLst>
              </p:cNvPr>
              <p:cNvSpPr/>
              <p:nvPr/>
            </p:nvSpPr>
            <p:spPr>
              <a:xfrm>
                <a:off x="4572000" y="1813393"/>
                <a:ext cx="1661570" cy="356691"/>
              </a:xfrm>
              <a:prstGeom prst="rect">
                <a:avLst/>
              </a:prstGeom>
              <a:solidFill>
                <a:schemeClr val="tx2">
                  <a:lumMod val="50000"/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58" name="Round Same-side Corner of Rectangle 139">
                <a:extLst>
                  <a:ext uri="{FF2B5EF4-FFF2-40B4-BE49-F238E27FC236}">
                    <a16:creationId xmlns:a16="http://schemas.microsoft.com/office/drawing/2014/main" id="{DF7CE34B-9B5E-8501-339E-B4D5CAFE1397}"/>
                  </a:ext>
                </a:extLst>
              </p:cNvPr>
              <p:cNvSpPr/>
              <p:nvPr/>
            </p:nvSpPr>
            <p:spPr>
              <a:xfrm rot="5400000">
                <a:off x="6233569" y="2008084"/>
                <a:ext cx="162000" cy="162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28B08CF0-0E11-5A0C-8B42-F3129F47064C}"/>
                </a:ext>
              </a:extLst>
            </p:cNvPr>
            <p:cNvGrpSpPr/>
            <p:nvPr/>
          </p:nvGrpSpPr>
          <p:grpSpPr>
            <a:xfrm>
              <a:off x="4685641" y="1866260"/>
              <a:ext cx="1434287" cy="256326"/>
              <a:chOff x="6338520" y="2037143"/>
              <a:chExt cx="3062350" cy="341769"/>
            </a:xfrm>
          </p:grpSpPr>
          <p:sp>
            <p:nvSpPr>
              <p:cNvPr id="155" name="TextBox 26, chunk 2">
                <a:hlinkClick r:id="rId5" action="ppaction://hlinksldjump"/>
                <a:extLst>
                  <a:ext uri="{FF2B5EF4-FFF2-40B4-BE49-F238E27FC236}">
                    <a16:creationId xmlns:a16="http://schemas.microsoft.com/office/drawing/2014/main" id="{735821E1-695F-F14A-423E-32C7C3B2C804}"/>
                  </a:ext>
                </a:extLst>
              </p:cNvPr>
              <p:cNvSpPr txBox="1"/>
              <p:nvPr/>
            </p:nvSpPr>
            <p:spPr>
              <a:xfrm>
                <a:off x="6338520" y="2037143"/>
                <a:ext cx="1973971" cy="143886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Resectable</a:t>
                </a: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 disease</a:t>
                </a:r>
              </a:p>
            </p:txBody>
          </p:sp>
          <p:sp>
            <p:nvSpPr>
              <p:cNvPr id="156" name="TextBox 26, chunk 2">
                <a:hlinkClick r:id="rId9" action="ppaction://hlinksldjump"/>
                <a:extLst>
                  <a:ext uri="{FF2B5EF4-FFF2-40B4-BE49-F238E27FC236}">
                    <a16:creationId xmlns:a16="http://schemas.microsoft.com/office/drawing/2014/main" id="{CD2CE662-33F2-A25C-2690-F68AE0243969}"/>
                  </a:ext>
                </a:extLst>
              </p:cNvPr>
              <p:cNvSpPr txBox="1"/>
              <p:nvPr/>
            </p:nvSpPr>
            <p:spPr>
              <a:xfrm>
                <a:off x="6338520" y="2235026"/>
                <a:ext cx="3062350" cy="143886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Unresectable stage IV disease</a:t>
                </a:r>
              </a:p>
            </p:txBody>
          </p:sp>
        </p:grpSp>
      </p:grpSp>
      <p:sp>
        <p:nvSpPr>
          <p:cNvPr id="159" name="Triangle 5">
            <a:extLst>
              <a:ext uri="{FF2B5EF4-FFF2-40B4-BE49-F238E27FC236}">
                <a16:creationId xmlns:a16="http://schemas.microsoft.com/office/drawing/2014/main" id="{374CCB8A-C5D4-35E0-59B0-DC0338FD535E}"/>
              </a:ext>
            </a:extLst>
          </p:cNvPr>
          <p:cNvSpPr/>
          <p:nvPr/>
        </p:nvSpPr>
        <p:spPr>
          <a:xfrm rot="16200000">
            <a:off x="14811619" y="3653286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FA10C800-9799-C80B-160F-4FF487EC8A1F}"/>
              </a:ext>
            </a:extLst>
          </p:cNvPr>
          <p:cNvGrpSpPr/>
          <p:nvPr/>
        </p:nvGrpSpPr>
        <p:grpSpPr>
          <a:xfrm>
            <a:off x="14927285" y="1450153"/>
            <a:ext cx="2256082" cy="862333"/>
            <a:chOff x="10988323" y="909210"/>
            <a:chExt cx="1692062" cy="646749"/>
          </a:xfrm>
        </p:grpSpPr>
        <p:sp>
          <p:nvSpPr>
            <p:cNvPr id="161" name="TextBox 160">
              <a:hlinkClick r:id="rId10" action="ppaction://hlinksldjump"/>
              <a:extLst>
                <a:ext uri="{FF2B5EF4-FFF2-40B4-BE49-F238E27FC236}">
                  <a16:creationId xmlns:a16="http://schemas.microsoft.com/office/drawing/2014/main" id="{67074B30-05F6-B008-B2B6-D79682BC8C53}"/>
                </a:ext>
              </a:extLst>
            </p:cNvPr>
            <p:cNvSpPr txBox="1"/>
            <p:nvPr/>
          </p:nvSpPr>
          <p:spPr>
            <a:xfrm>
              <a:off x="10988323" y="909210"/>
              <a:ext cx="1197443" cy="230833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thodology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2" name="TextBox 26, chunk 2">
              <a:hlinkClick r:id="rId11" action="ppaction://hlinksldjump"/>
              <a:extLst>
                <a:ext uri="{FF2B5EF4-FFF2-40B4-BE49-F238E27FC236}">
                  <a16:creationId xmlns:a16="http://schemas.microsoft.com/office/drawing/2014/main" id="{FE236D51-4011-7CB1-9C63-0AE0F10EFFAD}"/>
                </a:ext>
              </a:extLst>
            </p:cNvPr>
            <p:cNvSpPr txBox="1"/>
            <p:nvPr/>
          </p:nvSpPr>
          <p:spPr>
            <a:xfrm>
              <a:off x="11054940" y="1221043"/>
              <a:ext cx="1625445" cy="126958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ESMO Clinical Practice Guidelines</a:t>
              </a:r>
            </a:p>
          </p:txBody>
        </p:sp>
        <p:sp>
          <p:nvSpPr>
            <p:cNvPr id="163" name="TextBox 26, chunk 2">
              <a:hlinkClick r:id="rId10" action="ppaction://hlinksldjump"/>
              <a:extLst>
                <a:ext uri="{FF2B5EF4-FFF2-40B4-BE49-F238E27FC236}">
                  <a16:creationId xmlns:a16="http://schemas.microsoft.com/office/drawing/2014/main" id="{7BB3FEAA-CF79-430F-ED8C-225CF7FB419D}"/>
                </a:ext>
              </a:extLst>
            </p:cNvPr>
            <p:cNvSpPr txBox="1"/>
            <p:nvPr/>
          </p:nvSpPr>
          <p:spPr>
            <a:xfrm>
              <a:off x="11054940" y="1429001"/>
              <a:ext cx="1605007" cy="126958"/>
            </a:xfrm>
            <a:prstGeom prst="rect">
              <a:avLst/>
            </a:prstGeom>
            <a:noFill/>
          </p:spPr>
          <p:txBody>
            <a:bodyPr wrap="none" lIns="0" tIns="0" rIns="0" bIns="0" numCol="1">
              <a:spAutoFit/>
            </a:bodyPr>
            <a:lstStyle>
              <a:defPPr>
                <a:defRPr kern="0"/>
              </a:defPPr>
              <a:lvl1pPr>
                <a:lnSpc>
                  <a:spcPct val="85000"/>
                </a:lnSpc>
                <a:defRPr sz="825" kern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uropean expert panel consensus</a:t>
              </a:r>
            </a:p>
          </p:txBody>
        </p:sp>
      </p:grpSp>
      <p:sp>
        <p:nvSpPr>
          <p:cNvPr id="164" name="Triangle 5">
            <a:extLst>
              <a:ext uri="{FF2B5EF4-FFF2-40B4-BE49-F238E27FC236}">
                <a16:creationId xmlns:a16="http://schemas.microsoft.com/office/drawing/2014/main" id="{83B99644-D1EF-47BD-F4F2-085A61578D06}"/>
              </a:ext>
            </a:extLst>
          </p:cNvPr>
          <p:cNvSpPr/>
          <p:nvPr/>
        </p:nvSpPr>
        <p:spPr>
          <a:xfrm rot="5400000">
            <a:off x="14811018" y="3910346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33EF6C18-B531-FDCE-CFDD-A1E162679601}"/>
              </a:ext>
            </a:extLst>
          </p:cNvPr>
          <p:cNvGrpSpPr/>
          <p:nvPr/>
        </p:nvGrpSpPr>
        <p:grpSpPr>
          <a:xfrm>
            <a:off x="12545016" y="3829821"/>
            <a:ext cx="2432044" cy="475588"/>
            <a:chOff x="4572000" y="1990638"/>
            <a:chExt cx="1824033" cy="356691"/>
          </a:xfrm>
        </p:grpSpPr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5A6E8E41-39E6-1457-4E44-FD10EA117E93}"/>
                </a:ext>
              </a:extLst>
            </p:cNvPr>
            <p:cNvGrpSpPr/>
            <p:nvPr/>
          </p:nvGrpSpPr>
          <p:grpSpPr>
            <a:xfrm>
              <a:off x="4572000" y="1990638"/>
              <a:ext cx="1824033" cy="356691"/>
              <a:chOff x="4572000" y="1990638"/>
              <a:chExt cx="1824033" cy="356691"/>
            </a:xfrm>
            <a:solidFill>
              <a:schemeClr val="accent2">
                <a:lumMod val="75000"/>
                <a:alpha val="90000"/>
              </a:schemeClr>
            </a:solidFill>
          </p:grpSpPr>
          <p:sp>
            <p:nvSpPr>
              <p:cNvPr id="170" name="Rectangle 169">
                <a:extLst>
                  <a:ext uri="{FF2B5EF4-FFF2-40B4-BE49-F238E27FC236}">
                    <a16:creationId xmlns:a16="http://schemas.microsoft.com/office/drawing/2014/main" id="{99625D31-8680-C2B8-A381-519031990D51}"/>
                  </a:ext>
                </a:extLst>
              </p:cNvPr>
              <p:cNvSpPr/>
              <p:nvPr/>
            </p:nvSpPr>
            <p:spPr>
              <a:xfrm>
                <a:off x="4572000" y="1990638"/>
                <a:ext cx="1661570" cy="356691"/>
              </a:xfrm>
              <a:prstGeom prst="rect">
                <a:avLst/>
              </a:prstGeom>
              <a:solidFill>
                <a:schemeClr val="tx2">
                  <a:lumMod val="50000"/>
                  <a:alpha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71" name="Round Same-side Corner of Rectangle 164">
                <a:extLst>
                  <a:ext uri="{FF2B5EF4-FFF2-40B4-BE49-F238E27FC236}">
                    <a16:creationId xmlns:a16="http://schemas.microsoft.com/office/drawing/2014/main" id="{0F406AB9-521B-3C95-568E-A7DD40DDA706}"/>
                  </a:ext>
                </a:extLst>
              </p:cNvPr>
              <p:cNvSpPr/>
              <p:nvPr/>
            </p:nvSpPr>
            <p:spPr>
              <a:xfrm rot="5400000">
                <a:off x="6234033" y="1990638"/>
                <a:ext cx="162000" cy="16200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id="{BE4A365F-CA7E-A9BA-FC0B-3F4022354651}"/>
                </a:ext>
              </a:extLst>
            </p:cNvPr>
            <p:cNvGrpSpPr/>
            <p:nvPr/>
          </p:nvGrpSpPr>
          <p:grpSpPr>
            <a:xfrm>
              <a:off x="4685640" y="2045170"/>
              <a:ext cx="1051971" cy="257735"/>
              <a:chOff x="6338520" y="2275666"/>
              <a:chExt cx="2246067" cy="343644"/>
            </a:xfrm>
          </p:grpSpPr>
          <p:sp>
            <p:nvSpPr>
              <p:cNvPr id="168" name="TextBox 26, chunk 2">
                <a:hlinkClick r:id="rId12" action="ppaction://hlinksldjump"/>
                <a:extLst>
                  <a:ext uri="{FF2B5EF4-FFF2-40B4-BE49-F238E27FC236}">
                    <a16:creationId xmlns:a16="http://schemas.microsoft.com/office/drawing/2014/main" id="{82569250-D872-2F15-48C7-6CF50D67CCEB}"/>
                  </a:ext>
                </a:extLst>
              </p:cNvPr>
              <p:cNvSpPr txBox="1"/>
              <p:nvPr/>
            </p:nvSpPr>
            <p:spPr>
              <a:xfrm>
                <a:off x="6338520" y="2275666"/>
                <a:ext cx="2246067" cy="143885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Key recommendations</a:t>
                </a:r>
              </a:p>
            </p:txBody>
          </p:sp>
          <p:sp>
            <p:nvSpPr>
              <p:cNvPr id="169" name="TextBox 26, chunk 2">
                <a:hlinkClick r:id="rId13" action="ppaction://hlinksldjump"/>
                <a:extLst>
                  <a:ext uri="{FF2B5EF4-FFF2-40B4-BE49-F238E27FC236}">
                    <a16:creationId xmlns:a16="http://schemas.microsoft.com/office/drawing/2014/main" id="{059FBF59-8379-2E1C-83B6-B6E4C973DD9A}"/>
                  </a:ext>
                </a:extLst>
              </p:cNvPr>
              <p:cNvSpPr txBox="1"/>
              <p:nvPr/>
            </p:nvSpPr>
            <p:spPr>
              <a:xfrm>
                <a:off x="6338520" y="2475425"/>
                <a:ext cx="1732680" cy="143885"/>
              </a:xfrm>
              <a:prstGeom prst="rect">
                <a:avLst/>
              </a:prstGeom>
              <a:noFill/>
            </p:spPr>
            <p:txBody>
              <a:bodyPr wrap="none" lIns="0" tIns="0" rIns="0" bIns="0" numCol="1">
                <a:spAutoFit/>
              </a:bodyPr>
              <a:lstStyle>
                <a:defPPr>
                  <a:defRPr lang="en-US"/>
                </a:defPPr>
                <a:lvl1pPr>
                  <a:defRPr sz="1200" kern="0">
                    <a:solidFill>
                      <a:schemeClr val="bg1"/>
                    </a:solidFill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l" defTabSz="1219170" rtl="0" eaLnBrk="1" fontAlgn="auto" latinLnBrk="0" hangingPunct="1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j-ea"/>
                    <a:cs typeface="Arial" panose="020B0604020202020204" pitchFamily="34" charset="0"/>
                  </a:rPr>
                  <a:t>Patient scenarios</a:t>
                </a:r>
              </a:p>
            </p:txBody>
          </p:sp>
        </p:grpSp>
      </p:grpSp>
      <p:sp>
        <p:nvSpPr>
          <p:cNvPr id="172" name="Triangle 5">
            <a:extLst>
              <a:ext uri="{FF2B5EF4-FFF2-40B4-BE49-F238E27FC236}">
                <a16:creationId xmlns:a16="http://schemas.microsoft.com/office/drawing/2014/main" id="{DB020DE1-D24B-91EF-9526-055918890935}"/>
              </a:ext>
            </a:extLst>
          </p:cNvPr>
          <p:cNvSpPr/>
          <p:nvPr/>
        </p:nvSpPr>
        <p:spPr>
          <a:xfrm rot="16200000">
            <a:off x="14811619" y="3910234"/>
            <a:ext cx="97000" cy="48500"/>
          </a:xfrm>
          <a:custGeom>
            <a:avLst/>
            <a:gdLst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  <a:gd name="connsiteX3" fmla="*/ 0 w 295835"/>
              <a:gd name="connsiteY3" fmla="*/ 255030 h 255030"/>
              <a:gd name="connsiteX0" fmla="*/ 0 w 295835"/>
              <a:gd name="connsiteY0" fmla="*/ 255030 h 255254"/>
              <a:gd name="connsiteX1" fmla="*/ 147918 w 295835"/>
              <a:gd name="connsiteY1" fmla="*/ 0 h 255254"/>
              <a:gd name="connsiteX2" fmla="*/ 295835 w 295835"/>
              <a:gd name="connsiteY2" fmla="*/ 255030 h 255254"/>
              <a:gd name="connsiteX3" fmla="*/ 104214 w 295835"/>
              <a:gd name="connsiteY3" fmla="*/ 255254 h 255254"/>
              <a:gd name="connsiteX4" fmla="*/ 0 w 295835"/>
              <a:gd name="connsiteY4" fmla="*/ 255030 h 255254"/>
              <a:gd name="connsiteX0" fmla="*/ 104214 w 295835"/>
              <a:gd name="connsiteY0" fmla="*/ 255254 h 346694"/>
              <a:gd name="connsiteX1" fmla="*/ 0 w 295835"/>
              <a:gd name="connsiteY1" fmla="*/ 255030 h 346694"/>
              <a:gd name="connsiteX2" fmla="*/ 147918 w 295835"/>
              <a:gd name="connsiteY2" fmla="*/ 0 h 346694"/>
              <a:gd name="connsiteX3" fmla="*/ 295835 w 295835"/>
              <a:gd name="connsiteY3" fmla="*/ 255030 h 346694"/>
              <a:gd name="connsiteX4" fmla="*/ 195654 w 295835"/>
              <a:gd name="connsiteY4" fmla="*/ 346694 h 346694"/>
              <a:gd name="connsiteX0" fmla="*/ 104214 w 295835"/>
              <a:gd name="connsiteY0" fmla="*/ 255254 h 255254"/>
              <a:gd name="connsiteX1" fmla="*/ 0 w 295835"/>
              <a:gd name="connsiteY1" fmla="*/ 255030 h 255254"/>
              <a:gd name="connsiteX2" fmla="*/ 147918 w 295835"/>
              <a:gd name="connsiteY2" fmla="*/ 0 h 255254"/>
              <a:gd name="connsiteX3" fmla="*/ 295835 w 295835"/>
              <a:gd name="connsiteY3" fmla="*/ 255030 h 255254"/>
              <a:gd name="connsiteX0" fmla="*/ 0 w 295835"/>
              <a:gd name="connsiteY0" fmla="*/ 255030 h 255030"/>
              <a:gd name="connsiteX1" fmla="*/ 147918 w 295835"/>
              <a:gd name="connsiteY1" fmla="*/ 0 h 255030"/>
              <a:gd name="connsiteX2" fmla="*/ 295835 w 295835"/>
              <a:gd name="connsiteY2" fmla="*/ 255030 h 255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835" h="255030">
                <a:moveTo>
                  <a:pt x="0" y="255030"/>
                </a:moveTo>
                <a:lnTo>
                  <a:pt x="147918" y="0"/>
                </a:lnTo>
                <a:lnTo>
                  <a:pt x="295835" y="255030"/>
                </a:lnTo>
              </a:path>
            </a:pathLst>
          </a:custGeom>
          <a:noFill/>
          <a:ln w="19050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7A34C144-9472-AD79-6391-7BDF244A5780}"/>
              </a:ext>
            </a:extLst>
          </p:cNvPr>
          <p:cNvGrpSpPr/>
          <p:nvPr/>
        </p:nvGrpSpPr>
        <p:grpSpPr>
          <a:xfrm>
            <a:off x="14927286" y="5088717"/>
            <a:ext cx="3246763" cy="307777"/>
            <a:chOff x="6370196" y="5232186"/>
            <a:chExt cx="3246763" cy="307777"/>
          </a:xfrm>
        </p:grpSpPr>
        <p:sp>
          <p:nvSpPr>
            <p:cNvPr id="174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3EC6A608-514B-929A-CCC4-0868BE8B4FA5}"/>
                </a:ext>
              </a:extLst>
            </p:cNvPr>
            <p:cNvSpPr txBox="1"/>
            <p:nvPr/>
          </p:nvSpPr>
          <p:spPr>
            <a:xfrm>
              <a:off x="6512437" y="5301435"/>
              <a:ext cx="1142943" cy="169277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75" name="TextBox 174">
              <a:hlinkClick r:id="rId14" action="ppaction://hlinksldjump"/>
              <a:extLst>
                <a:ext uri="{FF2B5EF4-FFF2-40B4-BE49-F238E27FC236}">
                  <a16:creationId xmlns:a16="http://schemas.microsoft.com/office/drawing/2014/main" id="{0435DFF0-D352-A61E-29FC-8B6CCF91DE78}"/>
                </a:ext>
              </a:extLst>
            </p:cNvPr>
            <p:cNvSpPr txBox="1"/>
            <p:nvPr/>
          </p:nvSpPr>
          <p:spPr>
            <a:xfrm>
              <a:off x="6370196" y="5232186"/>
              <a:ext cx="324676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lossary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D83A35C5-039F-DE17-B6AB-1502B58640C7}"/>
              </a:ext>
            </a:extLst>
          </p:cNvPr>
          <p:cNvGrpSpPr/>
          <p:nvPr/>
        </p:nvGrpSpPr>
        <p:grpSpPr>
          <a:xfrm>
            <a:off x="14927286" y="5685109"/>
            <a:ext cx="3246763" cy="307777"/>
            <a:chOff x="6370196" y="5232186"/>
            <a:chExt cx="3246763" cy="307777"/>
          </a:xfrm>
        </p:grpSpPr>
        <p:sp>
          <p:nvSpPr>
            <p:cNvPr id="177" name="TextBox 26, chunk 2">
              <a:hlinkClick r:id="" action="ppaction://noaction"/>
              <a:extLst>
                <a:ext uri="{FF2B5EF4-FFF2-40B4-BE49-F238E27FC236}">
                  <a16:creationId xmlns:a16="http://schemas.microsoft.com/office/drawing/2014/main" id="{3CCE4EB0-C640-891D-DBB8-0CB60386EB05}"/>
                </a:ext>
              </a:extLst>
            </p:cNvPr>
            <p:cNvSpPr txBox="1"/>
            <p:nvPr/>
          </p:nvSpPr>
          <p:spPr>
            <a:xfrm>
              <a:off x="6512437" y="5301435"/>
              <a:ext cx="1142943" cy="169277"/>
            </a:xfrm>
            <a:prstGeom prst="rect">
              <a:avLst/>
            </a:prstGeom>
            <a:noFill/>
          </p:spPr>
          <p:txBody>
            <a:bodyPr wrap="square" lIns="0" tIns="0" rIns="0" bIns="0" numCol="1">
              <a:spAutoFit/>
            </a:bodyPr>
            <a:lstStyle>
              <a:defPPr>
                <a:defRPr lang="en-US"/>
              </a:defPPr>
              <a:lvl1pPr>
                <a:defRPr sz="1200" kern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178" name="TextBox 177">
              <a:hlinkClick r:id="rId15" action="ppaction://hlinksldjump"/>
              <a:extLst>
                <a:ext uri="{FF2B5EF4-FFF2-40B4-BE49-F238E27FC236}">
                  <a16:creationId xmlns:a16="http://schemas.microsoft.com/office/drawing/2014/main" id="{2C91E1F7-0CA6-0C18-8FBA-FE72A4C8F94E}"/>
                </a:ext>
              </a:extLst>
            </p:cNvPr>
            <p:cNvSpPr txBox="1"/>
            <p:nvPr/>
          </p:nvSpPr>
          <p:spPr>
            <a:xfrm>
              <a:off x="6370196" y="5232186"/>
              <a:ext cx="3246763" cy="30777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ferences</a:t>
              </a:r>
              <a:endParaRPr kumimoji="0" lang="en-US" sz="1051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62992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5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2" repeatCount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10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1000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2" accel="50000" decel="5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1000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xit" presetSubtype="2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" dur="1000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2" presetClass="exit" presetSubtype="2" accel="50000" decel="5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1000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1000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xit" presetSubtype="2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2" dur="1000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3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2" presetClass="exit" presetSubtype="2" accel="50000" decel="5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9" dur="1000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2" presetClass="exit" presetSubtype="2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3" dur="1000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3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3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3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" presetClass="exit" presetSubtype="2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6" dur="1000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1000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" presetClass="exit" presetSubtype="2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0" dur="1000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1000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2" presetClass="exit" presetSubtype="2" accel="50000" decel="5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4" dur="1000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1000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2" presetClass="exit" presetSubtype="2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8" dur="1000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1000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0"/>
                  </p:tgtEl>
                </p:cond>
              </p:nextCondLst>
            </p:seq>
            <p:seq concurrent="1" nextAc="seek">
              <p:cTn id="61" restart="whenNotActive" fill="hold" evtFilter="cancelBubble" nodeType="interactiveSeq">
                <p:stCondLst>
                  <p:cond evt="onClick" delay="0">
                    <p:tgtEl>
                      <p:spTgt spid="13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62" fill="hold">
                      <p:stCondLst>
                        <p:cond delay="0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-4.44444E-6 L -0.50612 -4.44444E-6 " pathEditMode="relative" rAng="0" ptsTypes="AA">
                                      <p:cBhvr>
                                        <p:cTn id="65" dur="2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13" y="0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35" presetClass="path" presetSubtype="0" accel="50000" decel="5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4.16667E-6 4.44444E-6 L -0.25 4.44444E-6 " pathEditMode="relative" rAng="0" ptsTypes="AA">
                                      <p:cBhvr>
                                        <p:cTn id="97" dur="20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0" y="0"/>
                                    </p:animMotion>
                                  </p:childTnLst>
                                </p:cTn>
                              </p:par>
                              <p:par>
                                <p:cTn id="98" presetID="35" presetClass="path" presetSubtype="0" accel="50000" decel="50000" fill="hold" nodeType="withEffect">
                                  <p:stCondLst>
                                    <p:cond delay="50"/>
                                  </p:stCondLst>
                                  <p:childTnLst>
                                    <p:animMotion origin="layout" path="M -2.70833E-6 -2.22222E-6 L -0.50638 -2.22222E-6 " pathEditMode="relative" rAng="0" ptsTypes="AA">
                                      <p:cBhvr>
                                        <p:cTn id="99" dur="20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26" y="0"/>
                                    </p:animMotion>
                                  </p:childTnLst>
                                </p:cTn>
                              </p:par>
                              <p:par>
                                <p:cTn id="100" presetID="35" presetClass="path" presetSubtype="0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3.125E-6 4.44444E-6 L -0.50742 4.44444E-6 " pathEditMode="relative" rAng="0" ptsTypes="AA">
                                      <p:cBhvr>
                                        <p:cTn id="101" dur="2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78" y="0"/>
                                    </p:animMotion>
                                  </p:childTnLst>
                                </p:cTn>
                              </p:par>
                              <p:par>
                                <p:cTn id="102" presetID="35" presetClass="path" presetSubtype="0" accel="50000" decel="50000" fill="hold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2.91667E-6 -3.7037E-7 L -0.50716 -3.7037E-7 " pathEditMode="relative" rAng="0" ptsTypes="AA">
                                      <p:cBhvr>
                                        <p:cTn id="103" dur="2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65" y="0"/>
                                    </p:animMotion>
                                  </p:childTnLst>
                                </p:cTn>
                              </p:par>
                              <p:par>
                                <p:cTn id="104" presetID="35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375E-6 -3.33333E-6 L -0.50586 -3.33333E-6 " pathEditMode="relative" rAng="0" ptsTypes="AA">
                                      <p:cBhvr>
                                        <p:cTn id="105" dur="2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35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16667E-6 -4.07407E-6 L -0.50573 -4.07407E-6 " pathEditMode="relative" rAng="0" ptsTypes="AA">
                                      <p:cBhvr>
                                        <p:cTn id="107" dur="20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86" y="0"/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35" presetClass="pat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1.11111E-6 L -0.50677 -1.11111E-6 " pathEditMode="relative" rAng="0" ptsTypes="AA">
                                      <p:cBhvr>
                                        <p:cTn id="109" dur="2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39" y="0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35" presetClass="path" presetSubtype="0" accel="50000" decel="50000" fill="hold" grpId="2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1.11111E-6 L -0.50677 -1.11111E-6 " pathEditMode="relative" rAng="0" ptsTypes="AA">
                                      <p:cBhvr>
                                        <p:cTn id="111" dur="2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39" y="0"/>
                                    </p:animMotion>
                                  </p:childTnLst>
                                </p:cTn>
                              </p:par>
                              <p:par>
                                <p:cTn id="112" presetID="35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4.16667E-6 4.44444E-6 L -0.50586 4.44444E-6 " pathEditMode="relative" rAng="0" ptsTypes="AA">
                                      <p:cBhvr>
                                        <p:cTn id="113" dur="20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35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0.00185 L -0.50612 -0.00185 " pathEditMode="relative" rAng="0" ptsTypes="AA">
                                      <p:cBhvr>
                                        <p:cTn id="115" dur="20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13" y="0"/>
                                    </p:animMotion>
                                  </p:childTnLst>
                                </p:cTn>
                              </p:par>
                              <p:par>
                                <p:cTn id="116" presetID="35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0 -0.00185 L -0.50612 -0.00185 " pathEditMode="relative" rAng="0" ptsTypes="AA">
                                      <p:cBhvr>
                                        <p:cTn id="117" dur="20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313" y="0"/>
                                    </p:animMotion>
                                  </p:childTnLst>
                                </p:cTn>
                              </p:par>
                              <p:par>
                                <p:cTn id="118" presetID="35" presetClass="path" presetSubtype="0" accel="50000" decel="5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1.875E-6 3.7037E-6 L -0.50586 3.7037E-6 " pathEditMode="relative" rAng="0" ptsTypes="AA">
                                      <p:cBhvr>
                                        <p:cTn id="119" dur="2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20" presetID="35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1.875E-6 -1.85185E-6 L -0.50586 -1.85185E-6 " pathEditMode="relative" rAng="0" ptsTypes="AA">
                                      <p:cBhvr>
                                        <p:cTn id="121" dur="2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22" presetID="35" presetClass="path" presetSubtype="0" accel="50000" decel="5000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animMotion origin="layout" path="M -1.875E-6 1.11111E-6 L -0.50586 1.11111E-6 " pathEditMode="relative" rAng="0" ptsTypes="AA">
                                      <p:cBhvr>
                                        <p:cTn id="123" dur="20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  <p:par>
                                <p:cTn id="124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-4.07407E-6 L -0.50586 -4.07407E-6 " pathEditMode="relative" rAng="0" ptsTypes="AA">
                                      <p:cBhvr>
                                        <p:cTn id="125" dur="2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529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1"/>
                  </p:tgtEl>
                </p:cond>
              </p:nextCondLst>
            </p:seq>
            <p:seq concurrent="1" nextAc="seek">
              <p:cTn id="126" restart="whenNotActive" fill="hold" evtFilter="cancelBubble" nodeType="interactiveSeq">
                <p:stCondLst>
                  <p:cond evt="onClick" delay="0">
                    <p:tgtEl>
                      <p:spTgt spid="15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7" fill="hold">
                      <p:stCondLst>
                        <p:cond delay="0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1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1"/>
                  </p:tgtEl>
                </p:cond>
              </p:nextCondLst>
            </p:seq>
            <p:seq concurrent="1" nextAc="seek">
              <p:cTn id="138" restart="whenNotActive" fill="hold" evtFilter="cancelBubble" nodeType="interactiveSeq">
                <p:stCondLst>
                  <p:cond evt="onClick" delay="0">
                    <p:tgtEl>
                      <p:spTgt spid="15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9" fill="hold">
                      <p:stCondLst>
                        <p:cond delay="0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2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42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9"/>
                  </p:tgtEl>
                </p:cond>
              </p:nextCondLst>
            </p:seq>
            <p:seq concurrent="1" nextAc="seek">
              <p:cTn id="150" restart="whenNotActive" fill="hold" evtFilter="cancelBubble" nodeType="interactiveSeq">
                <p:stCondLst>
                  <p:cond evt="onClick" delay="0">
                    <p:tgtEl>
                      <p:spTgt spid="16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1" fill="hold">
                      <p:stCondLst>
                        <p:cond delay="0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5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7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4"/>
                  </p:tgtEl>
                </p:cond>
              </p:nextCondLst>
            </p:seq>
            <p:seq concurrent="1" nextAc="seek">
              <p:cTn id="162" restart="whenNotActive" fill="hold" evtFilter="cancelBubble" nodeType="interactiveSeq">
                <p:stCondLst>
                  <p:cond evt="onClick" delay="0">
                    <p:tgtEl>
                      <p:spTgt spid="17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63" fill="hold">
                      <p:stCondLst>
                        <p:cond delay="0"/>
                      </p:stCondLst>
                      <p:childTnLst>
                        <p:par>
                          <p:cTn id="164" fill="hold">
                            <p:stCondLst>
                              <p:cond delay="0"/>
                            </p:stCondLst>
                            <p:childTnLst>
                              <p:par>
                                <p:cTn id="165" presetID="2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66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9" dur="3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2"/>
                  </p:tgtEl>
                </p:cond>
              </p:nextCondLst>
            </p:seq>
          </p:childTnLst>
        </p:cTn>
      </p:par>
    </p:tnLst>
    <p:bldLst>
      <p:bldP spid="136" grpId="0" animBg="1"/>
      <p:bldP spid="136" grpId="1" animBg="1"/>
      <p:bldP spid="136" grpId="2" animBg="1"/>
      <p:bldP spid="150" grpId="0" animBg="1"/>
      <p:bldP spid="150" grpId="1" animBg="1"/>
      <p:bldP spid="150" grpId="2" animBg="1"/>
      <p:bldP spid="151" grpId="0" animBg="1"/>
      <p:bldP spid="151" grpId="1" animBg="1"/>
      <p:bldP spid="151" grpId="2" animBg="1"/>
      <p:bldP spid="151" grpId="3" animBg="1"/>
      <p:bldP spid="151" grpId="4" animBg="1"/>
      <p:bldP spid="159" grpId="0" animBg="1"/>
      <p:bldP spid="159" grpId="1" animBg="1"/>
      <p:bldP spid="159" grpId="2" animBg="1"/>
      <p:bldP spid="159" grpId="3" animBg="1"/>
      <p:bldP spid="161" grpId="0"/>
      <p:bldP spid="164" grpId="0" animBg="1"/>
      <p:bldP spid="164" grpId="1" animBg="1"/>
      <p:bldP spid="164" grpId="2" animBg="1"/>
      <p:bldP spid="164" grpId="3" animBg="1"/>
      <p:bldP spid="164" grpId="4" animBg="1"/>
      <p:bldP spid="172" grpId="0" animBg="1"/>
      <p:bldP spid="172" grpId="1" animBg="1"/>
      <p:bldP spid="172" grpId="2" animBg="1"/>
      <p:bldP spid="172" grpId="3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31"/>
  <p:tag name="MIO_SHOW_DATE" val="False"/>
  <p:tag name="MIO_SHOW_FOOTER" val="True"/>
  <p:tag name="MIO_SHOW_PAGENUMBER" val="True"/>
  <p:tag name="MIO_AVOID_BLANK_LAYOUT" val="False"/>
  <p:tag name="MIO_NUMBER_OF_VALID_LAYOUTS" val="32"/>
  <p:tag name="MIO_MST_COLOR_1" val="0,0,0,Dunkel 1"/>
  <p:tag name="MIO_MST_COLOR_2" val="255,255,255,Hell 1"/>
  <p:tag name="MIO_MST_COLOR_3" val="235,30,79,Dunkel 2"/>
  <p:tag name="MIO_MST_COLOR_4" val="40,190,205,Hell 2"/>
  <p:tag name="MIO_MST_COLOR_5" val="82,50,143,Akzent 1"/>
  <p:tag name="MIO_MST_COLOR_6" val="0,104,176,Akzent 2"/>
  <p:tag name="MIO_MST_COLOR_7" val="166,205,77,Akzent 3"/>
  <p:tag name="MIO_MST_COLOR_8" val="255,202,48,Akzent 4"/>
  <p:tag name="MIO_MST_COLOR_9" val="235,66,150,Akzent 5"/>
  <p:tag name="MIO_MST_COLOR_10" val="0,153,92,Akzent 6"/>
  <p:tag name="MIO_MST_COLOR_11" val="82,50,143,"/>
  <p:tag name="MIO_MST_COLOR_12" val="82,50,143,"/>
  <p:tag name="MIO_HDS" val="True"/>
  <p:tag name="MIO_EK" val="2155"/>
  <p:tag name="MIO_UPDATE" val="True"/>
  <p:tag name="MIO_VERSION" val="22.09.2015 11:37:56"/>
  <p:tag name="MIO_DBID" val="218709A9-2117-4AF1-A1EA-309C9A305E57"/>
  <p:tag name="MIO_LASTDOWNLOADED" val="22.09.2015 11:40:52"/>
  <p:tag name="MIO_OBJECTNAME" val="MERCK Folienmaster EN 16:9"/>
  <p:tag name="MIO_LASTEDITORNAME" val="empower enterpri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35,60,150,Dunkel 2"/>
  <p:tag name="MIO_MST_COLOR_4" val="45,190,205,Hell 2"/>
  <p:tag name="MIO_MST_COLOR_5" val="80,50,145,Akzent 1"/>
  <p:tag name="MIO_MST_COLOR_6" val="15,105,175,Akzent 2"/>
  <p:tag name="MIO_MST_COLOR_7" val="165,205,80,Akzent 3"/>
  <p:tag name="MIO_MST_COLOR_8" val="255,200,50,Akzent 4"/>
  <p:tag name="MIO_MST_COLOR_9" val="235,60,150,Akzent 5"/>
  <p:tag name="MIO_MST_COLOR_10" val="20,155,95,Akzent 6"/>
  <p:tag name="MIO_MST_COLOR_11" val="80,50,145,"/>
  <p:tag name="MIO_MST_COLOR_12" val="80,50,145,"/>
  <p:tag name="MIO_PRESI_FIRST_SLIDENUMBER" val="1"/>
  <p:tag name="MIO_FALLBACK_LAYOUT" val="3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33"/>
  <p:tag name="MIO_HDS" val="True"/>
  <p:tag name="MIO_EK" val="2529"/>
  <p:tag name="MIO_EKGUID" val="4d6beffb-5246-420c-a6d6-d9569b8f0fc9"/>
  <p:tag name="MIO_UPDATE" val="True"/>
  <p:tag name="MIO_VERSION" val="17.02.2017 15:54:53"/>
  <p:tag name="MIO_DBID" val="218709A9-2117-4AF1-A1EA-309C9A305E58"/>
  <p:tag name="MIO_LASTDOWNLOADED" val="24.02.2017 16:22:02"/>
  <p:tag name="MIO_OBJECTNAME" val="Merck EN"/>
  <p:tag name="MIO_LASTEDITORNAME" val="Michaela Kapall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33"/>
  <p:tag name="MIO_HDS" val="True"/>
  <p:tag name="MIO_EK" val="2529"/>
  <p:tag name="MIO_EKGUID" val="4d6beffb-5246-420c-a6d6-d9569b8f0fc9"/>
  <p:tag name="MIO_UPDATE" val="True"/>
  <p:tag name="MIO_VERSION" val="17.02.2017 15:53:25"/>
  <p:tag name="MIO_DBID" val="218709A9-2117-4AF1-A1EA-309C9A305E58"/>
  <p:tag name="MIO_LASTDOWNLOADED" val="17.02.2017 15:53:25"/>
  <p:tag name="MIO_OBJECTNAME" val="Merck EN"/>
  <p:tag name="MIO_LASTEDITORNAME" val="Michaela Kapalla"/>
  <p:tag name="MIO_CDID" val="102a9723-2449-4cb9-a00f-91adf1e6ccc0"/>
  <p:tag name="MIO_PRESI_FIRST_SLIDENUMBER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33"/>
  <p:tag name="MIO_HDS" val="True"/>
  <p:tag name="MIO_EK" val="2529"/>
  <p:tag name="MIO_EKGUID" val="4d6beffb-5246-420c-a6d6-d9569b8f0fc9"/>
  <p:tag name="MIO_UPDATE" val="True"/>
  <p:tag name="MIO_VERSION" val="24.02.2017 16:34:41"/>
  <p:tag name="MIO_DBID" val="218709A9-2117-4AF1-A1EA-309C9A305E58"/>
  <p:tag name="MIO_LASTDOWNLOADED" val="13.11.2017 18:52:01"/>
  <p:tag name="MIO_OBJECTNAME" val="Merck E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017_HTAA_Diabetes">
  <a:themeElements>
    <a:clrScheme name="2018 CCO LIVE">
      <a:dk1>
        <a:srgbClr val="455560"/>
      </a:dk1>
      <a:lt1>
        <a:srgbClr val="FFFFFF"/>
      </a:lt1>
      <a:dk2>
        <a:srgbClr val="000000"/>
      </a:dk2>
      <a:lt2>
        <a:srgbClr val="CDCDCF"/>
      </a:lt2>
      <a:accent1>
        <a:srgbClr val="015873"/>
      </a:accent1>
      <a:accent2>
        <a:srgbClr val="4DA1BB"/>
      </a:accent2>
      <a:accent3>
        <a:srgbClr val="E1471D"/>
      </a:accent3>
      <a:accent4>
        <a:srgbClr val="00823B"/>
      </a:accent4>
      <a:accent5>
        <a:srgbClr val="FDB338"/>
      </a:accent5>
      <a:accent6>
        <a:srgbClr val="682E74"/>
      </a:accent6>
      <a:hlink>
        <a:srgbClr val="E1471D"/>
      </a:hlink>
      <a:folHlink>
        <a:srgbClr val="015873"/>
      </a:folHlink>
    </a:clrScheme>
    <a:fontScheme name="CCO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0">
          <a:solidFill>
            <a:schemeClr val="bg1"/>
          </a:solidFill>
          <a:miter lim="800000"/>
          <a:headEnd/>
          <a:tailEnd/>
        </a:ln>
      </a:spPr>
      <a:bodyPr anchor="b"/>
      <a:lstStyle>
        <a:defPPr algn="ctr" eaLnBrk="1" hangingPunct="1">
          <a:spcBef>
            <a:spcPct val="35000"/>
          </a:spcBef>
          <a:spcAft>
            <a:spcPct val="25000"/>
          </a:spcAft>
          <a:buClr>
            <a:schemeClr val="folHlink"/>
          </a:buClr>
          <a:buNone/>
          <a:defRPr sz="1800" b="0" dirty="0">
            <a:solidFill>
              <a:schemeClr val="tx1"/>
            </a:solidFill>
            <a:latin typeface="Calibri" panose="020F0502020204030204" pitchFamily="34" charset="0"/>
          </a:defRPr>
        </a:defPPr>
      </a:lstStyle>
    </a:spDef>
    <a:lnDef>
      <a:spPr bwMode="auto">
        <a:noFill/>
        <a:ln w="2857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rtlCol="0">
        <a:spAutoFit/>
      </a:bodyPr>
      <a:lstStyle>
        <a:defPPr algn="l">
          <a:lnSpc>
            <a:spcPct val="100000"/>
          </a:lnSpc>
          <a:spcBef>
            <a:spcPct val="50000"/>
          </a:spcBef>
          <a:spcAft>
            <a:spcPct val="0"/>
          </a:spcAft>
          <a:buClrTx/>
          <a:buFontTx/>
          <a:buNone/>
          <a:defRPr b="0" dirty="0" smtClean="0">
            <a:solidFill>
              <a:schemeClr val="bg1"/>
            </a:solidFill>
            <a:latin typeface="Calibri" panose="020F0502020204030204" pitchFamily="34" charset="0"/>
          </a:defRPr>
        </a:defPPr>
      </a:lstStyle>
    </a:txDef>
  </a:objectDefaults>
  <a:extraClrSchemeLst>
    <a:extraClrScheme>
      <a:clrScheme name="Custom Design 1">
        <a:dk1>
          <a:srgbClr val="CDCDCF"/>
        </a:dk1>
        <a:lt1>
          <a:srgbClr val="FFFFFF"/>
        </a:lt1>
        <a:dk2>
          <a:srgbClr val="09003E"/>
        </a:dk2>
        <a:lt2>
          <a:srgbClr val="F2F23A"/>
        </a:lt2>
        <a:accent1>
          <a:srgbClr val="12AD2B"/>
        </a:accent1>
        <a:accent2>
          <a:srgbClr val="5AAACE"/>
        </a:accent2>
        <a:accent3>
          <a:srgbClr val="AAAAAF"/>
        </a:accent3>
        <a:accent4>
          <a:srgbClr val="DADADA"/>
        </a:accent4>
        <a:accent5>
          <a:srgbClr val="AAD3AC"/>
        </a:accent5>
        <a:accent6>
          <a:srgbClr val="519ABA"/>
        </a:accent6>
        <a:hlink>
          <a:srgbClr val="F6A108"/>
        </a:hlink>
        <a:folHlink>
          <a:srgbClr val="2B85B8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17_HTAA_Diabetes" id="{1367EE62-49C0-41AA-9F7D-AEA8A8F73D1D}" vid="{45DB6FF6-6200-4F3D-90FC-F48B64252754}"/>
    </a:ext>
  </a:extLst>
</a:theme>
</file>

<file path=ppt/theme/theme3.xml><?xml version="1.0" encoding="utf-8"?>
<a:theme xmlns:a="http://schemas.openxmlformats.org/drawingml/2006/main" name="1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buFont typeface="Wingdings" panose="05000000000000000000" pitchFamily="2" charset="2"/>
          <a:buChar char=""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erck Master EN 16_9.potx" id="{CB3CB928-E6FA-4A0C-920A-772997EA9978}" vid="{C77D71CE-B93D-4A46-B8D0-5D8D8D356DB7}"/>
    </a:ext>
  </a:extLst>
</a:theme>
</file>

<file path=ppt/theme/theme4.xml><?xml version="1.0" encoding="utf-8"?>
<a:theme xmlns:a="http://schemas.openxmlformats.org/drawingml/2006/main" name="2_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marR="0" indent="-18000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buFont typeface="Wingdings" panose="05000000000000000000" pitchFamily="2" charset="2"/>
          <a:buChar char=""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Rich Blue">
      <a:srgbClr val="0F69AF"/>
    </a:custClr>
    <a:custClr name="Rich Green">
      <a:srgbClr val="149B5F"/>
    </a:custClr>
    <a:custClr name="Rich Red">
      <a:srgbClr val="E61E5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ibrant Magenta">
      <a:srgbClr val="EB3C96"/>
    </a:custClr>
    <a:custClr name="Vibrant Cyan">
      <a:srgbClr val="2DBECD"/>
    </a:custClr>
    <a:custClr name="Vibrant Green">
      <a:srgbClr val="A5CD50"/>
    </a:custClr>
    <a:custClr name="Vibrant Yellow">
      <a:srgbClr val="FFC832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Sensitive Pink">
      <a:srgbClr val="E1C3CD"/>
    </a:custClr>
    <a:custClr name="Sensitive Blue">
      <a:srgbClr val="96D7D2"/>
    </a:custClr>
    <a:custClr name="Sensitive Green">
      <a:srgbClr val="B4DC96"/>
    </a:custClr>
    <a:custClr name="Sensitive Yellow">
      <a:srgbClr val="FFDCB9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Merck Master EN 16_9.potx" id="{CB3CB928-E6FA-4A0C-920A-772997EA9978}" vid="{C77D71CE-B93D-4A46-B8D0-5D8D8D356DB7}"/>
    </a:ext>
  </a:extLst>
</a:theme>
</file>

<file path=ppt/theme/theme5.xml><?xml version="1.0" encoding="utf-8"?>
<a:theme xmlns:a="http://schemas.openxmlformats.org/drawingml/2006/main" name="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kern="0" dirty="0" err="1" smtClean="0">
            <a:solidFill>
              <a:srgbClr val="FFFFFF"/>
            </a:solidFill>
            <a:latin typeface="Verdana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R="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tabLst/>
          <a:defRPr kumimoji="0" sz="1600" b="0" i="0" u="none" strike="noStrike" kern="1200" cap="none" spc="0" normalizeH="0" baseline="0" noProof="0" dirty="0" err="1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Vibrant Magenta">
      <a:srgbClr val="EB3C96"/>
    </a:custClr>
    <a:custClr name="Sensitive Pink">
      <a:srgbClr val="E1C3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ich Blue">
      <a:srgbClr val="0F69AF"/>
    </a:custClr>
    <a:custClr name="Vibrant Cyan">
      <a:srgbClr val="2DBECD"/>
    </a:custClr>
    <a:custClr name="Sensitive Blue">
      <a:srgbClr val="96D7D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ich Green">
      <a:srgbClr val="149B5F"/>
    </a:custClr>
    <a:custClr name="Vibrant Green">
      <a:srgbClr val="A5CD50"/>
    </a:custClr>
    <a:custClr name="Sensitive Green">
      <a:srgbClr val="B4DC9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ich Red">
      <a:srgbClr val="E61E50"/>
    </a:custClr>
    <a:custClr name="Vibrant Yellow">
      <a:srgbClr val="FFC832"/>
    </a:custClr>
    <a:custClr name="Sensitive Yellow">
      <a:srgbClr val="FFDCB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Merck_Technical.potx" id="{C1045003-ED96-40B9-A784-058FA9C23E79}" vid="{E285125E-C8DA-422F-B7DC-272C4EC6066F}"/>
    </a:ext>
  </a:extLst>
</a:theme>
</file>

<file path=ppt/theme/theme6.xml><?xml version="1.0" encoding="utf-8"?>
<a:theme xmlns:a="http://schemas.openxmlformats.org/drawingml/2006/main" name="Úvodní slidy">
  <a:themeElements>
    <a:clrScheme name="MOÚ colors">
      <a:dk1>
        <a:srgbClr val="000000"/>
      </a:dk1>
      <a:lt1>
        <a:srgbClr val="FFFFFF"/>
      </a:lt1>
      <a:dk2>
        <a:srgbClr val="F04600"/>
      </a:dk2>
      <a:lt2>
        <a:srgbClr val="E7E6E6"/>
      </a:lt2>
      <a:accent1>
        <a:srgbClr val="007FC8"/>
      </a:accent1>
      <a:accent2>
        <a:srgbClr val="FFD600"/>
      </a:accent2>
      <a:accent3>
        <a:srgbClr val="008638"/>
      </a:accent3>
      <a:accent4>
        <a:srgbClr val="FBEEBC"/>
      </a:accent4>
      <a:accent5>
        <a:srgbClr val="E6007C"/>
      </a:accent5>
      <a:accent6>
        <a:srgbClr val="53C0D7"/>
      </a:accent6>
      <a:hlink>
        <a:srgbClr val="0028FF"/>
      </a:hlink>
      <a:folHlink>
        <a:srgbClr val="B438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U_CZ-prezentace_jednoducha_Arial" id="{44F8AC6B-28B8-1C45-9014-05221DBC6FEB}" vid="{6E305BA5-124E-874B-83EA-BAFD07C83220}"/>
    </a:ext>
  </a:extLst>
</a:theme>
</file>

<file path=ppt/theme/theme7.xml><?xml version="1.0" encoding="utf-8"?>
<a:theme xmlns:a="http://schemas.openxmlformats.org/drawingml/2006/main" name="HS-63347_P02_London Special Projects">
  <a:themeElements>
    <a:clrScheme name="PIERRE FABRE">
      <a:dk1>
        <a:sysClr val="windowText" lastClr="000000"/>
      </a:dk1>
      <a:lt1>
        <a:sysClr val="window" lastClr="FFFFFF"/>
      </a:lt1>
      <a:dk2>
        <a:srgbClr val="0061A7"/>
      </a:dk2>
      <a:lt2>
        <a:srgbClr val="74797D"/>
      </a:lt2>
      <a:accent1>
        <a:srgbClr val="0061A7"/>
      </a:accent1>
      <a:accent2>
        <a:srgbClr val="77BC1F"/>
      </a:accent2>
      <a:accent3>
        <a:srgbClr val="74797D"/>
      </a:accent3>
      <a:accent4>
        <a:srgbClr val="D8D1CA"/>
      </a:accent4>
      <a:accent5>
        <a:srgbClr val="CDC3BB"/>
      </a:accent5>
      <a:accent6>
        <a:srgbClr val="231F20"/>
      </a:accent6>
      <a:hlink>
        <a:srgbClr val="0080FF"/>
      </a:hlink>
      <a:folHlink>
        <a:srgbClr val="5EAE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45720" rIns="45720" rtlCol="0" anchor="ctr" anchorCtr="0">
        <a:norm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12700">
          <a:noFill/>
        </a:ln>
      </a:spPr>
      <a:bodyPr wrap="square" lIns="45720" rIns="45720" rtlCol="0">
        <a:spAutoFit/>
      </a:bodyPr>
      <a:lstStyle>
        <a:defPPr>
          <a:defRPr sz="1200" dirty="0">
            <a:solidFill>
              <a:schemeClr val="bg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633BEB06-E0A3-884F-A7F8-2B723F8C7C0A}" vid="{B45E81CE-1168-0B49-AF5B-73FC720800CA}"/>
    </a:ext>
  </a:extLst>
</a:theme>
</file>

<file path=ppt/theme/theme8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8</TotalTime>
  <Words>2659</Words>
  <Application>Microsoft Office PowerPoint</Application>
  <PresentationFormat>Širokoúhlá obrazovka</PresentationFormat>
  <Paragraphs>418</Paragraphs>
  <Slides>28</Slides>
  <Notes>7</Notes>
  <HiddenSlides>2</HiddenSlides>
  <MMClips>0</MMClips>
  <ScaleCrop>false</ScaleCrop>
  <HeadingPairs>
    <vt:vector size="8" baseType="variant">
      <vt:variant>
        <vt:lpstr>Použitá písma</vt:lpstr>
      </vt:variant>
      <vt:variant>
        <vt:i4>9</vt:i4>
      </vt:variant>
      <vt:variant>
        <vt:lpstr>Motiv</vt:lpstr>
      </vt:variant>
      <vt:variant>
        <vt:i4>7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8</vt:i4>
      </vt:variant>
    </vt:vector>
  </HeadingPairs>
  <TitlesOfParts>
    <vt:vector size="45" baseType="lpstr">
      <vt:lpstr>Arial</vt:lpstr>
      <vt:lpstr>Calibri</vt:lpstr>
      <vt:lpstr>Calibri Light</vt:lpstr>
      <vt:lpstr>Merck</vt:lpstr>
      <vt:lpstr>Source Sans Pro</vt:lpstr>
      <vt:lpstr>Symbol</vt:lpstr>
      <vt:lpstr>Times New Roman</vt:lpstr>
      <vt:lpstr>Verdana</vt:lpstr>
      <vt:lpstr>Wingdings</vt:lpstr>
      <vt:lpstr>Motiv Office</vt:lpstr>
      <vt:lpstr>2017_HTAA_Diabetes</vt:lpstr>
      <vt:lpstr>1_Merck</vt:lpstr>
      <vt:lpstr>2_Merck</vt:lpstr>
      <vt:lpstr>Merck</vt:lpstr>
      <vt:lpstr>Úvodní slidy</vt:lpstr>
      <vt:lpstr>HS-63347_P02_London Special Projects</vt:lpstr>
      <vt:lpstr>think-cell Slide</vt:lpstr>
      <vt:lpstr>Prezentace aplikace PowerPoint</vt:lpstr>
      <vt:lpstr>Přehled</vt:lpstr>
      <vt:lpstr>Biomarkery  u CRC …. klinicky relevantní</vt:lpstr>
      <vt:lpstr>Predictive and prognostic value of mCRC biomarkers and clinical features</vt:lpstr>
      <vt:lpstr>ESMO recommends broad molecular testing to guide clinical decision-making1</vt:lpstr>
      <vt:lpstr>Overview of ESMO recommendations for biomarker testing in mCRC1</vt:lpstr>
      <vt:lpstr>Prezentace aplikace PowerPoint</vt:lpstr>
      <vt:lpstr>Kdy a jak testovat prediktory u CRC ? </vt:lpstr>
      <vt:lpstr>ESMO guidance for resectable or potentially resectable disease1 </vt:lpstr>
      <vt:lpstr>Prezentace aplikace PowerPoint</vt:lpstr>
      <vt:lpstr>BRAF mutace u CRC</vt:lpstr>
      <vt:lpstr>BEACON: multi-cílená inhibice dráhy EGFR je volbou pro pacienty s BRAF mt mCRC v ≥2L 26,28</vt:lpstr>
      <vt:lpstr>BEACON: analýza OS</vt:lpstr>
      <vt:lpstr>Kazuistika : žena *1971 </vt:lpstr>
      <vt:lpstr>Přešetření 3/2022 </vt:lpstr>
      <vt:lpstr>mCRC wt-RAS, mt BRAF V600E, dMMR   </vt:lpstr>
      <vt:lpstr>Cetuximab + enkorafenib – efekt léčby</vt:lpstr>
      <vt:lpstr>Cetuximab + enkorafenib – efekt léčby</vt:lpstr>
      <vt:lpstr>7/2023 – klinická progrese </vt:lpstr>
      <vt:lpstr>Studie CheckMate 142 </vt:lpstr>
      <vt:lpstr>Studie CheckMate 142:  nivo3 + ipi1 </vt:lpstr>
      <vt:lpstr>Kazuistika : žena *1971 </vt:lpstr>
      <vt:lpstr>Toxicita imunoterapie </vt:lpstr>
      <vt:lpstr>Prezentace aplikace PowerPoint</vt:lpstr>
      <vt:lpstr>Ir - hypofyzitida</vt:lpstr>
      <vt:lpstr>Prezentace aplikace PowerPoint</vt:lpstr>
      <vt:lpstr>Léčba hypofyzitidy</vt:lpstr>
      <vt:lpstr>Co si zapamatovat: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éčba pacientů s metastatickým kolorektálním karcinomem a  mutací B-RAF  Běžná praxe roku 2023</dc:title>
  <dc:creator>Jiří Tomášek</dc:creator>
  <cp:lastModifiedBy>Jiří Tomášek</cp:lastModifiedBy>
  <cp:revision>24</cp:revision>
  <dcterms:created xsi:type="dcterms:W3CDTF">2023-01-22T21:53:33Z</dcterms:created>
  <dcterms:modified xsi:type="dcterms:W3CDTF">2024-03-20T21:28:17Z</dcterms:modified>
</cp:coreProperties>
</file>